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5.xml" ContentType="application/vnd.openxmlformats-officedocument.presentationml.notesSlide+xml"/>
  <Override PartName="/ppt/charts/chart3.xml" ContentType="application/vnd.openxmlformats-officedocument.drawingml.chart+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6.xml" ContentType="application/vnd.openxmlformats-officedocument.presentationml.notesSlide+xml"/>
  <Override PartName="/ppt/charts/chart4.xml" ContentType="application/vnd.openxmlformats-officedocument.drawingml.chart+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charts/chart5.xml" ContentType="application/vnd.openxmlformats-officedocument.drawingml.chart+xml"/>
  <Override PartName="/ppt/notesSlides/notesSlide17.xml" ContentType="application/vnd.openxmlformats-officedocument.presentationml.notesSlide+xml"/>
  <Override PartName="/ppt/charts/chart6.xml" ContentType="application/vnd.openxmlformats-officedocument.drawingml.chart+xml"/>
  <Override PartName="/ppt/drawings/drawing1.xml" ContentType="application/vnd.openxmlformats-officedocument.drawingml.chartshapes+xml"/>
  <Override PartName="/ppt/charts/chart7.xml" ContentType="application/vnd.openxmlformats-officedocument.drawingml.chart+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charts/chart8.xml" ContentType="application/vnd.openxmlformats-officedocument.drawingml.chart+xml"/>
  <Override PartName="/ppt/charts/chart9.xml" ContentType="application/vnd.openxmlformats-officedocument.drawingml.chart+xml"/>
  <Override PartName="/ppt/drawings/drawing2.xml" ContentType="application/vnd.openxmlformats-officedocument.drawingml.chartshapes+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rts/chart10.xml" ContentType="application/vnd.openxmlformats-officedocument.drawingml.chart+xml"/>
  <Override PartName="/ppt/charts/chart11.xml" ContentType="application/vnd.openxmlformats-officedocument.drawingml.chart+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19.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20.xml" ContentType="application/vnd.openxmlformats-officedocument.presentationml.notesSlide+xml"/>
  <Override PartName="/ppt/charts/chart12.xml" ContentType="application/vnd.openxmlformats-officedocument.drawingml.chart+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2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22.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23.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24.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25.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charts/chart13.xml" ContentType="application/vnd.openxmlformats-officedocument.drawingml.chart+xml"/>
  <Override PartName="/ppt/charts/chart14.xml" ContentType="application/vnd.openxmlformats-officedocument.drawingml.chart+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26.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xml" ContentType="application/vnd.openxmlformats-officedocument.presentationml.tags+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36.xml" ContentType="application/vnd.openxmlformats-officedocument.presentationml.notesSlide+xml"/>
  <Override PartName="/ppt/charts/chart15.xml" ContentType="application/vnd.openxmlformats-officedocument.drawingml.chart+xml"/>
  <Override PartName="/ppt/drawings/drawing3.xml" ContentType="application/vnd.openxmlformats-officedocument.drawingml.chartshapes+xml"/>
  <Override PartName="/ppt/charts/chart16.xml" ContentType="application/vnd.openxmlformats-officedocument.drawingml.chart+xml"/>
  <Override PartName="/ppt/drawings/drawing4.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399" r:id="rId2"/>
    <p:sldId id="480" r:id="rId3"/>
    <p:sldId id="481" r:id="rId4"/>
    <p:sldId id="343" r:id="rId5"/>
    <p:sldId id="306" r:id="rId6"/>
    <p:sldId id="261" r:id="rId7"/>
    <p:sldId id="465" r:id="rId8"/>
    <p:sldId id="259" r:id="rId9"/>
    <p:sldId id="473" r:id="rId10"/>
    <p:sldId id="394" r:id="rId11"/>
    <p:sldId id="397" r:id="rId12"/>
    <p:sldId id="395" r:id="rId13"/>
    <p:sldId id="344" r:id="rId14"/>
    <p:sldId id="411" r:id="rId15"/>
    <p:sldId id="422" r:id="rId16"/>
    <p:sldId id="403" r:id="rId17"/>
    <p:sldId id="405" r:id="rId18"/>
    <p:sldId id="455" r:id="rId19"/>
    <p:sldId id="404" r:id="rId20"/>
    <p:sldId id="426" r:id="rId21"/>
    <p:sldId id="487" r:id="rId22"/>
    <p:sldId id="488" r:id="rId23"/>
    <p:sldId id="424" r:id="rId24"/>
    <p:sldId id="407" r:id="rId25"/>
    <p:sldId id="409" r:id="rId26"/>
    <p:sldId id="420" r:id="rId27"/>
    <p:sldId id="421" r:id="rId28"/>
    <p:sldId id="461" r:id="rId29"/>
    <p:sldId id="463" r:id="rId30"/>
    <p:sldId id="269" r:id="rId31"/>
    <p:sldId id="493" r:id="rId32"/>
    <p:sldId id="413" r:id="rId33"/>
    <p:sldId id="495" r:id="rId34"/>
    <p:sldId id="500" r:id="rId35"/>
    <p:sldId id="494" r:id="rId36"/>
    <p:sldId id="442" r:id="rId37"/>
    <p:sldId id="503" r:id="rId38"/>
    <p:sldId id="502" r:id="rId39"/>
    <p:sldId id="470" r:id="rId40"/>
    <p:sldId id="505" r:id="rId41"/>
    <p:sldId id="471" r:id="rId42"/>
    <p:sldId id="419" r:id="rId43"/>
    <p:sldId id="446" r:id="rId44"/>
    <p:sldId id="450" r:id="rId45"/>
    <p:sldId id="456" r:id="rId46"/>
    <p:sldId id="448" r:id="rId47"/>
    <p:sldId id="451" r:id="rId48"/>
    <p:sldId id="457" r:id="rId49"/>
    <p:sldId id="435" r:id="rId50"/>
    <p:sldId id="460" r:id="rId51"/>
    <p:sldId id="458" r:id="rId52"/>
    <p:sldId id="453" r:id="rId53"/>
    <p:sldId id="476" r:id="rId54"/>
    <p:sldId id="484" r:id="rId55"/>
    <p:sldId id="402" r:id="rId56"/>
    <p:sldId id="490" r:id="rId57"/>
    <p:sldId id="432" r:id="rId58"/>
    <p:sldId id="439" r:id="rId59"/>
    <p:sldId id="410" r:id="rId60"/>
  </p:sldIdLst>
  <p:sldSz cx="12188825" cy="6858000"/>
  <p:notesSz cx="6858000" cy="9144000"/>
  <p:defaultTextStyle>
    <a:defPPr>
      <a:defRPr lang="en-US"/>
    </a:defPPr>
    <a:lvl1pPr marL="0" algn="l" defTabSz="1172078" rtl="0" eaLnBrk="1" latinLnBrk="0" hangingPunct="1">
      <a:defRPr sz="2300" kern="1200">
        <a:solidFill>
          <a:schemeClr val="tx1"/>
        </a:solidFill>
        <a:latin typeface="+mn-lt"/>
        <a:ea typeface="+mn-ea"/>
        <a:cs typeface="+mn-cs"/>
      </a:defRPr>
    </a:lvl1pPr>
    <a:lvl2pPr marL="586039" algn="l" defTabSz="1172078" rtl="0" eaLnBrk="1" latinLnBrk="0" hangingPunct="1">
      <a:defRPr sz="2300" kern="1200">
        <a:solidFill>
          <a:schemeClr val="tx1"/>
        </a:solidFill>
        <a:latin typeface="+mn-lt"/>
        <a:ea typeface="+mn-ea"/>
        <a:cs typeface="+mn-cs"/>
      </a:defRPr>
    </a:lvl2pPr>
    <a:lvl3pPr marL="1172078" algn="l" defTabSz="1172078" rtl="0" eaLnBrk="1" latinLnBrk="0" hangingPunct="1">
      <a:defRPr sz="2300" kern="1200">
        <a:solidFill>
          <a:schemeClr val="tx1"/>
        </a:solidFill>
        <a:latin typeface="+mn-lt"/>
        <a:ea typeface="+mn-ea"/>
        <a:cs typeface="+mn-cs"/>
      </a:defRPr>
    </a:lvl3pPr>
    <a:lvl4pPr marL="1758117" algn="l" defTabSz="1172078" rtl="0" eaLnBrk="1" latinLnBrk="0" hangingPunct="1">
      <a:defRPr sz="2300" kern="1200">
        <a:solidFill>
          <a:schemeClr val="tx1"/>
        </a:solidFill>
        <a:latin typeface="+mn-lt"/>
        <a:ea typeface="+mn-ea"/>
        <a:cs typeface="+mn-cs"/>
      </a:defRPr>
    </a:lvl4pPr>
    <a:lvl5pPr marL="2344156" algn="l" defTabSz="1172078" rtl="0" eaLnBrk="1" latinLnBrk="0" hangingPunct="1">
      <a:defRPr sz="2300" kern="1200">
        <a:solidFill>
          <a:schemeClr val="tx1"/>
        </a:solidFill>
        <a:latin typeface="+mn-lt"/>
        <a:ea typeface="+mn-ea"/>
        <a:cs typeface="+mn-cs"/>
      </a:defRPr>
    </a:lvl5pPr>
    <a:lvl6pPr marL="2930195" algn="l" defTabSz="1172078" rtl="0" eaLnBrk="1" latinLnBrk="0" hangingPunct="1">
      <a:defRPr sz="2300" kern="1200">
        <a:solidFill>
          <a:schemeClr val="tx1"/>
        </a:solidFill>
        <a:latin typeface="+mn-lt"/>
        <a:ea typeface="+mn-ea"/>
        <a:cs typeface="+mn-cs"/>
      </a:defRPr>
    </a:lvl6pPr>
    <a:lvl7pPr marL="3516234" algn="l" defTabSz="1172078" rtl="0" eaLnBrk="1" latinLnBrk="0" hangingPunct="1">
      <a:defRPr sz="2300" kern="1200">
        <a:solidFill>
          <a:schemeClr val="tx1"/>
        </a:solidFill>
        <a:latin typeface="+mn-lt"/>
        <a:ea typeface="+mn-ea"/>
        <a:cs typeface="+mn-cs"/>
      </a:defRPr>
    </a:lvl7pPr>
    <a:lvl8pPr marL="4102273" algn="l" defTabSz="1172078" rtl="0" eaLnBrk="1" latinLnBrk="0" hangingPunct="1">
      <a:defRPr sz="2300" kern="1200">
        <a:solidFill>
          <a:schemeClr val="tx1"/>
        </a:solidFill>
        <a:latin typeface="+mn-lt"/>
        <a:ea typeface="+mn-ea"/>
        <a:cs typeface="+mn-cs"/>
      </a:defRPr>
    </a:lvl8pPr>
    <a:lvl9pPr marL="4688312" algn="l" defTabSz="1172078"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7A74"/>
    <a:srgbClr val="F0534B"/>
    <a:srgbClr val="FF3399"/>
    <a:srgbClr val="DAE640"/>
    <a:srgbClr val="E46C0A"/>
    <a:srgbClr val="FFC000"/>
    <a:srgbClr val="00B050"/>
    <a:srgbClr val="0070C0"/>
    <a:srgbClr val="4E8542"/>
    <a:srgbClr val="F07F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62" autoAdjust="0"/>
    <p:restoredTop sz="77860" autoAdjust="0"/>
  </p:normalViewPr>
  <p:slideViewPr>
    <p:cSldViewPr>
      <p:cViewPr varScale="1">
        <p:scale>
          <a:sx n="56" d="100"/>
          <a:sy n="56" d="100"/>
        </p:scale>
        <p:origin x="966" y="72"/>
      </p:cViewPr>
      <p:guideLst>
        <p:guide orient="horz" pos="2160"/>
        <p:guide pos="3839"/>
      </p:guideLst>
    </p:cSldViewPr>
  </p:slideViewPr>
  <p:outlineViewPr>
    <p:cViewPr>
      <p:scale>
        <a:sx n="33" d="100"/>
        <a:sy n="33" d="100"/>
      </p:scale>
      <p:origin x="0" y="27984"/>
    </p:cViewPr>
  </p:outlineViewPr>
  <p:notesTextViewPr>
    <p:cViewPr>
      <p:scale>
        <a:sx n="100" d="100"/>
        <a:sy n="100" d="100"/>
      </p:scale>
      <p:origin x="0" y="0"/>
    </p:cViewPr>
  </p:notesTextViewPr>
  <p:sorterViewPr>
    <p:cViewPr>
      <p:scale>
        <a:sx n="87" d="100"/>
        <a:sy n="87" d="100"/>
      </p:scale>
      <p:origin x="0" y="948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1" Type="http://schemas.openxmlformats.org/officeDocument/2006/relationships/oleObject" Target="file:///D:\Nestl&#233;\rapport\Mois%202\S4\work%20J5%20S8%20M2.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D:\Nestl&#233;\rapport\Mois%202\S2\work%20J5%20S6%20M2.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Nestl&#233;\rapport\Mois%203\S2\r&#233;partition%20non%20conformit&#233;.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F:\Fatina\reclamations.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D:\Nestl&#233;\TB\Tableau_de_bord%20-fatina%20EL%20KTAM.xlsb"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D:\Soutenance\ESITH-soutenance\Rapport\Tableau_de_bord%20-Fatina%20EL%20KTAM-%20Rapport%20de%20stage.xlsb" TargetMode="Externa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D:\Nestl&#233;\rapport\Mois%203\S2\r&#233;partition%20non%20conformit&#233;.xlsx" TargetMode="External"/></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D:\Nestl&#233;\rapport\Mois%203\S2\r&#233;partition%20non%20conformit&#23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Nestl&#233;\rapport\Mois%203\S2\work%20J5%20S10%20M3.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Nestl&#233;\TB\Tableau_de_bord%20-fatina%20EL%20KTAM.xlsb"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Nestl&#233;\TB\Tableau_de_bord%20-fatina%20EL%20KTAM.xlsb"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Nestl&#233;\rapport\Mois%203\S2\work%20J5%20S10%20M3.xls"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Nestl&#233;\rapport\Mois%203\S2\r&#233;partition%20non%20conformit&#233;.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Nestl&#233;\rapport\Mois%202\S2\Questionnaire%20evaluation%20des%20fournisseurs.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Nestl&#233;\rapport\Mois%202\S2\Questionnaire%20evaluation%20des%20fournisseurs.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D:\Nestl&#233;\rapport\Mois%203\S2\r&#233;partition%20non%20conformit&#23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floor>
    <c:sideWall>
      <c:thickness val="0"/>
    </c:sideWall>
    <c:backWall>
      <c:thickness val="0"/>
    </c:backWall>
    <c:plotArea>
      <c:layout/>
      <c:pie3DChart>
        <c:varyColors val="1"/>
        <c:ser>
          <c:idx val="0"/>
          <c:order val="0"/>
          <c:tx>
            <c:strRef>
              <c:f>ABCDEFZZz!$L$5</c:f>
              <c:strCache>
                <c:ptCount val="1"/>
                <c:pt idx="0">
                  <c:v>%</c:v>
                </c:pt>
              </c:strCache>
            </c:strRef>
          </c:tx>
          <c:explosion val="25"/>
          <c:dLbls>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ABCDEFZZz!$J$6:$J$15</c:f>
              <c:strCache>
                <c:ptCount val="10"/>
                <c:pt idx="0">
                  <c:v>100575210  Litho Typo Marocaine S.a r.l.</c:v>
                </c:pt>
                <c:pt idx="1">
                  <c:v>100136931  ICONA</c:v>
                </c:pt>
                <c:pt idx="2">
                  <c:v>100008544  VOLCAFE Ltd</c:v>
                </c:pt>
                <c:pt idx="3">
                  <c:v>100739509  CROWN Packaging Maroc S.A.</c:v>
                </c:pt>
                <c:pt idx="4">
                  <c:v>100739522  Sevam S.A.</c:v>
                </c:pt>
                <c:pt idx="5">
                  <c:v>100739620  Manupack</c:v>
                </c:pt>
                <c:pt idx="6">
                  <c:v>100739512  Fleximat S.A.</c:v>
                </c:pt>
                <c:pt idx="7">
                  <c:v>100835466  Constantia Tobepal S.L.</c:v>
                </c:pt>
                <c:pt idx="8">
                  <c:v>100739511  Cincib S.A.R.L.</c:v>
                </c:pt>
                <c:pt idx="9">
                  <c:v>100488584  United Caps Llagostera, S.A.U.</c:v>
                </c:pt>
              </c:strCache>
            </c:strRef>
          </c:cat>
          <c:val>
            <c:numRef>
              <c:f>ABCDEFZZz!$L$6:$L$15</c:f>
              <c:numCache>
                <c:formatCode>0%</c:formatCode>
                <c:ptCount val="10"/>
                <c:pt idx="0">
                  <c:v>0.29271193137896867</c:v>
                </c:pt>
                <c:pt idx="1">
                  <c:v>0.27505129304728332</c:v>
                </c:pt>
                <c:pt idx="2">
                  <c:v>8.5642284633330734E-2</c:v>
                </c:pt>
                <c:pt idx="3">
                  <c:v>6.8752087809870133E-2</c:v>
                </c:pt>
                <c:pt idx="4">
                  <c:v>5.4747397385308677E-2</c:v>
                </c:pt>
                <c:pt idx="5">
                  <c:v>5.4725523177654847E-2</c:v>
                </c:pt>
                <c:pt idx="6">
                  <c:v>2.9610903622564456E-2</c:v>
                </c:pt>
                <c:pt idx="7">
                  <c:v>2.9130297480937786E-2</c:v>
                </c:pt>
                <c:pt idx="8">
                  <c:v>2.1820470232534233E-2</c:v>
                </c:pt>
                <c:pt idx="9">
                  <c:v>1.6734745719275988E-2</c:v>
                </c:pt>
              </c:numCache>
            </c:numRef>
          </c:val>
          <c:extLst>
            <c:ext xmlns:c16="http://schemas.microsoft.com/office/drawing/2014/chart" uri="{C3380CC4-5D6E-409C-BE32-E72D297353CC}">
              <c16:uniqueId val="{00000000-D867-449A-B533-87F0577A42FB}"/>
            </c:ext>
          </c:extLst>
        </c:ser>
        <c:dLbls>
          <c:showLegendKey val="0"/>
          <c:showVal val="0"/>
          <c:showCatName val="1"/>
          <c:showSerName val="0"/>
          <c:showPercent val="1"/>
          <c:showBubbleSize val="0"/>
          <c:showLeaderLines val="1"/>
        </c:dLbls>
      </c:pie3DChart>
    </c:plotArea>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a:pPr>
            <a:r>
              <a:rPr lang="fr-FR"/>
              <a:t>Risque généraux </a:t>
            </a:r>
          </a:p>
        </c:rich>
      </c:tx>
      <c:overlay val="0"/>
    </c:title>
    <c:autoTitleDeleted val="0"/>
    <c:plotArea>
      <c:layout/>
      <c:doughnutChart>
        <c:varyColors val="1"/>
        <c:ser>
          <c:idx val="0"/>
          <c:order val="0"/>
          <c:explosion val="25"/>
          <c:dPt>
            <c:idx val="0"/>
            <c:bubble3D val="0"/>
            <c:extLst>
              <c:ext xmlns:c16="http://schemas.microsoft.com/office/drawing/2014/chart" uri="{C3380CC4-5D6E-409C-BE32-E72D297353CC}">
                <c16:uniqueId val="{00000000-73F2-4045-9A8D-6BA22BAB9CF9}"/>
              </c:ext>
            </c:extLst>
          </c:dPt>
          <c:dPt>
            <c:idx val="1"/>
            <c:bubble3D val="0"/>
            <c:extLst>
              <c:ext xmlns:c16="http://schemas.microsoft.com/office/drawing/2014/chart" uri="{C3380CC4-5D6E-409C-BE32-E72D297353CC}">
                <c16:uniqueId val="{00000001-73F2-4045-9A8D-6BA22BAB9CF9}"/>
              </c:ext>
            </c:extLst>
          </c:dPt>
          <c:dLbls>
            <c:spPr>
              <a:noFill/>
              <a:ln>
                <a:noFill/>
              </a:ln>
              <a:effectLst/>
            </c:spPr>
            <c:showLegendKey val="0"/>
            <c:showVal val="0"/>
            <c:showCatName val="0"/>
            <c:showSerName val="0"/>
            <c:showPercent val="1"/>
            <c:showBubbleSize val="0"/>
            <c:showLeaderLines val="0"/>
            <c:extLst>
              <c:ext xmlns:c15="http://schemas.microsoft.com/office/drawing/2012/chart" uri="{CE6537A1-D6FC-4f65-9D91-7224C49458BB}"/>
            </c:extLst>
          </c:dLbls>
          <c:cat>
            <c:strRef>
              <c:f>'Qualité '!$AA$3:$AB$3</c:f>
              <c:strCache>
                <c:ptCount val="2"/>
                <c:pt idx="0">
                  <c:v>mineur </c:v>
                </c:pt>
                <c:pt idx="1">
                  <c:v>majeur </c:v>
                </c:pt>
              </c:strCache>
            </c:strRef>
          </c:cat>
          <c:val>
            <c:numRef>
              <c:f>'Qualité '!$AA$4:$AB$4</c:f>
              <c:numCache>
                <c:formatCode>General</c:formatCode>
                <c:ptCount val="2"/>
                <c:pt idx="0">
                  <c:v>14</c:v>
                </c:pt>
                <c:pt idx="1">
                  <c:v>52</c:v>
                </c:pt>
              </c:numCache>
            </c:numRef>
          </c:val>
          <c:extLst>
            <c:ext xmlns:c16="http://schemas.microsoft.com/office/drawing/2014/chart" uri="{C3380CC4-5D6E-409C-BE32-E72D297353CC}">
              <c16:uniqueId val="{00000002-73F2-4045-9A8D-6BA22BAB9CF9}"/>
            </c:ext>
          </c:extLst>
        </c:ser>
        <c:dLbls>
          <c:showLegendKey val="0"/>
          <c:showVal val="0"/>
          <c:showCatName val="0"/>
          <c:showSerName val="0"/>
          <c:showPercent val="0"/>
          <c:showBubbleSize val="0"/>
          <c:showLeaderLines val="0"/>
        </c:dLbls>
        <c:firstSliceAng val="0"/>
        <c:holeSize val="50"/>
      </c:doughnutChart>
    </c:plotArea>
    <c:legend>
      <c:legendPos val="r"/>
      <c:overlay val="0"/>
    </c:legend>
    <c:plotVisOnly val="1"/>
    <c:dispBlanksAs val="gap"/>
    <c:showDLblsOverMax val="0"/>
  </c:chart>
  <c:txPr>
    <a:bodyPr/>
    <a:lstStyle/>
    <a:p>
      <a:pPr>
        <a:defRPr sz="1800"/>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pivotSource>
    <c:name>[répartition non conformité.xlsx]Feuil14!Tableau croisé dynamique5</c:name>
    <c:fmtId val="3"/>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r>
              <a:rPr lang="fr-FR" sz="1800" b="1" i="0" baseline="0" dirty="0">
                <a:effectLst/>
              </a:rPr>
              <a:t>la répartition des non-conformités par fournisseurs </a:t>
            </a:r>
            <a:r>
              <a:rPr lang="fr-FR" sz="1800" b="1" i="0" u="none" strike="noStrike" baseline="0" dirty="0">
                <a:effectLst/>
              </a:rPr>
              <a:t>"</a:t>
            </a:r>
            <a:r>
              <a:rPr lang="fr-FR" sz="1800" b="1" i="0" baseline="0" dirty="0">
                <a:effectLst/>
              </a:rPr>
              <a:t>qualité"</a:t>
            </a:r>
            <a:r>
              <a:rPr lang="en-US" sz="1800" b="1" i="0" u="none" strike="noStrike" baseline="0" dirty="0">
                <a:effectLst/>
              </a:rPr>
              <a:t> </a:t>
            </a:r>
            <a:endParaRPr lang="fr-FR" dirty="0"/>
          </a:p>
        </c:rich>
      </c:tx>
      <c:layout>
        <c:manualLayout>
          <c:xMode val="edge"/>
          <c:yMode val="edge"/>
          <c:x val="0.12293195057934829"/>
          <c:y val="5.8394171771207495E-2"/>
        </c:manualLayout>
      </c:layout>
      <c:overlay val="0"/>
    </c:title>
    <c:autoTitleDeleted val="0"/>
    <c:pivotFmts>
      <c:pivotFmt>
        <c:idx val="0"/>
        <c:marker>
          <c:symbol val="none"/>
        </c:marker>
        <c:dLbl>
          <c:idx val="0"/>
          <c:spPr/>
          <c:txPr>
            <a:bodyPr/>
            <a:lstStyle/>
            <a:p>
              <a:pPr>
                <a:defRPr/>
              </a:pPr>
              <a:endParaRPr lang="fr-FR"/>
            </a:p>
          </c:txPr>
          <c:showLegendKey val="0"/>
          <c:showVal val="0"/>
          <c:showCatName val="0"/>
          <c:showSerName val="0"/>
          <c:showPercent val="1"/>
          <c:showBubbleSize val="0"/>
          <c:extLst>
            <c:ext xmlns:c15="http://schemas.microsoft.com/office/drawing/2012/chart" uri="{CE6537A1-D6FC-4f65-9D91-7224C49458BB}"/>
          </c:extLst>
        </c:dLbl>
      </c:pivotFmt>
      <c:pivotFmt>
        <c:idx val="1"/>
        <c:marker>
          <c:symbol val="none"/>
        </c:marker>
        <c:dLbl>
          <c:idx val="0"/>
          <c:spPr/>
          <c:txPr>
            <a:bodyPr/>
            <a:lstStyle/>
            <a:p>
              <a:pPr>
                <a:defRPr/>
              </a:pPr>
              <a:endParaRPr lang="fr-FR"/>
            </a:p>
          </c:txPr>
          <c:showLegendKey val="0"/>
          <c:showVal val="0"/>
          <c:showCatName val="0"/>
          <c:showSerName val="0"/>
          <c:showPercent val="1"/>
          <c:showBubbleSize val="0"/>
          <c:extLst>
            <c:ext xmlns:c15="http://schemas.microsoft.com/office/drawing/2012/chart" uri="{CE6537A1-D6FC-4f65-9D91-7224C49458BB}"/>
          </c:extLst>
        </c:dLbl>
      </c:pivotFmt>
      <c:pivotFmt>
        <c:idx val="2"/>
        <c:marker>
          <c:symbol val="none"/>
        </c:marker>
        <c:dLbl>
          <c:idx val="0"/>
          <c:spPr/>
          <c:txPr>
            <a:bodyPr/>
            <a:lstStyle/>
            <a:p>
              <a:pPr>
                <a:defRPr/>
              </a:pPr>
              <a:endParaRPr lang="fr-FR"/>
            </a:p>
          </c:txPr>
          <c:showLegendKey val="0"/>
          <c:showVal val="0"/>
          <c:showCatName val="0"/>
          <c:showSerName val="0"/>
          <c:showPercent val="1"/>
          <c:showBubbleSize val="0"/>
          <c:extLst>
            <c:ext xmlns:c15="http://schemas.microsoft.com/office/drawing/2012/chart" uri="{CE6537A1-D6FC-4f65-9D91-7224C49458BB}"/>
          </c:extLst>
        </c:dLbl>
      </c:pivotFmt>
    </c:pivotFmts>
    <c:plotArea>
      <c:layout/>
      <c:doughnutChart>
        <c:varyColors val="1"/>
        <c:ser>
          <c:idx val="0"/>
          <c:order val="0"/>
          <c:tx>
            <c:strRef>
              <c:f>Feuil14!$B$2</c:f>
              <c:strCache>
                <c:ptCount val="1"/>
                <c:pt idx="0">
                  <c:v>Total</c:v>
                </c:pt>
              </c:strCache>
            </c:strRef>
          </c:tx>
          <c:dLbls>
            <c:dLbl>
              <c:idx val="0"/>
              <c:tx>
                <c:rich>
                  <a:bodyPr/>
                  <a:lstStyle/>
                  <a:p>
                    <a:r>
                      <a:rPr lang="en-US" sz="1600" b="1" dirty="0"/>
                      <a:t>33%</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0B84-4DC5-B195-7A29FD668154}"/>
                </c:ext>
              </c:extLst>
            </c:dLbl>
            <c:dLbl>
              <c:idx val="1"/>
              <c:tx>
                <c:rich>
                  <a:bodyPr/>
                  <a:lstStyle/>
                  <a:p>
                    <a:r>
                      <a:rPr lang="en-US" sz="1400" b="1" dirty="0"/>
                      <a:t>19%</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B84-4DC5-B195-7A29FD668154}"/>
                </c:ext>
              </c:extLst>
            </c:dLbl>
            <c:dLbl>
              <c:idx val="2"/>
              <c:tx>
                <c:rich>
                  <a:bodyPr/>
                  <a:lstStyle/>
                  <a:p>
                    <a:r>
                      <a:rPr lang="en-US" sz="1600" b="1" dirty="0"/>
                      <a:t>9%</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0B84-4DC5-B195-7A29FD668154}"/>
                </c:ext>
              </c:extLst>
            </c:dLbl>
            <c:dLbl>
              <c:idx val="3"/>
              <c:tx>
                <c:rich>
                  <a:bodyPr/>
                  <a:lstStyle/>
                  <a:p>
                    <a:r>
                      <a:rPr lang="en-US" sz="1600" b="1" dirty="0"/>
                      <a:t>9%</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B84-4DC5-B195-7A29FD668154}"/>
                </c:ext>
              </c:extLst>
            </c:dLbl>
            <c:spPr>
              <a:noFill/>
              <a:ln>
                <a:noFill/>
              </a:ln>
              <a:effectLst/>
            </c:spPr>
            <c:txPr>
              <a:bodyPr/>
              <a:lstStyle/>
              <a:p>
                <a:pPr>
                  <a:defRPr>
                    <a:solidFill>
                      <a:schemeClr val="bg1"/>
                    </a:solidFill>
                  </a:defRPr>
                </a:pPr>
                <a:endParaRPr lang="fr-FR"/>
              </a:p>
            </c:txPr>
            <c:showLegendKey val="0"/>
            <c:showVal val="0"/>
            <c:showCatName val="0"/>
            <c:showSerName val="0"/>
            <c:showPercent val="1"/>
            <c:showBubbleSize val="0"/>
            <c:showLeaderLines val="1"/>
            <c:extLst>
              <c:ext xmlns:c15="http://schemas.microsoft.com/office/drawing/2012/chart" uri="{CE6537A1-D6FC-4f65-9D91-7224C49458BB}"/>
            </c:extLst>
          </c:dLbls>
          <c:cat>
            <c:strRef>
              <c:f>Feuil14!$A$3:$A$19</c:f>
              <c:strCache>
                <c:ptCount val="16"/>
                <c:pt idx="0">
                  <c:v>100739508  Compagnie Marocaine de Carton et</c:v>
                </c:pt>
                <c:pt idx="1">
                  <c:v>100575210  Litho Typo Marocaine S.a r.l.</c:v>
                </c:pt>
                <c:pt idx="2">
                  <c:v>100739620  Manupack</c:v>
                </c:pt>
                <c:pt idx="3">
                  <c:v>100739509  CROWN Packaging Maroc S.A.</c:v>
                </c:pt>
                <c:pt idx="4">
                  <c:v>101041152  Coveris Flexibles Egypt Limited</c:v>
                </c:pt>
                <c:pt idx="5">
                  <c:v>100739525  Les Moulins Lahlal S.A.</c:v>
                </c:pt>
                <c:pt idx="6">
                  <c:v>100739512  Fleximat S.A.</c:v>
                </c:pt>
                <c:pt idx="7">
                  <c:v>101065000  Henkel Group Morocco S.A.</c:v>
                </c:pt>
                <c:pt idx="8">
                  <c:v>100762059  Colin Ingredients</c:v>
                </c:pt>
                <c:pt idx="9">
                  <c:v>100182429  United Caps Greystones Limited</c:v>
                </c:pt>
                <c:pt idx="10">
                  <c:v>100058441  Ardagh Metal Packaging Hjoerring</c:v>
                </c:pt>
                <c:pt idx="11">
                  <c:v>100835466  Constantia Tobepal S.L.</c:v>
                </c:pt>
                <c:pt idx="12">
                  <c:v>100739522  Sevam S.A.</c:v>
                </c:pt>
                <c:pt idx="13">
                  <c:v>100136931  ICONA</c:v>
                </c:pt>
                <c:pt idx="14">
                  <c:v>100055881  Plasticos Castella S.A.</c:v>
                </c:pt>
                <c:pt idx="15">
                  <c:v>100739511  Cincib S.A.R.L.</c:v>
                </c:pt>
              </c:strCache>
            </c:strRef>
          </c:cat>
          <c:val>
            <c:numRef>
              <c:f>Feuil14!$B$3:$B$19</c:f>
              <c:numCache>
                <c:formatCode>General</c:formatCode>
                <c:ptCount val="16"/>
                <c:pt idx="0">
                  <c:v>18</c:v>
                </c:pt>
                <c:pt idx="1">
                  <c:v>10</c:v>
                </c:pt>
                <c:pt idx="2">
                  <c:v>5</c:v>
                </c:pt>
                <c:pt idx="3">
                  <c:v>5</c:v>
                </c:pt>
                <c:pt idx="4">
                  <c:v>3</c:v>
                </c:pt>
                <c:pt idx="5">
                  <c:v>2</c:v>
                </c:pt>
                <c:pt idx="6">
                  <c:v>2</c:v>
                </c:pt>
                <c:pt idx="7">
                  <c:v>1</c:v>
                </c:pt>
                <c:pt idx="8">
                  <c:v>1</c:v>
                </c:pt>
                <c:pt idx="9">
                  <c:v>1</c:v>
                </c:pt>
                <c:pt idx="10">
                  <c:v>1</c:v>
                </c:pt>
                <c:pt idx="11">
                  <c:v>1</c:v>
                </c:pt>
                <c:pt idx="12">
                  <c:v>1</c:v>
                </c:pt>
                <c:pt idx="13">
                  <c:v>1</c:v>
                </c:pt>
                <c:pt idx="14">
                  <c:v>1</c:v>
                </c:pt>
                <c:pt idx="15">
                  <c:v>1</c:v>
                </c:pt>
              </c:numCache>
            </c:numRef>
          </c:val>
          <c:extLst>
            <c:ext xmlns:c16="http://schemas.microsoft.com/office/drawing/2014/chart" uri="{C3380CC4-5D6E-409C-BE32-E72D297353CC}">
              <c16:uniqueId val="{00000004-0B84-4DC5-B195-7A29FD668154}"/>
            </c:ext>
          </c:extLst>
        </c:ser>
        <c:dLbls>
          <c:showLegendKey val="0"/>
          <c:showVal val="0"/>
          <c:showCatName val="0"/>
          <c:showSerName val="0"/>
          <c:showPercent val="1"/>
          <c:showBubbleSize val="0"/>
          <c:showLeaderLines val="1"/>
        </c:dLbls>
        <c:firstSliceAng val="0"/>
        <c:holeSize val="50"/>
      </c:doughnutChart>
    </c:plotArea>
    <c:legend>
      <c:legendPos val="r"/>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fr-FR" dirty="0"/>
              <a:t>Réponses aux réclamations</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213648293963254E-2"/>
          <c:y val="0.17171296296296298"/>
          <c:w val="0.90286351706036749"/>
          <c:h val="0.61498432487605714"/>
        </c:manualLayout>
      </c:layout>
      <c:bar3DChart>
        <c:barDir val="col"/>
        <c:grouping val="clustered"/>
        <c:varyColors val="0"/>
        <c:ser>
          <c:idx val="0"/>
          <c:order val="0"/>
          <c:tx>
            <c:strRef>
              <c:f>récap!$C$3</c:f>
              <c:strCache>
                <c:ptCount val="1"/>
                <c:pt idx="0">
                  <c:v>nbre de réclamtions</c:v>
                </c:pt>
              </c:strCache>
            </c:strRef>
          </c:tx>
          <c:spPr>
            <a:solidFill>
              <a:schemeClr val="bg1">
                <a:lumMod val="75000"/>
              </a:schemeClr>
            </a:solidFill>
            <a:ln>
              <a:noFill/>
            </a:ln>
            <a:effectLst>
              <a:outerShdw blurRad="57150" dist="19050" dir="5400000" algn="ctr" rotWithShape="0">
                <a:srgbClr val="000000">
                  <a:alpha val="63000"/>
                </a:srgbClr>
              </a:outerShdw>
            </a:effectLst>
            <a:sp3d/>
          </c:spPr>
          <c:invertIfNegative val="0"/>
          <c:cat>
            <c:numRef>
              <c:f>récap!$B$4:$B$6</c:f>
              <c:numCache>
                <c:formatCode>General</c:formatCode>
                <c:ptCount val="3"/>
                <c:pt idx="0">
                  <c:v>2016</c:v>
                </c:pt>
                <c:pt idx="1">
                  <c:v>2017</c:v>
                </c:pt>
                <c:pt idx="2">
                  <c:v>2018</c:v>
                </c:pt>
              </c:numCache>
            </c:numRef>
          </c:cat>
          <c:val>
            <c:numRef>
              <c:f>récap!$C$4:$C$6</c:f>
              <c:numCache>
                <c:formatCode>General</c:formatCode>
                <c:ptCount val="3"/>
                <c:pt idx="0">
                  <c:v>43</c:v>
                </c:pt>
                <c:pt idx="1">
                  <c:v>51</c:v>
                </c:pt>
                <c:pt idx="2">
                  <c:v>21</c:v>
                </c:pt>
              </c:numCache>
            </c:numRef>
          </c:val>
          <c:extLst>
            <c:ext xmlns:c16="http://schemas.microsoft.com/office/drawing/2014/chart" uri="{C3380CC4-5D6E-409C-BE32-E72D297353CC}">
              <c16:uniqueId val="{00000000-B7E8-4826-A78A-CA041FB8B54F}"/>
            </c:ext>
          </c:extLst>
        </c:ser>
        <c:ser>
          <c:idx val="1"/>
          <c:order val="1"/>
          <c:tx>
            <c:strRef>
              <c:f>récap!$D$3</c:f>
              <c:strCache>
                <c:ptCount val="1"/>
                <c:pt idx="0">
                  <c:v>bon</c:v>
                </c:pt>
              </c:strCache>
            </c:strRef>
          </c:tx>
          <c:spPr>
            <a:solidFill>
              <a:srgbClr val="92D050"/>
            </a:solidFill>
            <a:ln>
              <a:noFill/>
            </a:ln>
            <a:effectLst>
              <a:outerShdw blurRad="57150" dist="19050" dir="5400000" algn="ctr" rotWithShape="0">
                <a:srgbClr val="000000">
                  <a:alpha val="63000"/>
                </a:srgbClr>
              </a:outerShdw>
            </a:effectLst>
            <a:sp3d/>
          </c:spPr>
          <c:invertIfNegative val="0"/>
          <c:cat>
            <c:numRef>
              <c:f>récap!$B$4:$B$6</c:f>
              <c:numCache>
                <c:formatCode>General</c:formatCode>
                <c:ptCount val="3"/>
                <c:pt idx="0">
                  <c:v>2016</c:v>
                </c:pt>
                <c:pt idx="1">
                  <c:v>2017</c:v>
                </c:pt>
                <c:pt idx="2">
                  <c:v>2018</c:v>
                </c:pt>
              </c:numCache>
            </c:numRef>
          </c:cat>
          <c:val>
            <c:numRef>
              <c:f>récap!$D$4:$D$6</c:f>
              <c:numCache>
                <c:formatCode>General</c:formatCode>
                <c:ptCount val="3"/>
                <c:pt idx="0">
                  <c:v>26</c:v>
                </c:pt>
                <c:pt idx="1">
                  <c:v>25</c:v>
                </c:pt>
                <c:pt idx="2">
                  <c:v>14</c:v>
                </c:pt>
              </c:numCache>
            </c:numRef>
          </c:val>
          <c:extLst>
            <c:ext xmlns:c16="http://schemas.microsoft.com/office/drawing/2014/chart" uri="{C3380CC4-5D6E-409C-BE32-E72D297353CC}">
              <c16:uniqueId val="{00000001-B7E8-4826-A78A-CA041FB8B54F}"/>
            </c:ext>
          </c:extLst>
        </c:ser>
        <c:ser>
          <c:idx val="2"/>
          <c:order val="2"/>
          <c:tx>
            <c:strRef>
              <c:f>récap!$E$3</c:f>
              <c:strCache>
                <c:ptCount val="1"/>
                <c:pt idx="0">
                  <c:v>mauvais</c:v>
                </c:pt>
              </c:strCache>
            </c:strRef>
          </c:tx>
          <c:spPr>
            <a:solidFill>
              <a:srgbClr val="FF0000"/>
            </a:solidFill>
            <a:ln>
              <a:noFill/>
            </a:ln>
            <a:effectLst>
              <a:outerShdw blurRad="57150" dist="19050" dir="5400000" algn="ctr" rotWithShape="0">
                <a:srgbClr val="000000">
                  <a:alpha val="63000"/>
                </a:srgbClr>
              </a:outerShdw>
            </a:effectLst>
            <a:sp3d/>
          </c:spPr>
          <c:invertIfNegative val="0"/>
          <c:cat>
            <c:numRef>
              <c:f>récap!$B$4:$B$6</c:f>
              <c:numCache>
                <c:formatCode>General</c:formatCode>
                <c:ptCount val="3"/>
                <c:pt idx="0">
                  <c:v>2016</c:v>
                </c:pt>
                <c:pt idx="1">
                  <c:v>2017</c:v>
                </c:pt>
                <c:pt idx="2">
                  <c:v>2018</c:v>
                </c:pt>
              </c:numCache>
            </c:numRef>
          </c:cat>
          <c:val>
            <c:numRef>
              <c:f>récap!$E$4:$E$6</c:f>
              <c:numCache>
                <c:formatCode>General</c:formatCode>
                <c:ptCount val="3"/>
                <c:pt idx="0">
                  <c:v>17</c:v>
                </c:pt>
                <c:pt idx="1">
                  <c:v>26</c:v>
                </c:pt>
                <c:pt idx="2">
                  <c:v>7</c:v>
                </c:pt>
              </c:numCache>
            </c:numRef>
          </c:val>
          <c:extLst>
            <c:ext xmlns:c16="http://schemas.microsoft.com/office/drawing/2014/chart" uri="{C3380CC4-5D6E-409C-BE32-E72D297353CC}">
              <c16:uniqueId val="{00000002-B7E8-4826-A78A-CA041FB8B54F}"/>
            </c:ext>
          </c:extLst>
        </c:ser>
        <c:dLbls>
          <c:showLegendKey val="0"/>
          <c:showVal val="0"/>
          <c:showCatName val="0"/>
          <c:showSerName val="0"/>
          <c:showPercent val="0"/>
          <c:showBubbleSize val="0"/>
        </c:dLbls>
        <c:gapWidth val="150"/>
        <c:shape val="box"/>
        <c:axId val="205636352"/>
        <c:axId val="205638272"/>
        <c:axId val="0"/>
      </c:bar3DChart>
      <c:catAx>
        <c:axId val="20563635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5638272"/>
        <c:crosses val="autoZero"/>
        <c:auto val="1"/>
        <c:lblAlgn val="ctr"/>
        <c:lblOffset val="100"/>
        <c:noMultiLvlLbl val="0"/>
      </c:catAx>
      <c:valAx>
        <c:axId val="205638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5636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rot="0" vert="horz"/>
          <a:lstStyle/>
          <a:p>
            <a:pPr>
              <a:defRPr/>
            </a:pPr>
            <a:r>
              <a:rPr lang="fr-FR"/>
              <a:t>Analyse par critère</a:t>
            </a:r>
          </a:p>
        </c:rich>
      </c:tx>
      <c:overlay val="0"/>
    </c:title>
    <c:autoTitleDeleted val="0"/>
    <c:plotArea>
      <c:layout/>
      <c:radarChart>
        <c:radarStyle val="marker"/>
        <c:varyColors val="0"/>
        <c:ser>
          <c:idx val="0"/>
          <c:order val="0"/>
          <c:tx>
            <c:strRef>
              <c:f>ANALYSE!$G$16</c:f>
              <c:strCache>
                <c:ptCount val="1"/>
                <c:pt idx="0">
                  <c:v>SA</c:v>
                </c:pt>
              </c:strCache>
            </c:strRef>
          </c:tx>
          <c:cat>
            <c:strRef>
              <c:f>ANALYSE!$F$17:$F$19</c:f>
              <c:strCache>
                <c:ptCount val="3"/>
                <c:pt idx="0">
                  <c:v>Quantité</c:v>
                </c:pt>
                <c:pt idx="1">
                  <c:v>Délai</c:v>
                </c:pt>
                <c:pt idx="2">
                  <c:v>Qualité</c:v>
                </c:pt>
              </c:strCache>
            </c:strRef>
          </c:cat>
          <c:val>
            <c:numRef>
              <c:f>ANALYSE!$G$17:$G$19</c:f>
              <c:numCache>
                <c:formatCode>General</c:formatCode>
                <c:ptCount val="3"/>
                <c:pt idx="0">
                  <c:v>1555</c:v>
                </c:pt>
                <c:pt idx="1">
                  <c:v>502</c:v>
                </c:pt>
                <c:pt idx="2">
                  <c:v>1652</c:v>
                </c:pt>
              </c:numCache>
            </c:numRef>
          </c:val>
          <c:extLst>
            <c:ext xmlns:c16="http://schemas.microsoft.com/office/drawing/2014/chart" uri="{C3380CC4-5D6E-409C-BE32-E72D297353CC}">
              <c16:uniqueId val="{00000000-6E82-4C59-AA53-A0FD6B314753}"/>
            </c:ext>
          </c:extLst>
        </c:ser>
        <c:ser>
          <c:idx val="1"/>
          <c:order val="1"/>
          <c:tx>
            <c:strRef>
              <c:f>ANALYSE!$H$16</c:f>
              <c:strCache>
                <c:ptCount val="1"/>
                <c:pt idx="0">
                  <c:v>SS</c:v>
                </c:pt>
              </c:strCache>
            </c:strRef>
          </c:tx>
          <c:cat>
            <c:strRef>
              <c:f>ANALYSE!$F$17:$F$19</c:f>
              <c:strCache>
                <c:ptCount val="3"/>
                <c:pt idx="0">
                  <c:v>Quantité</c:v>
                </c:pt>
                <c:pt idx="1">
                  <c:v>Délai</c:v>
                </c:pt>
                <c:pt idx="2">
                  <c:v>Qualité</c:v>
                </c:pt>
              </c:strCache>
            </c:strRef>
          </c:cat>
          <c:val>
            <c:numRef>
              <c:f>ANALYSE!$H$17:$H$19</c:f>
              <c:numCache>
                <c:formatCode>General</c:formatCode>
                <c:ptCount val="3"/>
                <c:pt idx="0">
                  <c:v>1702</c:v>
                </c:pt>
                <c:pt idx="1">
                  <c:v>1702</c:v>
                </c:pt>
                <c:pt idx="2">
                  <c:v>1702</c:v>
                </c:pt>
              </c:numCache>
            </c:numRef>
          </c:val>
          <c:extLst>
            <c:ext xmlns:c16="http://schemas.microsoft.com/office/drawing/2014/chart" uri="{C3380CC4-5D6E-409C-BE32-E72D297353CC}">
              <c16:uniqueId val="{00000001-6E82-4C59-AA53-A0FD6B314753}"/>
            </c:ext>
          </c:extLst>
        </c:ser>
        <c:dLbls>
          <c:showLegendKey val="0"/>
          <c:showVal val="0"/>
          <c:showCatName val="0"/>
          <c:showSerName val="0"/>
          <c:showPercent val="0"/>
          <c:showBubbleSize val="0"/>
        </c:dLbls>
        <c:axId val="162555392"/>
        <c:axId val="162836480"/>
      </c:radarChart>
      <c:catAx>
        <c:axId val="162555392"/>
        <c:scaling>
          <c:orientation val="minMax"/>
        </c:scaling>
        <c:delete val="0"/>
        <c:axPos val="b"/>
        <c:numFmt formatCode="General" sourceLinked="1"/>
        <c:majorTickMark val="none"/>
        <c:minorTickMark val="none"/>
        <c:tickLblPos val="nextTo"/>
        <c:txPr>
          <a:bodyPr rot="-60000000" vert="horz"/>
          <a:lstStyle/>
          <a:p>
            <a:pPr>
              <a:defRPr/>
            </a:pPr>
            <a:endParaRPr lang="fr-FR"/>
          </a:p>
        </c:txPr>
        <c:crossAx val="162836480"/>
        <c:crosses val="autoZero"/>
        <c:auto val="1"/>
        <c:lblAlgn val="ctr"/>
        <c:lblOffset val="100"/>
        <c:noMultiLvlLbl val="0"/>
      </c:catAx>
      <c:valAx>
        <c:axId val="162836480"/>
        <c:scaling>
          <c:orientation val="minMax"/>
        </c:scaling>
        <c:delete val="1"/>
        <c:axPos val="l"/>
        <c:majorGridlines/>
        <c:numFmt formatCode="General" sourceLinked="1"/>
        <c:majorTickMark val="none"/>
        <c:minorTickMark val="none"/>
        <c:tickLblPos val="nextTo"/>
        <c:crossAx val="162555392"/>
        <c:crosses val="autoZero"/>
        <c:crossBetween val="between"/>
      </c:valAx>
    </c:plotArea>
    <c:legend>
      <c:legendPos val="t"/>
      <c:overlay val="0"/>
      <c:txPr>
        <a:bodyPr rot="0" vert="horz"/>
        <a:lstStyle/>
        <a:p>
          <a:pPr>
            <a:defRPr/>
          </a:pPr>
          <a:endParaRPr lang="fr-FR"/>
        </a:p>
      </c:txPr>
    </c:legend>
    <c:plotVisOnly val="1"/>
    <c:dispBlanksAs val="gap"/>
    <c:showDLblsOverMax val="0"/>
  </c:chart>
  <c:txPr>
    <a:bodyPr/>
    <a:lstStyle/>
    <a:p>
      <a:pPr>
        <a:defRPr sz="1800"/>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rot="0" vert="horz"/>
          <a:lstStyle/>
          <a:p>
            <a:pPr>
              <a:defRPr/>
            </a:pPr>
            <a:r>
              <a:rPr lang="fr-FR"/>
              <a:t>Situation Global</a:t>
            </a:r>
          </a:p>
        </c:rich>
      </c:tx>
      <c:overlay val="0"/>
    </c:title>
    <c:autoTitleDeleted val="0"/>
    <c:plotArea>
      <c:layout/>
      <c:radarChart>
        <c:radarStyle val="marker"/>
        <c:varyColors val="0"/>
        <c:ser>
          <c:idx val="0"/>
          <c:order val="0"/>
          <c:tx>
            <c:strRef>
              <c:f>ANALYSE!$G$16</c:f>
              <c:strCache>
                <c:ptCount val="1"/>
                <c:pt idx="0">
                  <c:v>SA</c:v>
                </c:pt>
              </c:strCache>
            </c:strRef>
          </c:tx>
          <c:marker>
            <c:symbol val="none"/>
          </c:marker>
          <c:cat>
            <c:strRef>
              <c:f>ANALYSE!$F$17:$F$21</c:f>
              <c:strCache>
                <c:ptCount val="5"/>
                <c:pt idx="0">
                  <c:v>Quantité</c:v>
                </c:pt>
                <c:pt idx="1">
                  <c:v>Délai</c:v>
                </c:pt>
                <c:pt idx="2">
                  <c:v>Qualité</c:v>
                </c:pt>
                <c:pt idx="3">
                  <c:v>RSE</c:v>
                </c:pt>
                <c:pt idx="4">
                  <c:v>GRF</c:v>
                </c:pt>
              </c:strCache>
            </c:strRef>
          </c:cat>
          <c:val>
            <c:numRef>
              <c:f>ANALYSE!$G$17:$G$21</c:f>
              <c:numCache>
                <c:formatCode>General</c:formatCode>
                <c:ptCount val="5"/>
                <c:pt idx="0">
                  <c:v>1555</c:v>
                </c:pt>
                <c:pt idx="1">
                  <c:v>502</c:v>
                </c:pt>
                <c:pt idx="2">
                  <c:v>1652</c:v>
                </c:pt>
                <c:pt idx="3">
                  <c:v>1200</c:v>
                </c:pt>
                <c:pt idx="4">
                  <c:v>720</c:v>
                </c:pt>
              </c:numCache>
            </c:numRef>
          </c:val>
          <c:extLst>
            <c:ext xmlns:c16="http://schemas.microsoft.com/office/drawing/2014/chart" uri="{C3380CC4-5D6E-409C-BE32-E72D297353CC}">
              <c16:uniqueId val="{00000000-D169-42BE-A17F-2076AF975C83}"/>
            </c:ext>
          </c:extLst>
        </c:ser>
        <c:ser>
          <c:idx val="1"/>
          <c:order val="1"/>
          <c:tx>
            <c:strRef>
              <c:f>ANALYSE!$H$16</c:f>
              <c:strCache>
                <c:ptCount val="1"/>
                <c:pt idx="0">
                  <c:v>SS</c:v>
                </c:pt>
              </c:strCache>
            </c:strRef>
          </c:tx>
          <c:marker>
            <c:symbol val="none"/>
          </c:marker>
          <c:cat>
            <c:strRef>
              <c:f>ANALYSE!$F$17:$F$21</c:f>
              <c:strCache>
                <c:ptCount val="5"/>
                <c:pt idx="0">
                  <c:v>Quantité</c:v>
                </c:pt>
                <c:pt idx="1">
                  <c:v>Délai</c:v>
                </c:pt>
                <c:pt idx="2">
                  <c:v>Qualité</c:v>
                </c:pt>
                <c:pt idx="3">
                  <c:v>RSE</c:v>
                </c:pt>
                <c:pt idx="4">
                  <c:v>GRF</c:v>
                </c:pt>
              </c:strCache>
            </c:strRef>
          </c:cat>
          <c:val>
            <c:numRef>
              <c:f>ANALYSE!$H$17:$H$21</c:f>
              <c:numCache>
                <c:formatCode>General</c:formatCode>
                <c:ptCount val="5"/>
                <c:pt idx="0">
                  <c:v>1702</c:v>
                </c:pt>
                <c:pt idx="1">
                  <c:v>1702</c:v>
                </c:pt>
                <c:pt idx="2">
                  <c:v>1702</c:v>
                </c:pt>
                <c:pt idx="3">
                  <c:v>1702</c:v>
                </c:pt>
                <c:pt idx="4">
                  <c:v>1702</c:v>
                </c:pt>
              </c:numCache>
            </c:numRef>
          </c:val>
          <c:extLst>
            <c:ext xmlns:c16="http://schemas.microsoft.com/office/drawing/2014/chart" uri="{C3380CC4-5D6E-409C-BE32-E72D297353CC}">
              <c16:uniqueId val="{00000001-D169-42BE-A17F-2076AF975C83}"/>
            </c:ext>
          </c:extLst>
        </c:ser>
        <c:dLbls>
          <c:showLegendKey val="0"/>
          <c:showVal val="0"/>
          <c:showCatName val="0"/>
          <c:showSerName val="0"/>
          <c:showPercent val="0"/>
          <c:showBubbleSize val="0"/>
        </c:dLbls>
        <c:axId val="255339520"/>
        <c:axId val="345132032"/>
      </c:radarChart>
      <c:catAx>
        <c:axId val="255339520"/>
        <c:scaling>
          <c:orientation val="minMax"/>
        </c:scaling>
        <c:delete val="0"/>
        <c:axPos val="b"/>
        <c:numFmt formatCode="General" sourceLinked="1"/>
        <c:majorTickMark val="none"/>
        <c:minorTickMark val="none"/>
        <c:tickLblPos val="nextTo"/>
        <c:txPr>
          <a:bodyPr rot="-60000000" vert="horz"/>
          <a:lstStyle/>
          <a:p>
            <a:pPr>
              <a:defRPr/>
            </a:pPr>
            <a:endParaRPr lang="fr-FR"/>
          </a:p>
        </c:txPr>
        <c:crossAx val="345132032"/>
        <c:crosses val="autoZero"/>
        <c:auto val="1"/>
        <c:lblAlgn val="ctr"/>
        <c:lblOffset val="100"/>
        <c:noMultiLvlLbl val="0"/>
      </c:catAx>
      <c:valAx>
        <c:axId val="345132032"/>
        <c:scaling>
          <c:orientation val="minMax"/>
        </c:scaling>
        <c:delete val="1"/>
        <c:axPos val="l"/>
        <c:majorGridlines/>
        <c:numFmt formatCode="General" sourceLinked="1"/>
        <c:majorTickMark val="none"/>
        <c:minorTickMark val="none"/>
        <c:tickLblPos val="nextTo"/>
        <c:crossAx val="255339520"/>
        <c:crosses val="autoZero"/>
        <c:crossBetween val="between"/>
      </c:valAx>
    </c:plotArea>
    <c:legend>
      <c:legendPos val="b"/>
      <c:overlay val="0"/>
      <c:txPr>
        <a:bodyPr rot="0" vert="horz"/>
        <a:lstStyle/>
        <a:p>
          <a:pPr>
            <a:defRPr/>
          </a:pPr>
          <a:endParaRPr lang="fr-FR"/>
        </a:p>
      </c:txPr>
    </c:legend>
    <c:plotVisOnly val="1"/>
    <c:dispBlanksAs val="gap"/>
    <c:showDLblsOverMax val="0"/>
  </c:chart>
  <c:txPr>
    <a:bodyPr/>
    <a:lstStyle/>
    <a:p>
      <a:pPr>
        <a:defRPr sz="1800"/>
      </a:pPr>
      <a:endParaRPr lang="fr-F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dirty="0"/>
              <a:t>la</a:t>
            </a:r>
            <a:r>
              <a:rPr lang="en-US" sz="1200" baseline="0" dirty="0"/>
              <a:t> </a:t>
            </a:r>
            <a:r>
              <a:rPr lang="en-US" sz="1200" baseline="0" dirty="0" err="1"/>
              <a:t>répartition</a:t>
            </a:r>
            <a:r>
              <a:rPr lang="en-US" sz="1200" baseline="0" dirty="0"/>
              <a:t> des non </a:t>
            </a:r>
            <a:r>
              <a:rPr lang="en-US" sz="1200" baseline="0" dirty="0" err="1"/>
              <a:t>conformité</a:t>
            </a:r>
            <a:r>
              <a:rPr lang="en-US" sz="1200" baseline="0" dirty="0"/>
              <a:t> par </a:t>
            </a:r>
            <a:r>
              <a:rPr lang="en-US" sz="1200" baseline="0" dirty="0" err="1"/>
              <a:t>fournisseurs</a:t>
            </a:r>
            <a:r>
              <a:rPr lang="en-US" sz="1200" baseline="0" dirty="0"/>
              <a:t> </a:t>
            </a:r>
          </a:p>
          <a:p>
            <a:pPr>
              <a:defRPr/>
            </a:pPr>
            <a:r>
              <a:rPr lang="en-US" sz="1200" baseline="0" dirty="0"/>
              <a:t>"</a:t>
            </a:r>
            <a:r>
              <a:rPr lang="en-US" sz="1200" baseline="0" dirty="0" err="1"/>
              <a:t>Quantité</a:t>
            </a:r>
            <a:r>
              <a:rPr lang="en-US" sz="1200" baseline="0" dirty="0"/>
              <a:t>"</a:t>
            </a:r>
            <a:endParaRPr lang="en-US" sz="1200" dirty="0"/>
          </a:p>
        </c:rich>
      </c:tx>
      <c:overlay val="0"/>
    </c:title>
    <c:autoTitleDeleted val="0"/>
    <c:plotArea>
      <c:layout>
        <c:manualLayout>
          <c:layoutTarget val="inner"/>
          <c:xMode val="edge"/>
          <c:yMode val="edge"/>
          <c:x val="9.6649050090458155E-2"/>
          <c:y val="0.29932420609585964"/>
          <c:w val="0.46923084840639262"/>
          <c:h val="0.70067579390414036"/>
        </c:manualLayout>
      </c:layout>
      <c:doughnutChart>
        <c:varyColors val="1"/>
        <c:ser>
          <c:idx val="0"/>
          <c:order val="0"/>
          <c:tx>
            <c:strRef>
              <c:f>'quantité repartistion '!$C$3</c:f>
              <c:strCache>
                <c:ptCount val="1"/>
                <c:pt idx="0">
                  <c:v>Nombre de la note 1</c:v>
                </c:pt>
              </c:strCache>
            </c:strRef>
          </c:tx>
          <c:dLbls>
            <c:dLbl>
              <c:idx val="0"/>
              <c:tx>
                <c:rich>
                  <a:bodyPr/>
                  <a:lstStyle/>
                  <a:p>
                    <a:r>
                      <a:rPr lang="fr-FR" sz="1600" b="1" dirty="0">
                        <a:solidFill>
                          <a:schemeClr val="bg1"/>
                        </a:solidFill>
                      </a:rPr>
                      <a:t>26%</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DEA9-46F3-9AA4-0E8DDB7C6ED2}"/>
                </c:ext>
              </c:extLst>
            </c:dLbl>
            <c:dLbl>
              <c:idx val="1"/>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1-DEA9-46F3-9AA4-0E8DDB7C6ED2}"/>
                </c:ext>
              </c:extLst>
            </c:dLbl>
            <c:dLbl>
              <c:idx val="2"/>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2-DEA9-46F3-9AA4-0E8DDB7C6ED2}"/>
                </c:ext>
              </c:extLst>
            </c:dLbl>
            <c:dLbl>
              <c:idx val="3"/>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3-DEA9-46F3-9AA4-0E8DDB7C6ED2}"/>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quantité repartistion '!$B$4:$B$19</c:f>
              <c:strCache>
                <c:ptCount val="16"/>
                <c:pt idx="0">
                  <c:v>100739508  Compagnie Marocaine de Carton et</c:v>
                </c:pt>
                <c:pt idx="1">
                  <c:v>100575210  Litho Typo Marocaine S.a r.l.</c:v>
                </c:pt>
                <c:pt idx="2">
                  <c:v>100835466  Constantia Tobepal S.L.</c:v>
                </c:pt>
                <c:pt idx="3">
                  <c:v>100739522  Sevam S.A.</c:v>
                </c:pt>
                <c:pt idx="4">
                  <c:v>100739509  CROWN Packaging Maroc S.A.</c:v>
                </c:pt>
                <c:pt idx="5">
                  <c:v>100739620  Manupack</c:v>
                </c:pt>
                <c:pt idx="6">
                  <c:v>100717404  Positive Packaging United (M.E)FZCO</c:v>
                </c:pt>
                <c:pt idx="7">
                  <c:v>100890234  Synthechim S.A.R.L.</c:v>
                </c:pt>
                <c:pt idx="8">
                  <c:v>100004108  Naturex AG</c:v>
                </c:pt>
                <c:pt idx="9">
                  <c:v>100739511  Cincib S.A.R.L.</c:v>
                </c:pt>
                <c:pt idx="10">
                  <c:v>100739512  Fleximat S.A.</c:v>
                </c:pt>
                <c:pt idx="11">
                  <c:v>100058441  Ardagh Metal Packaging Hjoerring</c:v>
                </c:pt>
                <c:pt idx="12">
                  <c:v>100739525  Les Moulins Lahlal S.A.</c:v>
                </c:pt>
                <c:pt idx="13">
                  <c:v>100740333  Centre De Collecte</c:v>
                </c:pt>
                <c:pt idx="14">
                  <c:v>100762059  Colin Ingredients</c:v>
                </c:pt>
                <c:pt idx="15">
                  <c:v>100810383  Norevo GmbH</c:v>
                </c:pt>
              </c:strCache>
            </c:strRef>
          </c:cat>
          <c:val>
            <c:numRef>
              <c:f>'quantité repartistion '!$C$4:$C$19</c:f>
              <c:numCache>
                <c:formatCode>General</c:formatCode>
                <c:ptCount val="16"/>
                <c:pt idx="0">
                  <c:v>27</c:v>
                </c:pt>
                <c:pt idx="1">
                  <c:v>13</c:v>
                </c:pt>
                <c:pt idx="2">
                  <c:v>9</c:v>
                </c:pt>
                <c:pt idx="3">
                  <c:v>7</c:v>
                </c:pt>
                <c:pt idx="4">
                  <c:v>6</c:v>
                </c:pt>
                <c:pt idx="5">
                  <c:v>6</c:v>
                </c:pt>
                <c:pt idx="6">
                  <c:v>5</c:v>
                </c:pt>
                <c:pt idx="7">
                  <c:v>5</c:v>
                </c:pt>
                <c:pt idx="8">
                  <c:v>4</c:v>
                </c:pt>
                <c:pt idx="9">
                  <c:v>4</c:v>
                </c:pt>
                <c:pt idx="10">
                  <c:v>4</c:v>
                </c:pt>
                <c:pt idx="11">
                  <c:v>3</c:v>
                </c:pt>
                <c:pt idx="12">
                  <c:v>3</c:v>
                </c:pt>
                <c:pt idx="13">
                  <c:v>3</c:v>
                </c:pt>
                <c:pt idx="14">
                  <c:v>3</c:v>
                </c:pt>
                <c:pt idx="15">
                  <c:v>3</c:v>
                </c:pt>
              </c:numCache>
            </c:numRef>
          </c:val>
          <c:extLst>
            <c:ext xmlns:c16="http://schemas.microsoft.com/office/drawing/2014/chart" uri="{C3380CC4-5D6E-409C-BE32-E72D297353CC}">
              <c16:uniqueId val="{00000004-DEA9-46F3-9AA4-0E8DDB7C6ED2}"/>
            </c:ext>
          </c:extLst>
        </c:ser>
        <c:dLbls>
          <c:showLegendKey val="0"/>
          <c:showVal val="0"/>
          <c:showCatName val="0"/>
          <c:showSerName val="0"/>
          <c:showPercent val="1"/>
          <c:showBubbleSize val="0"/>
          <c:showLeaderLines val="1"/>
        </c:dLbls>
        <c:firstSliceAng val="0"/>
        <c:holeSize val="50"/>
      </c:doughnutChart>
    </c:plotArea>
    <c:legend>
      <c:legendPos val="r"/>
      <c:legendEntry>
        <c:idx val="0"/>
        <c:txPr>
          <a:bodyPr/>
          <a:lstStyle/>
          <a:p>
            <a:pPr>
              <a:defRPr sz="1200">
                <a:solidFill>
                  <a:schemeClr val="tx1"/>
                </a:solidFill>
              </a:defRPr>
            </a:pPr>
            <a:endParaRPr lang="fr-FR"/>
          </a:p>
        </c:txPr>
      </c:legendEntry>
      <c:overlay val="0"/>
    </c:legend>
    <c:plotVisOnly val="1"/>
    <c:dispBlanksAs val="gap"/>
    <c:showDLblsOverMax val="0"/>
  </c:chart>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000" b="0" i="0" baseline="0" dirty="0">
                <a:effectLst/>
              </a:rPr>
              <a:t>la </a:t>
            </a:r>
            <a:r>
              <a:rPr lang="en-US" sz="1000" b="0" i="0" baseline="0" dirty="0" err="1">
                <a:effectLst/>
              </a:rPr>
              <a:t>répartition</a:t>
            </a:r>
            <a:r>
              <a:rPr lang="en-US" sz="1000" b="0" i="0" baseline="0" dirty="0">
                <a:effectLst/>
              </a:rPr>
              <a:t> des non </a:t>
            </a:r>
            <a:r>
              <a:rPr lang="en-US" sz="1000" b="0" i="0" baseline="0" dirty="0" err="1">
                <a:effectLst/>
              </a:rPr>
              <a:t>conformité</a:t>
            </a:r>
            <a:r>
              <a:rPr lang="en-US" sz="1000" b="0" i="0" baseline="0" dirty="0">
                <a:effectLst/>
              </a:rPr>
              <a:t> par </a:t>
            </a:r>
            <a:r>
              <a:rPr lang="en-US" sz="1000" b="0" i="0" baseline="0" dirty="0" err="1">
                <a:effectLst/>
              </a:rPr>
              <a:t>fournisseurs</a:t>
            </a:r>
            <a:r>
              <a:rPr lang="en-US" sz="1000" b="0" i="0" baseline="0" dirty="0">
                <a:effectLst/>
              </a:rPr>
              <a:t> </a:t>
            </a:r>
            <a:endParaRPr lang="fr-FR" sz="1000" b="0" dirty="0">
              <a:effectLst/>
            </a:endParaRPr>
          </a:p>
          <a:p>
            <a:pPr>
              <a:defRPr/>
            </a:pPr>
            <a:r>
              <a:rPr lang="en-US" sz="1600" b="1" i="0" baseline="0" dirty="0">
                <a:effectLst/>
              </a:rPr>
              <a:t>"</a:t>
            </a:r>
            <a:r>
              <a:rPr lang="en-US" sz="1600" b="1" i="0" baseline="0" dirty="0" err="1">
                <a:effectLst/>
              </a:rPr>
              <a:t>Délai</a:t>
            </a:r>
            <a:r>
              <a:rPr lang="en-US" sz="1600" b="1" i="0" baseline="0" dirty="0">
                <a:effectLst/>
              </a:rPr>
              <a:t> "</a:t>
            </a:r>
            <a:endParaRPr lang="fr-FR" sz="1600" b="1" dirty="0">
              <a:effectLst/>
            </a:endParaRPr>
          </a:p>
        </c:rich>
      </c:tx>
      <c:overlay val="0"/>
    </c:title>
    <c:autoTitleDeleted val="0"/>
    <c:plotArea>
      <c:layout/>
      <c:doughnutChart>
        <c:varyColors val="1"/>
        <c:ser>
          <c:idx val="0"/>
          <c:order val="0"/>
          <c:tx>
            <c:strRef>
              <c:f>'délai répartition'!$C$3</c:f>
              <c:strCache>
                <c:ptCount val="1"/>
                <c:pt idx="0">
                  <c:v>Nombre de la note 2</c:v>
                </c:pt>
              </c:strCache>
            </c:strRef>
          </c:tx>
          <c:explosion val="25"/>
          <c:dLbls>
            <c:dLbl>
              <c:idx val="0"/>
              <c:tx>
                <c:rich>
                  <a:bodyPr/>
                  <a:lstStyle/>
                  <a:p>
                    <a:r>
                      <a:rPr lang="fr-FR" sz="1200" b="1" dirty="0">
                        <a:solidFill>
                          <a:schemeClr val="bg1"/>
                        </a:solidFill>
                      </a:rPr>
                      <a:t>33%</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F3F4-481C-867D-34055303678B}"/>
                </c:ext>
              </c:extLst>
            </c:dLbl>
            <c:dLbl>
              <c:idx val="1"/>
              <c:tx>
                <c:rich>
                  <a:bodyPr/>
                  <a:lstStyle/>
                  <a:p>
                    <a:r>
                      <a:rPr lang="fr-FR" dirty="0">
                        <a:solidFill>
                          <a:schemeClr val="bg1"/>
                        </a:solidFill>
                      </a:rPr>
                      <a:t>14%</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3F4-481C-867D-34055303678B}"/>
                </c:ext>
              </c:extLst>
            </c:dLbl>
            <c:dLbl>
              <c:idx val="2"/>
              <c:tx>
                <c:rich>
                  <a:bodyPr/>
                  <a:lstStyle/>
                  <a:p>
                    <a:r>
                      <a:rPr lang="fr-FR" dirty="0">
                        <a:solidFill>
                          <a:schemeClr val="bg1"/>
                        </a:solidFill>
                      </a:rPr>
                      <a:t>12%</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F3F4-481C-867D-34055303678B}"/>
                </c:ext>
              </c:extLst>
            </c:dLbl>
            <c:dLbl>
              <c:idx val="3"/>
              <c:tx>
                <c:rich>
                  <a:bodyPr/>
                  <a:lstStyle/>
                  <a:p>
                    <a:r>
                      <a:rPr lang="fr-FR" dirty="0">
                        <a:solidFill>
                          <a:schemeClr val="bg1"/>
                        </a:solidFill>
                      </a:rPr>
                      <a:t>8%</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3F4-481C-867D-34055303678B}"/>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délai répartition'!$B$4:$B$18</c:f>
              <c:strCache>
                <c:ptCount val="15"/>
                <c:pt idx="0">
                  <c:v>100739508  Compagnie Marocaine de Carton et</c:v>
                </c:pt>
                <c:pt idx="1">
                  <c:v>100575210  Litho Typo Marocaine S.a r.l.</c:v>
                </c:pt>
                <c:pt idx="2">
                  <c:v>100739522  Sevam S.A.</c:v>
                </c:pt>
                <c:pt idx="3">
                  <c:v>100739512  Fleximat S.A.</c:v>
                </c:pt>
                <c:pt idx="4">
                  <c:v>100739509  CROWN Packaging Maroc S.A.</c:v>
                </c:pt>
                <c:pt idx="5">
                  <c:v>100739511  Cincib S.A.R.L.</c:v>
                </c:pt>
                <c:pt idx="6">
                  <c:v>100136931  ICONA</c:v>
                </c:pt>
                <c:pt idx="7">
                  <c:v>100739525  Les Moulins Lahlal S.A.</c:v>
                </c:pt>
                <c:pt idx="8">
                  <c:v>100739606  Air Liquide</c:v>
                </c:pt>
                <c:pt idx="9">
                  <c:v>100488584  United Caps Llagostera, S.A.U.</c:v>
                </c:pt>
                <c:pt idx="10">
                  <c:v>100762059  Colin Ingredients</c:v>
                </c:pt>
                <c:pt idx="11">
                  <c:v>100717404  Positive Packaging United (M.E)FZCO</c:v>
                </c:pt>
                <c:pt idx="12">
                  <c:v>100739620  Manupack</c:v>
                </c:pt>
                <c:pt idx="13">
                  <c:v>100004108  Naturex AG</c:v>
                </c:pt>
                <c:pt idx="14">
                  <c:v>100008544  VOLCAFE Ltd</c:v>
                </c:pt>
              </c:strCache>
            </c:strRef>
          </c:cat>
          <c:val>
            <c:numRef>
              <c:f>'délai répartition'!$C$4:$C$18</c:f>
              <c:numCache>
                <c:formatCode>General</c:formatCode>
                <c:ptCount val="15"/>
                <c:pt idx="0">
                  <c:v>313</c:v>
                </c:pt>
                <c:pt idx="1">
                  <c:v>132</c:v>
                </c:pt>
                <c:pt idx="2">
                  <c:v>112</c:v>
                </c:pt>
                <c:pt idx="3">
                  <c:v>81</c:v>
                </c:pt>
                <c:pt idx="4">
                  <c:v>77</c:v>
                </c:pt>
                <c:pt idx="5">
                  <c:v>61</c:v>
                </c:pt>
                <c:pt idx="6">
                  <c:v>29</c:v>
                </c:pt>
                <c:pt idx="7">
                  <c:v>27</c:v>
                </c:pt>
                <c:pt idx="8">
                  <c:v>26</c:v>
                </c:pt>
                <c:pt idx="9">
                  <c:v>20</c:v>
                </c:pt>
                <c:pt idx="10">
                  <c:v>19</c:v>
                </c:pt>
                <c:pt idx="11">
                  <c:v>17</c:v>
                </c:pt>
                <c:pt idx="12">
                  <c:v>15</c:v>
                </c:pt>
                <c:pt idx="13">
                  <c:v>14</c:v>
                </c:pt>
                <c:pt idx="14">
                  <c:v>14</c:v>
                </c:pt>
              </c:numCache>
            </c:numRef>
          </c:val>
          <c:extLst>
            <c:ext xmlns:c16="http://schemas.microsoft.com/office/drawing/2014/chart" uri="{C3380CC4-5D6E-409C-BE32-E72D297353CC}">
              <c16:uniqueId val="{00000004-F3F4-481C-867D-34055303678B}"/>
            </c:ext>
          </c:extLst>
        </c:ser>
        <c:dLbls>
          <c:showLegendKey val="0"/>
          <c:showVal val="0"/>
          <c:showCatName val="0"/>
          <c:showSerName val="0"/>
          <c:showPercent val="1"/>
          <c:showBubbleSize val="0"/>
          <c:showLeaderLines val="1"/>
        </c:dLbls>
        <c:firstSliceAng val="0"/>
        <c:holeSize val="50"/>
      </c:doughnutChart>
    </c:plotArea>
    <c:legend>
      <c:legendPos val="r"/>
      <c:legendEntry>
        <c:idx val="0"/>
        <c:txPr>
          <a:bodyPr/>
          <a:lstStyle/>
          <a:p>
            <a:pPr>
              <a:defRPr sz="1200">
                <a:solidFill>
                  <a:schemeClr val="tx1"/>
                </a:solidFill>
              </a:defRPr>
            </a:pPr>
            <a:endParaRPr lang="fr-FR"/>
          </a:p>
        </c:txPr>
      </c:legendEntry>
      <c:overlay val="0"/>
    </c:legend>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Total de niveau de service 3'!$A$7</c:f>
              <c:strCache>
                <c:ptCount val="1"/>
                <c:pt idx="0">
                  <c:v>Total</c:v>
                </c:pt>
              </c:strCache>
            </c:strRef>
          </c:tx>
          <c:invertIfNegative val="0"/>
          <c:dLbls>
            <c:dLbl>
              <c:idx val="0"/>
              <c:layout>
                <c:manualLayout>
                  <c:x val="-5.0505050505050509E-3"/>
                  <c:y val="-5.2559827080438472E-2"/>
                </c:manualLayout>
              </c:layout>
              <c:tx>
                <c:rich>
                  <a:bodyPr/>
                  <a:lstStyle/>
                  <a:p>
                    <a:r>
                      <a:rPr lang="en-US" dirty="0"/>
                      <a:t>9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40-42E0-81CD-75FA0DE3393A}"/>
                </c:ext>
              </c:extLst>
            </c:dLbl>
            <c:dLbl>
              <c:idx val="1"/>
              <c:layout>
                <c:manualLayout>
                  <c:x val="5.0505050505050509E-3"/>
                  <c:y val="-4.5479388605836037E-2"/>
                </c:manualLayout>
              </c:layout>
              <c:tx>
                <c:rich>
                  <a:bodyPr/>
                  <a:lstStyle/>
                  <a:p>
                    <a:r>
                      <a:rPr lang="en-US" dirty="0"/>
                      <a:t>9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640-42E0-81CD-75FA0DE3393A}"/>
                </c:ext>
              </c:extLst>
            </c:dLbl>
            <c:dLbl>
              <c:idx val="2"/>
              <c:layout>
                <c:manualLayout>
                  <c:x val="1.9444444444444445E-2"/>
                  <c:y val="-3.7037037037037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640-42E0-81CD-75FA0DE3393A}"/>
                </c:ext>
              </c:extLst>
            </c:dLbl>
            <c:dLbl>
              <c:idx val="3"/>
              <c:layout>
                <c:manualLayout>
                  <c:x val="0"/>
                  <c:y val="-3.24074074074074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640-42E0-81CD-75FA0DE3393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otal de niveau de service 3'!$B$6:$E$6</c:f>
              <c:strCache>
                <c:ptCount val="4"/>
                <c:pt idx="0">
                  <c:v>Qualité</c:v>
                </c:pt>
                <c:pt idx="1">
                  <c:v>Quantité </c:v>
                </c:pt>
                <c:pt idx="2">
                  <c:v>Délai</c:v>
                </c:pt>
                <c:pt idx="3">
                  <c:v>Réalisé</c:v>
                </c:pt>
              </c:strCache>
            </c:strRef>
          </c:cat>
          <c:val>
            <c:numRef>
              <c:f>'Total de niveau de service 3'!$B$7:$E$7</c:f>
              <c:numCache>
                <c:formatCode>0%</c:formatCode>
                <c:ptCount val="4"/>
                <c:pt idx="0">
                  <c:v>0.88</c:v>
                </c:pt>
                <c:pt idx="1">
                  <c:v>0.89</c:v>
                </c:pt>
                <c:pt idx="2">
                  <c:v>0.29377203290246767</c:v>
                </c:pt>
                <c:pt idx="3">
                  <c:v>0.68792401096748923</c:v>
                </c:pt>
              </c:numCache>
            </c:numRef>
          </c:val>
          <c:extLst>
            <c:ext xmlns:c16="http://schemas.microsoft.com/office/drawing/2014/chart" uri="{C3380CC4-5D6E-409C-BE32-E72D297353CC}">
              <c16:uniqueId val="{00000004-3640-42E0-81CD-75FA0DE3393A}"/>
            </c:ext>
          </c:extLst>
        </c:ser>
        <c:dLbls>
          <c:showLegendKey val="0"/>
          <c:showVal val="1"/>
          <c:showCatName val="0"/>
          <c:showSerName val="0"/>
          <c:showPercent val="0"/>
          <c:showBubbleSize val="0"/>
        </c:dLbls>
        <c:gapWidth val="75"/>
        <c:shape val="box"/>
        <c:axId val="412937216"/>
        <c:axId val="439831168"/>
        <c:axId val="0"/>
      </c:bar3DChart>
      <c:catAx>
        <c:axId val="412937216"/>
        <c:scaling>
          <c:orientation val="minMax"/>
        </c:scaling>
        <c:delete val="0"/>
        <c:axPos val="b"/>
        <c:numFmt formatCode="General" sourceLinked="0"/>
        <c:majorTickMark val="none"/>
        <c:minorTickMark val="none"/>
        <c:tickLblPos val="nextTo"/>
        <c:crossAx val="439831168"/>
        <c:crosses val="autoZero"/>
        <c:auto val="1"/>
        <c:lblAlgn val="ctr"/>
        <c:lblOffset val="100"/>
        <c:noMultiLvlLbl val="0"/>
      </c:catAx>
      <c:valAx>
        <c:axId val="439831168"/>
        <c:scaling>
          <c:orientation val="minMax"/>
        </c:scaling>
        <c:delete val="0"/>
        <c:axPos val="l"/>
        <c:numFmt formatCode="0%" sourceLinked="1"/>
        <c:majorTickMark val="none"/>
        <c:minorTickMark val="none"/>
        <c:tickLblPos val="nextTo"/>
        <c:crossAx val="412937216"/>
        <c:crosses val="autoZero"/>
        <c:crossBetween val="between"/>
      </c:valAx>
    </c:plotArea>
    <c:plotVisOnly val="1"/>
    <c:dispBlanksAs val="gap"/>
    <c:showDLblsOverMax val="0"/>
  </c:chart>
  <c:txPr>
    <a:bodyPr/>
    <a:lstStyle/>
    <a:p>
      <a:pPr>
        <a:defRPr sz="1800">
          <a:latin typeface="Aldhabi" panose="01000000000000000000" pitchFamily="2" charset="-78"/>
          <a:cs typeface="Aldhabi" panose="01000000000000000000" pitchFamily="2" charset="-78"/>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pivotSource>
    <c:name>[Tableau_de_bord -fatina EL KTAM.xlsb]repré,moy niv de service!Tableau croisé dynamique4</c:name>
    <c:fmtId val="4"/>
  </c:pivotSource>
  <c:chart>
    <c:title>
      <c:tx>
        <c:rich>
          <a:bodyPr/>
          <a:lstStyle/>
          <a:p>
            <a:pPr>
              <a:defRPr sz="1800" b="1" i="0" u="none" strike="noStrike" baseline="0">
                <a:solidFill>
                  <a:srgbClr val="000000"/>
                </a:solidFill>
                <a:latin typeface="Calibri"/>
                <a:ea typeface="Calibri"/>
                <a:cs typeface="Calibri"/>
              </a:defRPr>
            </a:pPr>
            <a:r>
              <a:rPr lang="fr-FR"/>
              <a:t>le niveau de service </a:t>
            </a:r>
          </a:p>
        </c:rich>
      </c:tx>
      <c:overlay val="0"/>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s>
    <c:plotArea>
      <c:layout/>
      <c:lineChart>
        <c:grouping val="standard"/>
        <c:varyColors val="0"/>
        <c:ser>
          <c:idx val="0"/>
          <c:order val="0"/>
          <c:tx>
            <c:strRef>
              <c:f>'repré,moy niv de service'!$C$3:$C$4</c:f>
              <c:strCache>
                <c:ptCount val="1"/>
                <c:pt idx="0">
                  <c:v>Moyenne de réalisé</c:v>
                </c:pt>
              </c:strCache>
            </c:strRef>
          </c:tx>
          <c:marker>
            <c:symbol val="none"/>
          </c:marker>
          <c:cat>
            <c:multiLvlStrRef>
              <c:f>'repré,moy niv de service'!$A$5:$B$20</c:f>
              <c:multiLvlStrCache>
                <c:ptCount val="14"/>
                <c:lvl>
                  <c:pt idx="0">
                    <c:v>16/01/2017</c:v>
                  </c:pt>
                  <c:pt idx="1">
                    <c:v>18/01/2017</c:v>
                  </c:pt>
                  <c:pt idx="2">
                    <c:v>20/01/2017</c:v>
                  </c:pt>
                  <c:pt idx="3">
                    <c:v>25/01/2017</c:v>
                  </c:pt>
                  <c:pt idx="4">
                    <c:v>26/01/2017</c:v>
                  </c:pt>
                  <c:pt idx="5">
                    <c:v>27/01/2017</c:v>
                  </c:pt>
                  <c:pt idx="6">
                    <c:v>31/01/2017</c:v>
                  </c:pt>
                  <c:pt idx="7">
                    <c:v>03/01/2018</c:v>
                  </c:pt>
                  <c:pt idx="8">
                    <c:v>04/01/2018</c:v>
                  </c:pt>
                  <c:pt idx="9">
                    <c:v>05/01/2018</c:v>
                  </c:pt>
                  <c:pt idx="10">
                    <c:v>08/01/2018</c:v>
                  </c:pt>
                  <c:pt idx="11">
                    <c:v>10/01/2018</c:v>
                  </c:pt>
                  <c:pt idx="12">
                    <c:v>17/01/2018</c:v>
                  </c:pt>
                  <c:pt idx="13">
                    <c:v>19/01/2018</c:v>
                  </c:pt>
                </c:lvl>
                <c:lvl>
                  <c:pt idx="0">
                    <c:v>100575210  Litho Typo Marocaine S.a r.l.</c:v>
                  </c:pt>
                </c:lvl>
              </c:multiLvlStrCache>
            </c:multiLvlStrRef>
          </c:cat>
          <c:val>
            <c:numRef>
              <c:f>'repré,moy niv de service'!$C$5:$C$20</c:f>
              <c:numCache>
                <c:formatCode>General</c:formatCode>
                <c:ptCount val="14"/>
                <c:pt idx="0">
                  <c:v>0.66666666666666663</c:v>
                </c:pt>
                <c:pt idx="1">
                  <c:v>0.5</c:v>
                </c:pt>
                <c:pt idx="2">
                  <c:v>1</c:v>
                </c:pt>
                <c:pt idx="3">
                  <c:v>0.66666666666666663</c:v>
                </c:pt>
                <c:pt idx="4">
                  <c:v>0.66666666666666663</c:v>
                </c:pt>
                <c:pt idx="5">
                  <c:v>0.66666666666666663</c:v>
                </c:pt>
                <c:pt idx="6">
                  <c:v>1</c:v>
                </c:pt>
                <c:pt idx="7">
                  <c:v>0.66666666666666663</c:v>
                </c:pt>
                <c:pt idx="8">
                  <c:v>0.5</c:v>
                </c:pt>
                <c:pt idx="9">
                  <c:v>0.66666666666666663</c:v>
                </c:pt>
                <c:pt idx="10">
                  <c:v>0.66666666666666663</c:v>
                </c:pt>
                <c:pt idx="11">
                  <c:v>0.77777777777777768</c:v>
                </c:pt>
                <c:pt idx="12">
                  <c:v>0.66666666666666663</c:v>
                </c:pt>
                <c:pt idx="13">
                  <c:v>0.66666666666666663</c:v>
                </c:pt>
              </c:numCache>
            </c:numRef>
          </c:val>
          <c:smooth val="0"/>
          <c:extLst>
            <c:ext xmlns:c16="http://schemas.microsoft.com/office/drawing/2014/chart" uri="{C3380CC4-5D6E-409C-BE32-E72D297353CC}">
              <c16:uniqueId val="{00000000-8A45-4805-AD03-1BDFC9613CA1}"/>
            </c:ext>
          </c:extLst>
        </c:ser>
        <c:ser>
          <c:idx val="1"/>
          <c:order val="1"/>
          <c:tx>
            <c:strRef>
              <c:f>'repré,moy niv de service'!$D$3:$D$4</c:f>
              <c:strCache>
                <c:ptCount val="1"/>
                <c:pt idx="0">
                  <c:v>Moyenne de objectif</c:v>
                </c:pt>
              </c:strCache>
            </c:strRef>
          </c:tx>
          <c:marker>
            <c:symbol val="none"/>
          </c:marker>
          <c:cat>
            <c:multiLvlStrRef>
              <c:f>'repré,moy niv de service'!$A$5:$B$20</c:f>
              <c:multiLvlStrCache>
                <c:ptCount val="14"/>
                <c:lvl>
                  <c:pt idx="0">
                    <c:v>16/01/2017</c:v>
                  </c:pt>
                  <c:pt idx="1">
                    <c:v>18/01/2017</c:v>
                  </c:pt>
                  <c:pt idx="2">
                    <c:v>20/01/2017</c:v>
                  </c:pt>
                  <c:pt idx="3">
                    <c:v>25/01/2017</c:v>
                  </c:pt>
                  <c:pt idx="4">
                    <c:v>26/01/2017</c:v>
                  </c:pt>
                  <c:pt idx="5">
                    <c:v>27/01/2017</c:v>
                  </c:pt>
                  <c:pt idx="6">
                    <c:v>31/01/2017</c:v>
                  </c:pt>
                  <c:pt idx="7">
                    <c:v>03/01/2018</c:v>
                  </c:pt>
                  <c:pt idx="8">
                    <c:v>04/01/2018</c:v>
                  </c:pt>
                  <c:pt idx="9">
                    <c:v>05/01/2018</c:v>
                  </c:pt>
                  <c:pt idx="10">
                    <c:v>08/01/2018</c:v>
                  </c:pt>
                  <c:pt idx="11">
                    <c:v>10/01/2018</c:v>
                  </c:pt>
                  <c:pt idx="12">
                    <c:v>17/01/2018</c:v>
                  </c:pt>
                  <c:pt idx="13">
                    <c:v>19/01/2018</c:v>
                  </c:pt>
                </c:lvl>
                <c:lvl>
                  <c:pt idx="0">
                    <c:v>100575210  Litho Typo Marocaine S.a r.l.</c:v>
                  </c:pt>
                </c:lvl>
              </c:multiLvlStrCache>
            </c:multiLvlStrRef>
          </c:cat>
          <c:val>
            <c:numRef>
              <c:f>'repré,moy niv de service'!$D$5:$D$20</c:f>
              <c:numCache>
                <c:formatCode>General</c:formatCode>
                <c:ptCount val="14"/>
                <c:pt idx="0">
                  <c:v>0.9</c:v>
                </c:pt>
                <c:pt idx="1">
                  <c:v>0.9</c:v>
                </c:pt>
                <c:pt idx="2">
                  <c:v>0.9</c:v>
                </c:pt>
                <c:pt idx="3">
                  <c:v>0.9</c:v>
                </c:pt>
                <c:pt idx="4">
                  <c:v>0.9</c:v>
                </c:pt>
                <c:pt idx="5">
                  <c:v>0.9</c:v>
                </c:pt>
                <c:pt idx="6">
                  <c:v>0.9</c:v>
                </c:pt>
                <c:pt idx="7">
                  <c:v>0.9</c:v>
                </c:pt>
                <c:pt idx="8">
                  <c:v>0.9</c:v>
                </c:pt>
                <c:pt idx="9">
                  <c:v>0.9</c:v>
                </c:pt>
                <c:pt idx="10">
                  <c:v>0.9</c:v>
                </c:pt>
                <c:pt idx="11">
                  <c:v>0.9</c:v>
                </c:pt>
                <c:pt idx="12">
                  <c:v>0.9</c:v>
                </c:pt>
                <c:pt idx="13">
                  <c:v>0.9</c:v>
                </c:pt>
              </c:numCache>
            </c:numRef>
          </c:val>
          <c:smooth val="0"/>
          <c:extLst>
            <c:ext xmlns:c16="http://schemas.microsoft.com/office/drawing/2014/chart" uri="{C3380CC4-5D6E-409C-BE32-E72D297353CC}">
              <c16:uniqueId val="{00000001-8A45-4805-AD03-1BDFC9613CA1}"/>
            </c:ext>
          </c:extLst>
        </c:ser>
        <c:dLbls>
          <c:showLegendKey val="0"/>
          <c:showVal val="0"/>
          <c:showCatName val="0"/>
          <c:showSerName val="0"/>
          <c:showPercent val="0"/>
          <c:showBubbleSize val="0"/>
        </c:dLbls>
        <c:smooth val="0"/>
        <c:axId val="446603264"/>
        <c:axId val="447030016"/>
      </c:lineChart>
      <c:catAx>
        <c:axId val="446603264"/>
        <c:scaling>
          <c:orientation val="minMax"/>
        </c:scaling>
        <c:delete val="0"/>
        <c:axPos val="b"/>
        <c:numFmt formatCode="General" sourceLinked="1"/>
        <c:majorTickMark val="none"/>
        <c:minorTickMark val="none"/>
        <c:tickLblPos val="nextTo"/>
        <c:txPr>
          <a:bodyPr rot="-5400000" vert="horz"/>
          <a:lstStyle/>
          <a:p>
            <a:pPr>
              <a:defRPr sz="1000" b="0" i="0" u="none" strike="noStrike" baseline="0">
                <a:solidFill>
                  <a:srgbClr val="000000"/>
                </a:solidFill>
                <a:latin typeface="Calibri"/>
                <a:ea typeface="Calibri"/>
                <a:cs typeface="Calibri"/>
              </a:defRPr>
            </a:pPr>
            <a:endParaRPr lang="fr-FR"/>
          </a:p>
        </c:txPr>
        <c:crossAx val="447030016"/>
        <c:crosses val="autoZero"/>
        <c:auto val="0"/>
        <c:lblAlgn val="ctr"/>
        <c:lblOffset val="100"/>
        <c:noMultiLvlLbl val="0"/>
      </c:catAx>
      <c:valAx>
        <c:axId val="447030016"/>
        <c:scaling>
          <c:orientation val="minMax"/>
        </c:scaling>
        <c:delete val="0"/>
        <c:axPos val="l"/>
        <c:majorGridlines/>
        <c:title>
          <c:tx>
            <c:rich>
              <a:bodyPr/>
              <a:lstStyle/>
              <a:p>
                <a:pPr>
                  <a:defRPr sz="1000" b="1" i="0" u="none" strike="noStrike" baseline="0">
                    <a:solidFill>
                      <a:srgbClr val="000000"/>
                    </a:solidFill>
                    <a:latin typeface="Calibri"/>
                    <a:ea typeface="Calibri"/>
                    <a:cs typeface="Calibri"/>
                  </a:defRPr>
                </a:pPr>
                <a:r>
                  <a:rPr lang="fr-FR"/>
                  <a:t>le niveau de service </a:t>
                </a:r>
              </a:p>
            </c:rich>
          </c:tx>
          <c:overlay val="0"/>
        </c:title>
        <c:numFmt formatCode="General" sourceLinked="1"/>
        <c:majorTickMark val="none"/>
        <c:minorTickMark val="none"/>
        <c:tickLblPos val="nextTo"/>
        <c:txPr>
          <a:bodyPr rot="0" vert="horz"/>
          <a:lstStyle/>
          <a:p>
            <a:pPr>
              <a:defRPr sz="1000" b="0" i="0" u="none" strike="noStrike" baseline="0">
                <a:solidFill>
                  <a:srgbClr val="000000"/>
                </a:solidFill>
                <a:latin typeface="Calibri"/>
                <a:ea typeface="Calibri"/>
                <a:cs typeface="Calibri"/>
              </a:defRPr>
            </a:pPr>
            <a:endParaRPr lang="fr-FR"/>
          </a:p>
        </c:txPr>
        <c:crossAx val="446603264"/>
        <c:crosses val="autoZero"/>
        <c:crossBetween val="between"/>
      </c:valAx>
    </c:plotArea>
    <c:legend>
      <c:legendPos val="r"/>
      <c:overlay val="0"/>
      <c:txPr>
        <a:bodyPr/>
        <a:lstStyle/>
        <a:p>
          <a:pPr>
            <a:defRPr sz="920" b="0" i="0" u="none" strike="noStrike" baseline="0">
              <a:solidFill>
                <a:srgbClr val="000000"/>
              </a:solidFill>
              <a:latin typeface="Calibri"/>
              <a:ea typeface="Calibri"/>
              <a:cs typeface="Calibri"/>
            </a:defRPr>
          </a:pPr>
          <a:endParaRPr lang="fr-FR"/>
        </a:p>
      </c:txPr>
    </c:legend>
    <c:plotVisOnly val="1"/>
    <c:dispBlanksAs val="gap"/>
    <c:showDLblsOverMax val="0"/>
  </c:chart>
  <c:spPr>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c:spPr>
  <c:txPr>
    <a:bodyPr/>
    <a:lstStyle/>
    <a:p>
      <a:pPr>
        <a:defRPr sz="1000" b="0" i="0" u="none" strike="noStrike" baseline="0">
          <a:solidFill>
            <a:srgbClr val="000000"/>
          </a:solidFill>
          <a:latin typeface="Calibri"/>
          <a:ea typeface="Calibri"/>
          <a:cs typeface="Calibri"/>
        </a:defRPr>
      </a:pPr>
      <a:endParaRPr lang="fr-FR"/>
    </a:p>
  </c:txPr>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rot="0" vert="horz"/>
          <a:lstStyle/>
          <a:p>
            <a:pPr>
              <a:defRPr/>
            </a:pPr>
            <a:r>
              <a:rPr lang="fr-FR"/>
              <a:t>Analyse par critère</a:t>
            </a:r>
          </a:p>
        </c:rich>
      </c:tx>
      <c:overlay val="0"/>
    </c:title>
    <c:autoTitleDeleted val="0"/>
    <c:plotArea>
      <c:layout/>
      <c:radarChart>
        <c:radarStyle val="marker"/>
        <c:varyColors val="0"/>
        <c:ser>
          <c:idx val="0"/>
          <c:order val="0"/>
          <c:tx>
            <c:strRef>
              <c:f>ANALYSE!$G$16</c:f>
              <c:strCache>
                <c:ptCount val="1"/>
                <c:pt idx="0">
                  <c:v>SA</c:v>
                </c:pt>
              </c:strCache>
            </c:strRef>
          </c:tx>
          <c:cat>
            <c:strRef>
              <c:f>ANALYSE!$F$17:$F$19</c:f>
              <c:strCache>
                <c:ptCount val="3"/>
                <c:pt idx="0">
                  <c:v>Quantité</c:v>
                </c:pt>
                <c:pt idx="1">
                  <c:v>Délai</c:v>
                </c:pt>
                <c:pt idx="2">
                  <c:v>Qualité</c:v>
                </c:pt>
              </c:strCache>
            </c:strRef>
          </c:cat>
          <c:val>
            <c:numRef>
              <c:f>ANALYSE!$G$17:$G$19</c:f>
              <c:numCache>
                <c:formatCode>General</c:formatCode>
                <c:ptCount val="3"/>
                <c:pt idx="0">
                  <c:v>1555</c:v>
                </c:pt>
                <c:pt idx="1">
                  <c:v>502</c:v>
                </c:pt>
                <c:pt idx="2">
                  <c:v>1652</c:v>
                </c:pt>
              </c:numCache>
            </c:numRef>
          </c:val>
          <c:extLst>
            <c:ext xmlns:c16="http://schemas.microsoft.com/office/drawing/2014/chart" uri="{C3380CC4-5D6E-409C-BE32-E72D297353CC}">
              <c16:uniqueId val="{00000000-6E82-4C59-AA53-A0FD6B314753}"/>
            </c:ext>
          </c:extLst>
        </c:ser>
        <c:ser>
          <c:idx val="1"/>
          <c:order val="1"/>
          <c:tx>
            <c:strRef>
              <c:f>ANALYSE!$H$16</c:f>
              <c:strCache>
                <c:ptCount val="1"/>
                <c:pt idx="0">
                  <c:v>SS</c:v>
                </c:pt>
              </c:strCache>
            </c:strRef>
          </c:tx>
          <c:cat>
            <c:strRef>
              <c:f>ANALYSE!$F$17:$F$19</c:f>
              <c:strCache>
                <c:ptCount val="3"/>
                <c:pt idx="0">
                  <c:v>Quantité</c:v>
                </c:pt>
                <c:pt idx="1">
                  <c:v>Délai</c:v>
                </c:pt>
                <c:pt idx="2">
                  <c:v>Qualité</c:v>
                </c:pt>
              </c:strCache>
            </c:strRef>
          </c:cat>
          <c:val>
            <c:numRef>
              <c:f>ANALYSE!$H$17:$H$19</c:f>
              <c:numCache>
                <c:formatCode>General</c:formatCode>
                <c:ptCount val="3"/>
                <c:pt idx="0">
                  <c:v>1702</c:v>
                </c:pt>
                <c:pt idx="1">
                  <c:v>1702</c:v>
                </c:pt>
                <c:pt idx="2">
                  <c:v>1702</c:v>
                </c:pt>
              </c:numCache>
            </c:numRef>
          </c:val>
          <c:extLst>
            <c:ext xmlns:c16="http://schemas.microsoft.com/office/drawing/2014/chart" uri="{C3380CC4-5D6E-409C-BE32-E72D297353CC}">
              <c16:uniqueId val="{00000001-6E82-4C59-AA53-A0FD6B314753}"/>
            </c:ext>
          </c:extLst>
        </c:ser>
        <c:dLbls>
          <c:showLegendKey val="0"/>
          <c:showVal val="0"/>
          <c:showCatName val="0"/>
          <c:showSerName val="0"/>
          <c:showPercent val="0"/>
          <c:showBubbleSize val="0"/>
        </c:dLbls>
        <c:axId val="452750720"/>
        <c:axId val="463914496"/>
      </c:radarChart>
      <c:catAx>
        <c:axId val="452750720"/>
        <c:scaling>
          <c:orientation val="minMax"/>
        </c:scaling>
        <c:delete val="0"/>
        <c:axPos val="b"/>
        <c:numFmt formatCode="General" sourceLinked="1"/>
        <c:majorTickMark val="none"/>
        <c:minorTickMark val="none"/>
        <c:tickLblPos val="nextTo"/>
        <c:txPr>
          <a:bodyPr rot="-60000000" vert="horz"/>
          <a:lstStyle/>
          <a:p>
            <a:pPr>
              <a:defRPr/>
            </a:pPr>
            <a:endParaRPr lang="fr-FR"/>
          </a:p>
        </c:txPr>
        <c:crossAx val="463914496"/>
        <c:crosses val="autoZero"/>
        <c:auto val="1"/>
        <c:lblAlgn val="ctr"/>
        <c:lblOffset val="100"/>
        <c:noMultiLvlLbl val="0"/>
      </c:catAx>
      <c:valAx>
        <c:axId val="463914496"/>
        <c:scaling>
          <c:orientation val="minMax"/>
        </c:scaling>
        <c:delete val="1"/>
        <c:axPos val="l"/>
        <c:majorGridlines/>
        <c:numFmt formatCode="General" sourceLinked="1"/>
        <c:majorTickMark val="none"/>
        <c:minorTickMark val="none"/>
        <c:tickLblPos val="nextTo"/>
        <c:crossAx val="452750720"/>
        <c:crosses val="autoZero"/>
        <c:crossBetween val="between"/>
      </c:valAx>
    </c:plotArea>
    <c:legend>
      <c:legendPos val="t"/>
      <c:overlay val="0"/>
      <c:txPr>
        <a:bodyPr rot="0" vert="horz"/>
        <a:lstStyle/>
        <a:p>
          <a:pPr>
            <a:defRPr/>
          </a:pPr>
          <a:endParaRPr lang="fr-FR"/>
        </a:p>
      </c:txPr>
    </c:legend>
    <c:plotVisOnly val="1"/>
    <c:dispBlanksAs val="gap"/>
    <c:showDLblsOverMax val="0"/>
  </c:chart>
  <c:txPr>
    <a:bodyPr/>
    <a:lstStyle/>
    <a:p>
      <a:pPr>
        <a:defRPr sz="1800"/>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Total de niveau de service 3'!$A$7</c:f>
              <c:strCache>
                <c:ptCount val="1"/>
                <c:pt idx="0">
                  <c:v>Total</c:v>
                </c:pt>
              </c:strCache>
            </c:strRef>
          </c:tx>
          <c:invertIfNegative val="0"/>
          <c:dLbls>
            <c:dLbl>
              <c:idx val="0"/>
              <c:layout>
                <c:manualLayout>
                  <c:x val="-5.0505050505050509E-3"/>
                  <c:y val="-5.2559827080438472E-2"/>
                </c:manualLayout>
              </c:layout>
              <c:spPr/>
              <c:txPr>
                <a:bodyPr/>
                <a:lstStyle/>
                <a:p>
                  <a:pPr>
                    <a:defRPr sz="1400"/>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93-4866-A8C9-D39CE7228C5A}"/>
                </c:ext>
              </c:extLst>
            </c:dLbl>
            <c:dLbl>
              <c:idx val="1"/>
              <c:layout>
                <c:manualLayout>
                  <c:x val="5.0505050505050509E-3"/>
                  <c:y val="-4.5479388605836037E-2"/>
                </c:manualLayout>
              </c:layout>
              <c:spPr/>
              <c:txPr>
                <a:bodyPr/>
                <a:lstStyle/>
                <a:p>
                  <a:pPr>
                    <a:defRPr sz="1400"/>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93-4866-A8C9-D39CE7228C5A}"/>
                </c:ext>
              </c:extLst>
            </c:dLbl>
            <c:dLbl>
              <c:idx val="2"/>
              <c:layout>
                <c:manualLayout>
                  <c:x val="1.9444444444444445E-2"/>
                  <c:y val="-3.7037037037037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93-4866-A8C9-D39CE7228C5A}"/>
                </c:ext>
              </c:extLst>
            </c:dLbl>
            <c:dLbl>
              <c:idx val="3"/>
              <c:layout>
                <c:manualLayout>
                  <c:x val="0"/>
                  <c:y val="-3.24074074074074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3-4866-A8C9-D39CE7228C5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otal de niveau de service 3'!$B$6:$E$6</c:f>
              <c:strCache>
                <c:ptCount val="4"/>
                <c:pt idx="0">
                  <c:v>Qualité</c:v>
                </c:pt>
                <c:pt idx="1">
                  <c:v>Quantité </c:v>
                </c:pt>
                <c:pt idx="2">
                  <c:v>Délai</c:v>
                </c:pt>
                <c:pt idx="3">
                  <c:v>Réalisé</c:v>
                </c:pt>
              </c:strCache>
            </c:strRef>
          </c:cat>
          <c:val>
            <c:numRef>
              <c:f>'Total de niveau de service 3'!$B$7:$E$7</c:f>
              <c:numCache>
                <c:formatCode>0%</c:formatCode>
                <c:ptCount val="4"/>
                <c:pt idx="0">
                  <c:v>0.88</c:v>
                </c:pt>
                <c:pt idx="1">
                  <c:v>0.89</c:v>
                </c:pt>
                <c:pt idx="2">
                  <c:v>0.29377203290246767</c:v>
                </c:pt>
                <c:pt idx="3">
                  <c:v>0.68792401096748923</c:v>
                </c:pt>
              </c:numCache>
            </c:numRef>
          </c:val>
          <c:extLst>
            <c:ext xmlns:c16="http://schemas.microsoft.com/office/drawing/2014/chart" uri="{C3380CC4-5D6E-409C-BE32-E72D297353CC}">
              <c16:uniqueId val="{00000004-9393-4866-A8C9-D39CE7228C5A}"/>
            </c:ext>
          </c:extLst>
        </c:ser>
        <c:dLbls>
          <c:showLegendKey val="0"/>
          <c:showVal val="1"/>
          <c:showCatName val="0"/>
          <c:showSerName val="0"/>
          <c:showPercent val="0"/>
          <c:showBubbleSize val="0"/>
        </c:dLbls>
        <c:gapWidth val="75"/>
        <c:shape val="box"/>
        <c:axId val="175640960"/>
        <c:axId val="175643264"/>
        <c:axId val="0"/>
      </c:bar3DChart>
      <c:catAx>
        <c:axId val="175640960"/>
        <c:scaling>
          <c:orientation val="minMax"/>
        </c:scaling>
        <c:delete val="0"/>
        <c:axPos val="b"/>
        <c:numFmt formatCode="General" sourceLinked="0"/>
        <c:majorTickMark val="none"/>
        <c:minorTickMark val="none"/>
        <c:tickLblPos val="nextTo"/>
        <c:txPr>
          <a:bodyPr/>
          <a:lstStyle/>
          <a:p>
            <a:pPr>
              <a:defRPr>
                <a:latin typeface="Arabic Typesetting" panose="03020402040406030203" pitchFamily="66" charset="-78"/>
                <a:cs typeface="Arabic Typesetting" panose="03020402040406030203" pitchFamily="66" charset="-78"/>
              </a:defRPr>
            </a:pPr>
            <a:endParaRPr lang="fr-FR"/>
          </a:p>
        </c:txPr>
        <c:crossAx val="175643264"/>
        <c:crosses val="autoZero"/>
        <c:auto val="1"/>
        <c:lblAlgn val="ctr"/>
        <c:lblOffset val="100"/>
        <c:noMultiLvlLbl val="0"/>
      </c:catAx>
      <c:valAx>
        <c:axId val="175643264"/>
        <c:scaling>
          <c:orientation val="minMax"/>
        </c:scaling>
        <c:delete val="0"/>
        <c:axPos val="l"/>
        <c:numFmt formatCode="0%" sourceLinked="1"/>
        <c:majorTickMark val="none"/>
        <c:minorTickMark val="none"/>
        <c:tickLblPos val="nextTo"/>
        <c:txPr>
          <a:bodyPr/>
          <a:lstStyle/>
          <a:p>
            <a:pPr>
              <a:defRPr sz="1400">
                <a:latin typeface="Aldhabi" panose="01000000000000000000" pitchFamily="2" charset="-78"/>
                <a:cs typeface="Aldhabi" panose="01000000000000000000" pitchFamily="2" charset="-78"/>
              </a:defRPr>
            </a:pPr>
            <a:endParaRPr lang="fr-FR"/>
          </a:p>
        </c:txPr>
        <c:crossAx val="175640960"/>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a:pPr>
            <a:r>
              <a:rPr lang="fr-FR" sz="1400" b="1" dirty="0">
                <a:effectLst/>
              </a:rPr>
              <a:t>La répartition des non-conformités par fournisseurs  "Quantité"</a:t>
            </a:r>
            <a:endParaRPr lang="fr-FR" sz="1400" dirty="0">
              <a:effectLst/>
            </a:endParaRPr>
          </a:p>
        </c:rich>
      </c:tx>
      <c:overlay val="0"/>
    </c:title>
    <c:autoTitleDeleted val="0"/>
    <c:plotArea>
      <c:layout>
        <c:manualLayout>
          <c:layoutTarget val="inner"/>
          <c:xMode val="edge"/>
          <c:yMode val="edge"/>
          <c:x val="9.6649050090458155E-2"/>
          <c:y val="0.29932420609585964"/>
          <c:w val="0.46923084840639262"/>
          <c:h val="0.70067579390414036"/>
        </c:manualLayout>
      </c:layout>
      <c:doughnutChart>
        <c:varyColors val="1"/>
        <c:ser>
          <c:idx val="0"/>
          <c:order val="0"/>
          <c:tx>
            <c:strRef>
              <c:f>'quantité repartistion '!$C$3</c:f>
              <c:strCache>
                <c:ptCount val="1"/>
                <c:pt idx="0">
                  <c:v>Nombre de la note 1</c:v>
                </c:pt>
              </c:strCache>
            </c:strRef>
          </c:tx>
          <c:dLbls>
            <c:dLbl>
              <c:idx val="0"/>
              <c:tx>
                <c:rich>
                  <a:bodyPr/>
                  <a:lstStyle/>
                  <a:p>
                    <a:r>
                      <a:rPr lang="en-US" sz="1600" b="1" dirty="0">
                        <a:solidFill>
                          <a:schemeClr val="bg1"/>
                        </a:solidFill>
                      </a:rPr>
                      <a:t>26%</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EC0A-4820-992D-870BD8BB2E51}"/>
                </c:ext>
              </c:extLst>
            </c:dLbl>
            <c:dLbl>
              <c:idx val="1"/>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1-EC0A-4820-992D-870BD8BB2E51}"/>
                </c:ext>
              </c:extLst>
            </c:dLbl>
            <c:dLbl>
              <c:idx val="2"/>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2-EC0A-4820-992D-870BD8BB2E51}"/>
                </c:ext>
              </c:extLst>
            </c:dLbl>
            <c:dLbl>
              <c:idx val="3"/>
              <c:spPr/>
              <c:txPr>
                <a:bodyPr/>
                <a:lstStyle/>
                <a:p>
                  <a:pPr>
                    <a:defRPr>
                      <a:solidFill>
                        <a:schemeClr val="bg1"/>
                      </a:solidFill>
                    </a:defRPr>
                  </a:pPr>
                  <a:endParaRPr lang="fr-FR"/>
                </a:p>
              </c:txPr>
              <c:showLegendKey val="0"/>
              <c:showVal val="0"/>
              <c:showCatName val="0"/>
              <c:showSerName val="0"/>
              <c:showPercent val="1"/>
              <c:showBubbleSize val="0"/>
              <c:extLst>
                <c:ext xmlns:c16="http://schemas.microsoft.com/office/drawing/2014/chart" uri="{C3380CC4-5D6E-409C-BE32-E72D297353CC}">
                  <c16:uniqueId val="{00000003-EC0A-4820-992D-870BD8BB2E51}"/>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quantité repartistion '!$B$4:$B$19</c:f>
              <c:strCache>
                <c:ptCount val="16"/>
                <c:pt idx="0">
                  <c:v>100739508  Compagnie Marocaine de Carton et</c:v>
                </c:pt>
                <c:pt idx="1">
                  <c:v>100575210  Litho Typo Marocaine S.a r.l.</c:v>
                </c:pt>
                <c:pt idx="2">
                  <c:v>100835466  Constantia Tobepal S.L.</c:v>
                </c:pt>
                <c:pt idx="3">
                  <c:v>100739522  Sevam S.A.</c:v>
                </c:pt>
                <c:pt idx="4">
                  <c:v>100739509  CROWN Packaging Maroc S.A.</c:v>
                </c:pt>
                <c:pt idx="5">
                  <c:v>100739620  Manupack</c:v>
                </c:pt>
                <c:pt idx="6">
                  <c:v>100717404  Positive Packaging United (M.E)FZCO</c:v>
                </c:pt>
                <c:pt idx="7">
                  <c:v>100890234  Synthechim S.A.R.L.</c:v>
                </c:pt>
                <c:pt idx="8">
                  <c:v>100004108  Naturex AG</c:v>
                </c:pt>
                <c:pt idx="9">
                  <c:v>100739511  Cincib S.A.R.L.</c:v>
                </c:pt>
                <c:pt idx="10">
                  <c:v>100739512  Fleximat S.A.</c:v>
                </c:pt>
                <c:pt idx="11">
                  <c:v>100058441  Ardagh Metal Packaging Hjoerring</c:v>
                </c:pt>
                <c:pt idx="12">
                  <c:v>100739525  Les Moulins Lahlal S.A.</c:v>
                </c:pt>
                <c:pt idx="13">
                  <c:v>100740333  Centre De Collecte</c:v>
                </c:pt>
                <c:pt idx="14">
                  <c:v>100762059  Colin Ingredients</c:v>
                </c:pt>
                <c:pt idx="15">
                  <c:v>100810383  Norevo GmbH</c:v>
                </c:pt>
              </c:strCache>
            </c:strRef>
          </c:cat>
          <c:val>
            <c:numRef>
              <c:f>'quantité repartistion '!$C$4:$C$19</c:f>
              <c:numCache>
                <c:formatCode>General</c:formatCode>
                <c:ptCount val="16"/>
                <c:pt idx="0">
                  <c:v>27</c:v>
                </c:pt>
                <c:pt idx="1">
                  <c:v>13</c:v>
                </c:pt>
                <c:pt idx="2">
                  <c:v>9</c:v>
                </c:pt>
                <c:pt idx="3">
                  <c:v>7</c:v>
                </c:pt>
                <c:pt idx="4">
                  <c:v>6</c:v>
                </c:pt>
                <c:pt idx="5">
                  <c:v>6</c:v>
                </c:pt>
                <c:pt idx="6">
                  <c:v>5</c:v>
                </c:pt>
                <c:pt idx="7">
                  <c:v>5</c:v>
                </c:pt>
                <c:pt idx="8">
                  <c:v>4</c:v>
                </c:pt>
                <c:pt idx="9">
                  <c:v>4</c:v>
                </c:pt>
                <c:pt idx="10">
                  <c:v>4</c:v>
                </c:pt>
                <c:pt idx="11">
                  <c:v>3</c:v>
                </c:pt>
                <c:pt idx="12">
                  <c:v>3</c:v>
                </c:pt>
                <c:pt idx="13">
                  <c:v>3</c:v>
                </c:pt>
                <c:pt idx="14">
                  <c:v>3</c:v>
                </c:pt>
                <c:pt idx="15">
                  <c:v>3</c:v>
                </c:pt>
              </c:numCache>
            </c:numRef>
          </c:val>
          <c:extLst>
            <c:ext xmlns:c16="http://schemas.microsoft.com/office/drawing/2014/chart" uri="{C3380CC4-5D6E-409C-BE32-E72D297353CC}">
              <c16:uniqueId val="{00000004-EC0A-4820-992D-870BD8BB2E51}"/>
            </c:ext>
          </c:extLst>
        </c:ser>
        <c:dLbls>
          <c:showLegendKey val="0"/>
          <c:showVal val="0"/>
          <c:showCatName val="0"/>
          <c:showSerName val="0"/>
          <c:showPercent val="1"/>
          <c:showBubbleSize val="0"/>
          <c:showLeaderLines val="1"/>
        </c:dLbls>
        <c:firstSliceAng val="0"/>
        <c:holeSize val="50"/>
      </c:doughnutChart>
    </c:plotArea>
    <c:legend>
      <c:legendPos val="r"/>
      <c:overlay val="0"/>
    </c:legend>
    <c:plotVisOnly val="1"/>
    <c:dispBlanksAs val="gap"/>
    <c:showDLblsOverMax val="0"/>
  </c:chart>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view3D>
      <c:rotX val="75"/>
      <c:rotY val="0"/>
      <c:rAngAx val="0"/>
    </c:view3D>
    <c:floor>
      <c:thickness val="0"/>
    </c:floor>
    <c:sideWall>
      <c:thickness val="0"/>
    </c:sideWall>
    <c:backWall>
      <c:thickness val="0"/>
    </c:backWall>
    <c:plotArea>
      <c:layout/>
      <c:pie3DChart>
        <c:varyColors val="1"/>
        <c:ser>
          <c:idx val="0"/>
          <c:order val="0"/>
          <c:tx>
            <c:strRef>
              <c:f>'[Questionnaire evaluation des fournisseurs.xlsx]Feuil3'!$D$18</c:f>
              <c:strCache>
                <c:ptCount val="1"/>
                <c:pt idx="0">
                  <c:v>%</c:v>
                </c:pt>
              </c:strCache>
            </c:strRef>
          </c:tx>
          <c:explosion val="25"/>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Questionnaire evaluation des fournisseurs.xlsx]Feuil3'!$C$19:$C$20</c:f>
              <c:strCache>
                <c:ptCount val="2"/>
                <c:pt idx="0">
                  <c:v>Bon </c:v>
                </c:pt>
                <c:pt idx="1">
                  <c:v>Pas bon </c:v>
                </c:pt>
              </c:strCache>
            </c:strRef>
          </c:cat>
          <c:val>
            <c:numRef>
              <c:f>'[Questionnaire evaluation des fournisseurs.xlsx]Feuil3'!$D$19:$D$20</c:f>
              <c:numCache>
                <c:formatCode>0%</c:formatCode>
                <c:ptCount val="2"/>
                <c:pt idx="0">
                  <c:v>0.88</c:v>
                </c:pt>
                <c:pt idx="1">
                  <c:v>0.12</c:v>
                </c:pt>
              </c:numCache>
            </c:numRef>
          </c:val>
          <c:extLst>
            <c:ext xmlns:c16="http://schemas.microsoft.com/office/drawing/2014/chart" uri="{C3380CC4-5D6E-409C-BE32-E72D297353CC}">
              <c16:uniqueId val="{00000000-5706-4FF8-BF38-8942ABB2CFF6}"/>
            </c:ext>
          </c:extLst>
        </c:ser>
        <c:dLbls>
          <c:showLegendKey val="0"/>
          <c:showVal val="0"/>
          <c:showCatName val="0"/>
          <c:showSerName val="0"/>
          <c:showPercent val="1"/>
          <c:showBubbleSize val="0"/>
          <c:showLeaderLines val="1"/>
        </c:dLbls>
      </c:pie3DChart>
    </c:plotArea>
    <c:legend>
      <c:legendPos val="r"/>
      <c:overlay val="0"/>
    </c:legend>
    <c:plotVisOnly val="1"/>
    <c:dispBlanksAs val="gap"/>
    <c:showDLblsOverMax val="0"/>
  </c:chart>
  <c:txPr>
    <a:bodyPr/>
    <a:lstStyle/>
    <a:p>
      <a:pPr>
        <a:defRPr sz="1800"/>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CAfrs '!$I$3:$I$4</c:f>
              <c:strCache>
                <c:ptCount val="2"/>
                <c:pt idx="0">
                  <c:v>Bon </c:v>
                </c:pt>
                <c:pt idx="1">
                  <c:v>Pas bon </c:v>
                </c:pt>
              </c:strCache>
            </c:strRef>
          </c:cat>
          <c:val>
            <c:numRef>
              <c:f>'CAfrs '!$J$3:$J$4</c:f>
              <c:numCache>
                <c:formatCode>General</c:formatCode>
                <c:ptCount val="2"/>
                <c:pt idx="0">
                  <c:v>500</c:v>
                </c:pt>
                <c:pt idx="1">
                  <c:v>1202</c:v>
                </c:pt>
              </c:numCache>
            </c:numRef>
          </c:val>
          <c:extLst>
            <c:ext xmlns:c16="http://schemas.microsoft.com/office/drawing/2014/chart" uri="{C3380CC4-5D6E-409C-BE32-E72D297353CC}">
              <c16:uniqueId val="{00000000-8EF1-4BBF-AD69-6226A0340D1F}"/>
            </c:ext>
          </c:extLst>
        </c:ser>
        <c:dLbls>
          <c:showLegendKey val="0"/>
          <c:showVal val="0"/>
          <c:showCatName val="0"/>
          <c:showSerName val="0"/>
          <c:showPercent val="1"/>
          <c:showBubbleSize val="0"/>
          <c:showLeaderLines val="1"/>
        </c:dLbls>
      </c:pie3DChart>
    </c:plotArea>
    <c:legend>
      <c:legendPos val="r"/>
      <c:overlay val="0"/>
    </c:legend>
    <c:plotVisOnly val="1"/>
    <c:dispBlanksAs val="gap"/>
    <c:showDLblsOverMax val="0"/>
  </c:chart>
  <c:txPr>
    <a:bodyPr/>
    <a:lstStyle/>
    <a:p>
      <a:pPr>
        <a:defRPr sz="1800"/>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r>
              <a:rPr lang="fr-FR" sz="1800" b="1" i="0" baseline="0" dirty="0">
                <a:effectLst/>
              </a:rPr>
              <a:t>la répartition des non-conformités par fournisseurs  "</a:t>
            </a:r>
            <a:r>
              <a:rPr lang="en-US" sz="1800" b="1" i="0" u="none" strike="noStrike" baseline="0" dirty="0" err="1">
                <a:effectLst/>
              </a:rPr>
              <a:t>Délai</a:t>
            </a:r>
            <a:r>
              <a:rPr lang="fr-FR" sz="1800" b="1" i="0" baseline="0" dirty="0">
                <a:effectLst/>
              </a:rPr>
              <a:t>"</a:t>
            </a:r>
          </a:p>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endParaRPr lang="fr-FR" sz="1600" dirty="0">
              <a:effectLst/>
            </a:endParaRPr>
          </a:p>
        </c:rich>
      </c:tx>
      <c:overlay val="0"/>
    </c:title>
    <c:autoTitleDeleted val="0"/>
    <c:plotArea>
      <c:layout/>
      <c:doughnutChart>
        <c:varyColors val="1"/>
        <c:ser>
          <c:idx val="0"/>
          <c:order val="0"/>
          <c:tx>
            <c:strRef>
              <c:f>'délai répartition'!$C$3</c:f>
              <c:strCache>
                <c:ptCount val="1"/>
                <c:pt idx="0">
                  <c:v>Nombre de la note 2</c:v>
                </c:pt>
              </c:strCache>
            </c:strRef>
          </c:tx>
          <c:dLbls>
            <c:dLbl>
              <c:idx val="0"/>
              <c:tx>
                <c:rich>
                  <a:bodyPr/>
                  <a:lstStyle/>
                  <a:p>
                    <a:pPr>
                      <a:defRPr sz="1800"/>
                    </a:pPr>
                    <a:r>
                      <a:rPr lang="en-US" sz="1800" b="1" dirty="0">
                        <a:solidFill>
                          <a:schemeClr val="bg1"/>
                        </a:solidFill>
                      </a:rPr>
                      <a:t>33%</a:t>
                    </a:r>
                  </a:p>
                </c:rich>
              </c:tx>
              <c:sp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4D61-4A37-8B9D-649CEB983598}"/>
                </c:ext>
              </c:extLst>
            </c:dLbl>
            <c:dLbl>
              <c:idx val="1"/>
              <c:tx>
                <c:rich>
                  <a:bodyPr/>
                  <a:lstStyle/>
                  <a:p>
                    <a:r>
                      <a:rPr lang="en-US" dirty="0">
                        <a:solidFill>
                          <a:schemeClr val="bg1"/>
                        </a:solidFill>
                      </a:rPr>
                      <a:t>14%</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D61-4A37-8B9D-649CEB983598}"/>
                </c:ext>
              </c:extLst>
            </c:dLbl>
            <c:dLbl>
              <c:idx val="2"/>
              <c:tx>
                <c:rich>
                  <a:bodyPr/>
                  <a:lstStyle/>
                  <a:p>
                    <a:r>
                      <a:rPr lang="en-US" dirty="0">
                        <a:solidFill>
                          <a:schemeClr val="bg1"/>
                        </a:solidFill>
                      </a:rPr>
                      <a:t>12%</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4D61-4A37-8B9D-649CEB983598}"/>
                </c:ext>
              </c:extLst>
            </c:dLbl>
            <c:dLbl>
              <c:idx val="3"/>
              <c:tx>
                <c:rich>
                  <a:bodyPr/>
                  <a:lstStyle/>
                  <a:p>
                    <a:r>
                      <a:rPr lang="en-US" dirty="0">
                        <a:solidFill>
                          <a:schemeClr val="bg1"/>
                        </a:solidFill>
                      </a:rPr>
                      <a:t>8%</a:t>
                    </a:r>
                  </a:p>
                </c:rich>
              </c:tx>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D61-4A37-8B9D-649CEB983598}"/>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délai répartition'!$B$4:$B$18</c:f>
              <c:strCache>
                <c:ptCount val="15"/>
                <c:pt idx="0">
                  <c:v>100739508  Compagnie Marocaine de Carton et</c:v>
                </c:pt>
                <c:pt idx="1">
                  <c:v>100575210  Litho Typo Marocaine S.a r.l.</c:v>
                </c:pt>
                <c:pt idx="2">
                  <c:v>100739522  Sevam S.A.</c:v>
                </c:pt>
                <c:pt idx="3">
                  <c:v>100739512  Fleximat S.A.</c:v>
                </c:pt>
                <c:pt idx="4">
                  <c:v>100739509  CROWN Packaging Maroc S.A.</c:v>
                </c:pt>
                <c:pt idx="5">
                  <c:v>100739511  Cincib S.A.R.L.</c:v>
                </c:pt>
                <c:pt idx="6">
                  <c:v>100136931  ICONA</c:v>
                </c:pt>
                <c:pt idx="7">
                  <c:v>100739525  Les Moulins Lahlal S.A.</c:v>
                </c:pt>
                <c:pt idx="8">
                  <c:v>100739606  Air Liquide</c:v>
                </c:pt>
                <c:pt idx="9">
                  <c:v>100488584  United Caps Llagostera, S.A.U.</c:v>
                </c:pt>
                <c:pt idx="10">
                  <c:v>100762059  Colin Ingredients</c:v>
                </c:pt>
                <c:pt idx="11">
                  <c:v>100717404  Positive Packaging United (M.E)FZCO</c:v>
                </c:pt>
                <c:pt idx="12">
                  <c:v>100739620  Manupack</c:v>
                </c:pt>
                <c:pt idx="13">
                  <c:v>100004108  Naturex AG</c:v>
                </c:pt>
                <c:pt idx="14">
                  <c:v>100008544  VOLCAFE Ltd</c:v>
                </c:pt>
              </c:strCache>
            </c:strRef>
          </c:cat>
          <c:val>
            <c:numRef>
              <c:f>'délai répartition'!$C$4:$C$18</c:f>
              <c:numCache>
                <c:formatCode>General</c:formatCode>
                <c:ptCount val="15"/>
                <c:pt idx="0">
                  <c:v>313</c:v>
                </c:pt>
                <c:pt idx="1">
                  <c:v>132</c:v>
                </c:pt>
                <c:pt idx="2">
                  <c:v>112</c:v>
                </c:pt>
                <c:pt idx="3">
                  <c:v>81</c:v>
                </c:pt>
                <c:pt idx="4">
                  <c:v>77</c:v>
                </c:pt>
                <c:pt idx="5">
                  <c:v>61</c:v>
                </c:pt>
                <c:pt idx="6">
                  <c:v>29</c:v>
                </c:pt>
                <c:pt idx="7">
                  <c:v>27</c:v>
                </c:pt>
                <c:pt idx="8">
                  <c:v>26</c:v>
                </c:pt>
                <c:pt idx="9">
                  <c:v>20</c:v>
                </c:pt>
                <c:pt idx="10">
                  <c:v>19</c:v>
                </c:pt>
                <c:pt idx="11">
                  <c:v>17</c:v>
                </c:pt>
                <c:pt idx="12">
                  <c:v>15</c:v>
                </c:pt>
                <c:pt idx="13">
                  <c:v>14</c:v>
                </c:pt>
                <c:pt idx="14">
                  <c:v>14</c:v>
                </c:pt>
              </c:numCache>
            </c:numRef>
          </c:val>
          <c:extLst>
            <c:ext xmlns:c16="http://schemas.microsoft.com/office/drawing/2014/chart" uri="{C3380CC4-5D6E-409C-BE32-E72D297353CC}">
              <c16:uniqueId val="{00000004-4D61-4A37-8B9D-649CEB983598}"/>
            </c:ext>
          </c:extLst>
        </c:ser>
        <c:dLbls>
          <c:showLegendKey val="0"/>
          <c:showVal val="0"/>
          <c:showCatName val="0"/>
          <c:showSerName val="0"/>
          <c:showPercent val="1"/>
          <c:showBubbleSize val="0"/>
          <c:showLeaderLines val="1"/>
        </c:dLbls>
        <c:firstSliceAng val="0"/>
        <c:holeSize val="50"/>
      </c:doughnutChart>
    </c:plotArea>
    <c:legend>
      <c:legendPos val="r"/>
      <c:legendEntry>
        <c:idx val="8"/>
        <c:txPr>
          <a:bodyPr/>
          <a:lstStyle/>
          <a:p>
            <a:pPr>
              <a:defRPr>
                <a:solidFill>
                  <a:schemeClr val="bg1"/>
                </a:solidFill>
              </a:defRPr>
            </a:pPr>
            <a:endParaRPr lang="fr-FR"/>
          </a:p>
        </c:txPr>
      </c:legendEntry>
      <c:overlay val="0"/>
    </c:legend>
    <c:plotVisOnly val="1"/>
    <c:dispBlanksAs val="gap"/>
    <c:showDLblsOverMax val="0"/>
  </c:chart>
  <c:externalData r:id="rId1">
    <c:autoUpdate val="0"/>
  </c:externalData>
  <c:userShapes r:id="rId2"/>
</c:chartSpace>
</file>

<file path=ppt/diagrams/_rels/data3.xml.rels><?xml version="1.0" encoding="UTF-8" standalone="yes"?>
<Relationships xmlns="http://schemas.openxmlformats.org/package/2006/relationships"><Relationship Id="rId1" Type="http://schemas.openxmlformats.org/officeDocument/2006/relationships/image" Target="../media/image22.png"/></Relationships>
</file>

<file path=ppt/diagrams/_rels/data4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image" Target="../media/image52.jpeg"/><Relationship Id="rId6" Type="http://schemas.openxmlformats.org/officeDocument/2006/relationships/image" Target="../media/image56.jpg"/><Relationship Id="rId5" Type="http://schemas.openxmlformats.org/officeDocument/2006/relationships/image" Target="../media/image55.jpeg"/><Relationship Id="rId4" Type="http://schemas.openxmlformats.org/officeDocument/2006/relationships/image" Target="../media/image36.jpg"/></Relationships>
</file>

<file path=ppt/diagrams/_rels/drawing3.xml.rels><?xml version="1.0" encoding="UTF-8" standalone="yes"?>
<Relationships xmlns="http://schemas.openxmlformats.org/package/2006/relationships"><Relationship Id="rId1" Type="http://schemas.openxmlformats.org/officeDocument/2006/relationships/image" Target="../media/image22.png"/></Relationships>
</file>

<file path=ppt/diagrams/_rels/drawing4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image" Target="../media/image52.jpeg"/><Relationship Id="rId6" Type="http://schemas.openxmlformats.org/officeDocument/2006/relationships/image" Target="../media/image56.jpg"/><Relationship Id="rId5" Type="http://schemas.openxmlformats.org/officeDocument/2006/relationships/image" Target="../media/image55.jpeg"/><Relationship Id="rId4" Type="http://schemas.openxmlformats.org/officeDocument/2006/relationships/image" Target="../media/image36.jp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AE2B2213-C902-43B8-B524-E78433CF5BD2}" type="presOf" srcId="{BFAE7B18-CC4C-4882-92CD-CB1C42AA85E2}" destId="{B75A6145-30F1-4A02-8241-CAFBD7613773}" srcOrd="1" destOrd="0" presId="urn:microsoft.com/office/officeart/2005/8/layout/process1"/>
    <dgm:cxn modelId="{06D91F2B-213E-465F-ACB6-5EF0896F5EA4}" type="presOf" srcId="{8512C525-B3B9-4BFC-8B81-ABE692BCA9B8}" destId="{DCDE361F-6528-4B2D-AA1C-75A98D9CF19B}" srcOrd="0" destOrd="0" presId="urn:microsoft.com/office/officeart/2005/8/layout/process1"/>
    <dgm:cxn modelId="{658C7339-8C29-4BA5-95FA-D8E42E82BFEF}" type="presOf" srcId="{2B811016-D430-4B4D-A4B9-C427EBB8C39C}" destId="{CD543A52-B769-4817-BCDB-9E04D3B82E2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A88E5E77-3E18-46B0-9EEC-6D71DE30C0E6}" type="presOf" srcId="{43157ED2-F950-497C-9847-E7E7C258E927}" destId="{B0DBBBA9-28F6-41E3-9EAE-867A084ADCC9}" srcOrd="1" destOrd="0" presId="urn:microsoft.com/office/officeart/2005/8/layout/process1"/>
    <dgm:cxn modelId="{C2AF0F8C-86F1-4EE3-BA89-EF6046C7521D}" type="presOf" srcId="{2B811016-D430-4B4D-A4B9-C427EBB8C39C}" destId="{9632C60F-56BA-4ECD-9874-3EA13072391A}"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90D12D99-ECE7-46A2-969C-0B7706B00295}" type="presOf" srcId="{307DC733-853C-4BE3-A615-177512EFCA37}" destId="{5D437852-1E36-4551-AE22-3D21BF486FA9}" srcOrd="0" destOrd="0" presId="urn:microsoft.com/office/officeart/2005/8/layout/process1"/>
    <dgm:cxn modelId="{AAD105A8-7CA9-48BC-9280-4A20598652CC}" type="presOf" srcId="{FCB8ADF2-9891-4EC4-9F8D-3C62A4E3570B}" destId="{D0F3583B-5D16-45E2-90F3-D5928E8BAEEB}" srcOrd="0" destOrd="0" presId="urn:microsoft.com/office/officeart/2005/8/layout/process1"/>
    <dgm:cxn modelId="{CB41E2B2-05ED-4000-A9FF-8B591032C835}" type="presOf" srcId="{43157ED2-F950-497C-9847-E7E7C258E927}" destId="{EBA8B8BB-8B80-463D-B5C0-9886029E31EB}" srcOrd="0" destOrd="0" presId="urn:microsoft.com/office/officeart/2005/8/layout/process1"/>
    <dgm:cxn modelId="{81F8CACA-6F14-47E8-9CBF-3E1B633E395D}" type="presOf" srcId="{FF69A2E3-845E-46C4-A44D-095FCDBB9884}" destId="{83AD4C98-81CD-4554-959F-68EE175480AA}"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B760E9F1-54D4-44AF-A46B-2C1B7DF1FC3A}" type="presOf" srcId="{864DE107-B989-48AF-AB66-C74CF83D30CD}" destId="{599C6788-14AC-4886-BE98-CFABBA2B6CBC}" srcOrd="0" destOrd="0" presId="urn:microsoft.com/office/officeart/2005/8/layout/process1"/>
    <dgm:cxn modelId="{07EBF0FC-5E7E-4DE6-98F1-BA2E4462E495}" type="presOf" srcId="{BFAE7B18-CC4C-4882-92CD-CB1C42AA85E2}" destId="{1B57603F-6D14-4EC3-B4E3-8B8E29F0AF82}" srcOrd="0" destOrd="0" presId="urn:microsoft.com/office/officeart/2005/8/layout/process1"/>
    <dgm:cxn modelId="{FB92588C-E390-4D9F-8205-7FBE2E031C57}" type="presParOf" srcId="{DCDE361F-6528-4B2D-AA1C-75A98D9CF19B}" destId="{D0F3583B-5D16-45E2-90F3-D5928E8BAEEB}" srcOrd="0" destOrd="0" presId="urn:microsoft.com/office/officeart/2005/8/layout/process1"/>
    <dgm:cxn modelId="{ABFF1553-CF40-43D2-8B2F-F7370F715D5B}" type="presParOf" srcId="{DCDE361F-6528-4B2D-AA1C-75A98D9CF19B}" destId="{1B57603F-6D14-4EC3-B4E3-8B8E29F0AF82}" srcOrd="1" destOrd="0" presId="urn:microsoft.com/office/officeart/2005/8/layout/process1"/>
    <dgm:cxn modelId="{D60BE129-D750-440D-91FA-3E4BD43F10CE}" type="presParOf" srcId="{1B57603F-6D14-4EC3-B4E3-8B8E29F0AF82}" destId="{B75A6145-30F1-4A02-8241-CAFBD7613773}" srcOrd="0" destOrd="0" presId="urn:microsoft.com/office/officeart/2005/8/layout/process1"/>
    <dgm:cxn modelId="{3FBCDFB7-711F-45E8-8F36-F0C9A24846C0}" type="presParOf" srcId="{DCDE361F-6528-4B2D-AA1C-75A98D9CF19B}" destId="{5D437852-1E36-4551-AE22-3D21BF486FA9}" srcOrd="2" destOrd="0" presId="urn:microsoft.com/office/officeart/2005/8/layout/process1"/>
    <dgm:cxn modelId="{F6633EC2-7CDD-4FFD-8955-6EDD2461EBFF}" type="presParOf" srcId="{DCDE361F-6528-4B2D-AA1C-75A98D9CF19B}" destId="{CD543A52-B769-4817-BCDB-9E04D3B82E2C}" srcOrd="3" destOrd="0" presId="urn:microsoft.com/office/officeart/2005/8/layout/process1"/>
    <dgm:cxn modelId="{124675E6-9251-471E-8B4D-B661BD9AAA5C}" type="presParOf" srcId="{CD543A52-B769-4817-BCDB-9E04D3B82E2C}" destId="{9632C60F-56BA-4ECD-9874-3EA13072391A}" srcOrd="0" destOrd="0" presId="urn:microsoft.com/office/officeart/2005/8/layout/process1"/>
    <dgm:cxn modelId="{F984B5A2-486B-42D6-ACF6-E921F8546E66}" type="presParOf" srcId="{DCDE361F-6528-4B2D-AA1C-75A98D9CF19B}" destId="{599C6788-14AC-4886-BE98-CFABBA2B6CBC}" srcOrd="4" destOrd="0" presId="urn:microsoft.com/office/officeart/2005/8/layout/process1"/>
    <dgm:cxn modelId="{FCF5CD6A-D6D2-4C18-95EA-7959ED5A56A3}" type="presParOf" srcId="{DCDE361F-6528-4B2D-AA1C-75A98D9CF19B}" destId="{EBA8B8BB-8B80-463D-B5C0-9886029E31EB}" srcOrd="5" destOrd="0" presId="urn:microsoft.com/office/officeart/2005/8/layout/process1"/>
    <dgm:cxn modelId="{37095F19-8764-4A46-BE8D-9136A8E2DAAB}" type="presParOf" srcId="{EBA8B8BB-8B80-463D-B5C0-9886029E31EB}" destId="{B0DBBBA9-28F6-41E3-9EAE-867A084ADCC9}" srcOrd="0" destOrd="0" presId="urn:microsoft.com/office/officeart/2005/8/layout/process1"/>
    <dgm:cxn modelId="{051FCDDD-76FC-4768-8ED5-F2FFB144CCBE}"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0.xml><?xml version="1.0" encoding="utf-8"?>
<dgm:dataModel xmlns:dgm="http://schemas.openxmlformats.org/drawingml/2006/diagram" xmlns:a="http://schemas.openxmlformats.org/drawingml/2006/main">
  <dgm:ptLst>
    <dgm:pt modelId="{10A38AE3-1CB8-4EAE-8D58-EB184EB94E46}" type="doc">
      <dgm:prSet loTypeId="urn:microsoft.com/office/officeart/2009/3/layout/RandomtoResultProcess" loCatId="process" qsTypeId="urn:microsoft.com/office/officeart/2005/8/quickstyle/simple4" qsCatId="simple" csTypeId="urn:microsoft.com/office/officeart/2005/8/colors/accent1_2" csCatId="accent1" phldr="1"/>
      <dgm:spPr/>
      <dgm:t>
        <a:bodyPr/>
        <a:lstStyle/>
        <a:p>
          <a:endParaRPr lang="fr-FR"/>
        </a:p>
      </dgm:t>
    </dgm:pt>
    <dgm:pt modelId="{0E98B462-D235-4615-9D85-8C1829147FDF}">
      <dgm:prSet phldrT="[Texte]" custT="1"/>
      <dgm:spPr/>
      <dgm:t>
        <a:bodyPr/>
        <a:lstStyle/>
        <a:p>
          <a:r>
            <a:rPr lang="fr-FR" sz="1050"/>
            <a:t>Expression de besoin : Budget annuelle </a:t>
          </a:r>
        </a:p>
      </dgm:t>
    </dgm:pt>
    <dgm:pt modelId="{45DA82DC-2D2B-48D5-8E73-9272E7E88F12}" type="parTrans" cxnId="{5F7FDA0C-30DF-463B-BD00-DECB6D55BB52}">
      <dgm:prSet/>
      <dgm:spPr/>
      <dgm:t>
        <a:bodyPr/>
        <a:lstStyle/>
        <a:p>
          <a:endParaRPr lang="fr-FR"/>
        </a:p>
      </dgm:t>
    </dgm:pt>
    <dgm:pt modelId="{93A12A46-86C6-479A-A261-1E2E02A031CD}" type="sibTrans" cxnId="{5F7FDA0C-30DF-463B-BD00-DECB6D55BB52}">
      <dgm:prSet/>
      <dgm:spPr/>
      <dgm:t>
        <a:bodyPr/>
        <a:lstStyle/>
        <a:p>
          <a:endParaRPr lang="fr-FR"/>
        </a:p>
      </dgm:t>
    </dgm:pt>
    <dgm:pt modelId="{6069496B-8776-48CA-939B-BC968D2AEEEB}">
      <dgm:prSet custT="1"/>
      <dgm:spPr/>
      <dgm:t>
        <a:bodyPr/>
        <a:lstStyle/>
        <a:p>
          <a:r>
            <a:rPr lang="fr-FR" sz="1400" dirty="0"/>
            <a:t>Contacter Fournisseurs homologués </a:t>
          </a:r>
          <a:endParaRPr lang="fr-FR" sz="1000" dirty="0"/>
        </a:p>
      </dgm:t>
    </dgm:pt>
    <dgm:pt modelId="{2886B331-B294-43AA-A750-0B30E67A80A3}" type="parTrans" cxnId="{36A60D84-5E4D-4FF6-85B8-2FD1AE8D580A}">
      <dgm:prSet/>
      <dgm:spPr/>
      <dgm:t>
        <a:bodyPr/>
        <a:lstStyle/>
        <a:p>
          <a:endParaRPr lang="fr-FR"/>
        </a:p>
      </dgm:t>
    </dgm:pt>
    <dgm:pt modelId="{7D6D79BF-9911-45FA-A5DE-21A12EBCF37F}" type="sibTrans" cxnId="{36A60D84-5E4D-4FF6-85B8-2FD1AE8D580A}">
      <dgm:prSet/>
      <dgm:spPr/>
      <dgm:t>
        <a:bodyPr/>
        <a:lstStyle/>
        <a:p>
          <a:endParaRPr lang="fr-FR"/>
        </a:p>
      </dgm:t>
    </dgm:pt>
    <dgm:pt modelId="{98C1F4D2-52D7-4C54-920B-5594007A1A42}">
      <dgm:prSet custT="1"/>
      <dgm:spPr/>
      <dgm:t>
        <a:bodyPr/>
        <a:lstStyle/>
        <a:p>
          <a:r>
            <a:rPr lang="fr-FR" sz="1600" dirty="0" err="1"/>
            <a:t>Envoye</a:t>
          </a:r>
          <a:r>
            <a:rPr lang="fr-FR" sz="1600" dirty="0"/>
            <a:t> le BC </a:t>
          </a:r>
        </a:p>
      </dgm:t>
    </dgm:pt>
    <dgm:pt modelId="{CDEEC057-36E9-472F-96E7-5FAE7590BA9D}" type="parTrans" cxnId="{3E4794A6-27CD-4AF4-A19F-B713B333029A}">
      <dgm:prSet/>
      <dgm:spPr/>
      <dgm:t>
        <a:bodyPr/>
        <a:lstStyle/>
        <a:p>
          <a:endParaRPr lang="fr-FR"/>
        </a:p>
      </dgm:t>
    </dgm:pt>
    <dgm:pt modelId="{507A2B66-4A1D-40D7-9136-56E75263A2D4}" type="sibTrans" cxnId="{3E4794A6-27CD-4AF4-A19F-B713B333029A}">
      <dgm:prSet/>
      <dgm:spPr/>
      <dgm:t>
        <a:bodyPr/>
        <a:lstStyle/>
        <a:p>
          <a:endParaRPr lang="fr-FR"/>
        </a:p>
      </dgm:t>
    </dgm:pt>
    <dgm:pt modelId="{06806E38-E4B2-486A-BDCB-CB6A0D680F07}">
      <dgm:prSet custT="1"/>
      <dgm:spPr/>
      <dgm:t>
        <a:bodyPr/>
        <a:lstStyle/>
        <a:p>
          <a:r>
            <a:rPr lang="fr-FR" sz="1300" dirty="0"/>
            <a:t>L’accusé de la réception </a:t>
          </a:r>
        </a:p>
      </dgm:t>
    </dgm:pt>
    <dgm:pt modelId="{E1AFFF06-B8A2-4F3C-A576-C9A8C5D16E70}" type="parTrans" cxnId="{B7C7F4C9-A50B-4040-AC1F-9D11C56EA12E}">
      <dgm:prSet/>
      <dgm:spPr/>
      <dgm:t>
        <a:bodyPr/>
        <a:lstStyle/>
        <a:p>
          <a:endParaRPr lang="fr-FR"/>
        </a:p>
      </dgm:t>
    </dgm:pt>
    <dgm:pt modelId="{C1B1DB59-7EC9-47A8-B23D-018BC8D6680D}" type="sibTrans" cxnId="{B7C7F4C9-A50B-4040-AC1F-9D11C56EA12E}">
      <dgm:prSet/>
      <dgm:spPr/>
      <dgm:t>
        <a:bodyPr/>
        <a:lstStyle/>
        <a:p>
          <a:endParaRPr lang="fr-FR"/>
        </a:p>
      </dgm:t>
    </dgm:pt>
    <dgm:pt modelId="{0CCCE46B-54AD-4585-8D0C-6DF9508166FF}">
      <dgm:prSet custT="1"/>
      <dgm:spPr/>
      <dgm:t>
        <a:bodyPr/>
        <a:lstStyle/>
        <a:p>
          <a:r>
            <a:rPr lang="fr-FR" sz="1400" dirty="0"/>
            <a:t>Réception du besoin  (délai) livraison  </a:t>
          </a:r>
        </a:p>
      </dgm:t>
    </dgm:pt>
    <dgm:pt modelId="{ECADBB4A-958E-4D20-A6D9-5035214B0591}" type="parTrans" cxnId="{8553E1EB-C121-4960-BF00-039F0F85481F}">
      <dgm:prSet/>
      <dgm:spPr/>
      <dgm:t>
        <a:bodyPr/>
        <a:lstStyle/>
        <a:p>
          <a:endParaRPr lang="fr-FR"/>
        </a:p>
      </dgm:t>
    </dgm:pt>
    <dgm:pt modelId="{6DEB943C-6568-4AF9-86CF-4D5617FCCDEF}" type="sibTrans" cxnId="{8553E1EB-C121-4960-BF00-039F0F85481F}">
      <dgm:prSet/>
      <dgm:spPr/>
      <dgm:t>
        <a:bodyPr/>
        <a:lstStyle/>
        <a:p>
          <a:endParaRPr lang="fr-FR"/>
        </a:p>
      </dgm:t>
    </dgm:pt>
    <dgm:pt modelId="{B28CEA2A-1511-4671-B8E7-E08787B2F2B6}">
      <dgm:prSet custT="1"/>
      <dgm:spPr>
        <a:solidFill>
          <a:srgbClr val="F47A74"/>
        </a:solidFill>
      </dgm:spPr>
      <dgm:t>
        <a:bodyPr/>
        <a:lstStyle/>
        <a:p>
          <a:r>
            <a:rPr lang="fr-FR" sz="1400" dirty="0"/>
            <a:t>évaluation des fournisseurs  </a:t>
          </a:r>
        </a:p>
      </dgm:t>
    </dgm:pt>
    <dgm:pt modelId="{1F8DCC86-9F13-4661-97A5-3D25CBD87070}" type="parTrans" cxnId="{3FECAE10-CBCD-41F2-AAA9-828EF1EBDF8B}">
      <dgm:prSet/>
      <dgm:spPr/>
      <dgm:t>
        <a:bodyPr/>
        <a:lstStyle/>
        <a:p>
          <a:endParaRPr lang="fr-FR"/>
        </a:p>
      </dgm:t>
    </dgm:pt>
    <dgm:pt modelId="{A3483682-0F66-4DEA-A1AF-5F2B9B951F0B}" type="sibTrans" cxnId="{3FECAE10-CBCD-41F2-AAA9-828EF1EBDF8B}">
      <dgm:prSet/>
      <dgm:spPr/>
      <dgm:t>
        <a:bodyPr/>
        <a:lstStyle/>
        <a:p>
          <a:endParaRPr lang="fr-FR"/>
        </a:p>
      </dgm:t>
    </dgm:pt>
    <dgm:pt modelId="{DBF8793D-E2C9-445B-B49A-CD00F84BC960}">
      <dgm:prSet custT="1"/>
      <dgm:spPr/>
      <dgm:t>
        <a:bodyPr/>
        <a:lstStyle/>
        <a:p>
          <a:r>
            <a:rPr lang="fr-FR" sz="1200"/>
            <a:t>Le paiement des fournisseurs  </a:t>
          </a:r>
        </a:p>
      </dgm:t>
    </dgm:pt>
    <dgm:pt modelId="{F767AACF-F061-4DDA-869F-1B087D304F1B}" type="parTrans" cxnId="{680EA480-167D-4828-9B24-0D96B18ED3F5}">
      <dgm:prSet/>
      <dgm:spPr/>
      <dgm:t>
        <a:bodyPr/>
        <a:lstStyle/>
        <a:p>
          <a:endParaRPr lang="fr-FR"/>
        </a:p>
      </dgm:t>
    </dgm:pt>
    <dgm:pt modelId="{4886577A-3D84-40BF-AD87-E6378904A997}" type="sibTrans" cxnId="{680EA480-167D-4828-9B24-0D96B18ED3F5}">
      <dgm:prSet/>
      <dgm:spPr/>
      <dgm:t>
        <a:bodyPr/>
        <a:lstStyle/>
        <a:p>
          <a:endParaRPr lang="fr-FR"/>
        </a:p>
      </dgm:t>
    </dgm:pt>
    <dgm:pt modelId="{443EAC8F-40BC-4676-BB54-2B0A83D1ACA7}">
      <dgm:prSet custT="1"/>
      <dgm:spPr/>
      <dgm:t>
        <a:bodyPr/>
        <a:lstStyle/>
        <a:p>
          <a:r>
            <a:rPr lang="fr-FR" sz="1300"/>
            <a:t>convertir la demande d’achats en BC</a:t>
          </a:r>
        </a:p>
      </dgm:t>
    </dgm:pt>
    <dgm:pt modelId="{281160AD-60E1-4E93-B6FE-B67976862174}" type="parTrans" cxnId="{C263EE9D-B3EB-494A-BF91-7B4ACE506EC4}">
      <dgm:prSet/>
      <dgm:spPr/>
      <dgm:t>
        <a:bodyPr/>
        <a:lstStyle/>
        <a:p>
          <a:endParaRPr lang="fr-FR"/>
        </a:p>
      </dgm:t>
    </dgm:pt>
    <dgm:pt modelId="{D558D5CA-16BA-4A5B-9108-A3E919241830}" type="sibTrans" cxnId="{C263EE9D-B3EB-494A-BF91-7B4ACE506EC4}">
      <dgm:prSet/>
      <dgm:spPr/>
      <dgm:t>
        <a:bodyPr/>
        <a:lstStyle/>
        <a:p>
          <a:endParaRPr lang="fr-FR"/>
        </a:p>
      </dgm:t>
    </dgm:pt>
    <dgm:pt modelId="{CA0DDF31-562C-464D-B6D6-D724D98AF210}" type="pres">
      <dgm:prSet presAssocID="{10A38AE3-1CB8-4EAE-8D58-EB184EB94E46}" presName="Name0" presStyleCnt="0">
        <dgm:presLayoutVars>
          <dgm:dir/>
          <dgm:animOne val="branch"/>
          <dgm:animLvl val="lvl"/>
        </dgm:presLayoutVars>
      </dgm:prSet>
      <dgm:spPr/>
    </dgm:pt>
    <dgm:pt modelId="{FE151CB4-BA6A-4F79-9938-C2D064DA77BA}" type="pres">
      <dgm:prSet presAssocID="{0E98B462-D235-4615-9D85-8C1829147FDF}" presName="chaos" presStyleCnt="0"/>
      <dgm:spPr/>
    </dgm:pt>
    <dgm:pt modelId="{0629963C-3C84-463E-8E24-5654E246F02D}" type="pres">
      <dgm:prSet presAssocID="{0E98B462-D235-4615-9D85-8C1829147FDF}" presName="parTx1" presStyleLbl="revTx" presStyleIdx="0" presStyleCnt="7" custScaleY="192915" custLinFactNeighborY="7580"/>
      <dgm:spPr/>
    </dgm:pt>
    <dgm:pt modelId="{24DA0200-618A-4F84-9BBC-8DD103A1E7E9}" type="pres">
      <dgm:prSet presAssocID="{0E98B462-D235-4615-9D85-8C1829147FDF}" presName="c1" presStyleLbl="node1" presStyleIdx="0" presStyleCnt="19"/>
      <dgm:spPr/>
    </dgm:pt>
    <dgm:pt modelId="{AC4BFDB7-D1EF-493E-B840-8A2C4595E38B}" type="pres">
      <dgm:prSet presAssocID="{0E98B462-D235-4615-9D85-8C1829147FDF}" presName="c2" presStyleLbl="node1" presStyleIdx="1" presStyleCnt="19"/>
      <dgm:spPr/>
    </dgm:pt>
    <dgm:pt modelId="{19CFC7EC-C4E1-4B29-95A9-220C475F49B7}" type="pres">
      <dgm:prSet presAssocID="{0E98B462-D235-4615-9D85-8C1829147FDF}" presName="c3" presStyleLbl="node1" presStyleIdx="2" presStyleCnt="19"/>
      <dgm:spPr/>
    </dgm:pt>
    <dgm:pt modelId="{1FCC5E75-616A-4862-9DD7-1D81D771C528}" type="pres">
      <dgm:prSet presAssocID="{0E98B462-D235-4615-9D85-8C1829147FDF}" presName="c4" presStyleLbl="node1" presStyleIdx="3" presStyleCnt="19"/>
      <dgm:spPr/>
    </dgm:pt>
    <dgm:pt modelId="{0C20AB59-EBEA-4AA0-9203-B1FBEC32D37F}" type="pres">
      <dgm:prSet presAssocID="{0E98B462-D235-4615-9D85-8C1829147FDF}" presName="c5" presStyleLbl="node1" presStyleIdx="4" presStyleCnt="19"/>
      <dgm:spPr/>
    </dgm:pt>
    <dgm:pt modelId="{EAB0AF25-EB3B-43E3-8595-75575C9EFB34}" type="pres">
      <dgm:prSet presAssocID="{0E98B462-D235-4615-9D85-8C1829147FDF}" presName="c6" presStyleLbl="node1" presStyleIdx="5" presStyleCnt="19"/>
      <dgm:spPr/>
    </dgm:pt>
    <dgm:pt modelId="{BD16AD9A-DE27-48FD-96C0-CC7C2D3D43B6}" type="pres">
      <dgm:prSet presAssocID="{0E98B462-D235-4615-9D85-8C1829147FDF}" presName="c7" presStyleLbl="node1" presStyleIdx="6" presStyleCnt="19"/>
      <dgm:spPr/>
    </dgm:pt>
    <dgm:pt modelId="{0D420DFE-6DD9-4D78-95CE-7070370AA761}" type="pres">
      <dgm:prSet presAssocID="{0E98B462-D235-4615-9D85-8C1829147FDF}" presName="c8" presStyleLbl="node1" presStyleIdx="7" presStyleCnt="19"/>
      <dgm:spPr/>
    </dgm:pt>
    <dgm:pt modelId="{8B1BF3E3-FF07-42F3-A014-501592D9814C}" type="pres">
      <dgm:prSet presAssocID="{0E98B462-D235-4615-9D85-8C1829147FDF}" presName="c9" presStyleLbl="node1" presStyleIdx="8" presStyleCnt="19"/>
      <dgm:spPr/>
    </dgm:pt>
    <dgm:pt modelId="{0210DFE2-163B-47C1-B3D8-EDC4FE99E0FB}" type="pres">
      <dgm:prSet presAssocID="{0E98B462-D235-4615-9D85-8C1829147FDF}" presName="c10" presStyleLbl="node1" presStyleIdx="9" presStyleCnt="19"/>
      <dgm:spPr/>
    </dgm:pt>
    <dgm:pt modelId="{61E5186A-31D4-49DD-8AA3-97F578FE8C8D}" type="pres">
      <dgm:prSet presAssocID="{0E98B462-D235-4615-9D85-8C1829147FDF}" presName="c11" presStyleLbl="node1" presStyleIdx="10" presStyleCnt="19"/>
      <dgm:spPr/>
    </dgm:pt>
    <dgm:pt modelId="{CF3B2B2A-29ED-46A6-B412-1CD0FD073781}" type="pres">
      <dgm:prSet presAssocID="{0E98B462-D235-4615-9D85-8C1829147FDF}" presName="c12" presStyleLbl="node1" presStyleIdx="11" presStyleCnt="19"/>
      <dgm:spPr/>
    </dgm:pt>
    <dgm:pt modelId="{64A0D867-E557-4692-BAD4-DA4E63A865B9}" type="pres">
      <dgm:prSet presAssocID="{0E98B462-D235-4615-9D85-8C1829147FDF}" presName="c13" presStyleLbl="node1" presStyleIdx="12" presStyleCnt="19"/>
      <dgm:spPr/>
    </dgm:pt>
    <dgm:pt modelId="{BF550313-1188-4002-A884-F78420EB3378}" type="pres">
      <dgm:prSet presAssocID="{0E98B462-D235-4615-9D85-8C1829147FDF}" presName="c14" presStyleLbl="node1" presStyleIdx="13" presStyleCnt="19"/>
      <dgm:spPr/>
    </dgm:pt>
    <dgm:pt modelId="{9CBE1CD3-6F9C-4183-8CF6-CCFA5BD5E3FF}" type="pres">
      <dgm:prSet presAssocID="{0E98B462-D235-4615-9D85-8C1829147FDF}" presName="c15" presStyleLbl="node1" presStyleIdx="14" presStyleCnt="19"/>
      <dgm:spPr/>
    </dgm:pt>
    <dgm:pt modelId="{D386EF96-83F5-4206-9EAE-5E01BC10C642}" type="pres">
      <dgm:prSet presAssocID="{0E98B462-D235-4615-9D85-8C1829147FDF}" presName="c16" presStyleLbl="node1" presStyleIdx="15" presStyleCnt="19"/>
      <dgm:spPr/>
    </dgm:pt>
    <dgm:pt modelId="{1618E5B0-D839-47F3-8A60-DAC7271AACF9}" type="pres">
      <dgm:prSet presAssocID="{0E98B462-D235-4615-9D85-8C1829147FDF}" presName="c17" presStyleLbl="node1" presStyleIdx="16" presStyleCnt="19"/>
      <dgm:spPr/>
    </dgm:pt>
    <dgm:pt modelId="{3D09874F-9FB9-487C-9A15-7098CC8A001C}" type="pres">
      <dgm:prSet presAssocID="{0E98B462-D235-4615-9D85-8C1829147FDF}" presName="c18" presStyleLbl="node1" presStyleIdx="17" presStyleCnt="19"/>
      <dgm:spPr/>
    </dgm:pt>
    <dgm:pt modelId="{3CF7D12F-8AF5-426B-9A2C-93FBEDF2D42D}" type="pres">
      <dgm:prSet presAssocID="{93A12A46-86C6-479A-A261-1E2E02A031CD}" presName="chevronComposite1" presStyleCnt="0"/>
      <dgm:spPr/>
    </dgm:pt>
    <dgm:pt modelId="{80E8FC29-AE77-4A33-B56E-0F71C3DCEAAC}" type="pres">
      <dgm:prSet presAssocID="{93A12A46-86C6-479A-A261-1E2E02A031CD}" presName="chevron1" presStyleLbl="sibTrans2D1" presStyleIdx="0" presStyleCnt="6"/>
      <dgm:spPr/>
    </dgm:pt>
    <dgm:pt modelId="{16BE92C4-4C35-4790-B891-9EE5409966DF}" type="pres">
      <dgm:prSet presAssocID="{93A12A46-86C6-479A-A261-1E2E02A031CD}" presName="spChevron1" presStyleCnt="0"/>
      <dgm:spPr/>
    </dgm:pt>
    <dgm:pt modelId="{2652693B-CF6E-427F-B29B-597EEBD9C267}" type="pres">
      <dgm:prSet presAssocID="{6069496B-8776-48CA-939B-BC968D2AEEEB}" presName="middle" presStyleCnt="0"/>
      <dgm:spPr/>
    </dgm:pt>
    <dgm:pt modelId="{7A990141-55E1-48E2-9189-CEAE96152485}" type="pres">
      <dgm:prSet presAssocID="{6069496B-8776-48CA-939B-BC968D2AEEEB}" presName="parTxMid" presStyleLbl="revTx" presStyleIdx="1" presStyleCnt="7" custScaleX="100709"/>
      <dgm:spPr/>
    </dgm:pt>
    <dgm:pt modelId="{1A94B667-008B-4CB5-B8C6-EC0C904D8957}" type="pres">
      <dgm:prSet presAssocID="{6069496B-8776-48CA-939B-BC968D2AEEEB}" presName="spMid" presStyleCnt="0"/>
      <dgm:spPr/>
    </dgm:pt>
    <dgm:pt modelId="{95E257B8-599D-4F76-AA6E-82764592C25F}" type="pres">
      <dgm:prSet presAssocID="{7D6D79BF-9911-45FA-A5DE-21A12EBCF37F}" presName="chevronComposite1" presStyleCnt="0"/>
      <dgm:spPr/>
    </dgm:pt>
    <dgm:pt modelId="{35D5390D-A359-46FE-82F5-B6EFA0606E54}" type="pres">
      <dgm:prSet presAssocID="{7D6D79BF-9911-45FA-A5DE-21A12EBCF37F}" presName="chevron1" presStyleLbl="sibTrans2D1" presStyleIdx="1" presStyleCnt="6"/>
      <dgm:spPr/>
    </dgm:pt>
    <dgm:pt modelId="{8A1E15A9-5335-4967-BF4E-E42F13C7D493}" type="pres">
      <dgm:prSet presAssocID="{7D6D79BF-9911-45FA-A5DE-21A12EBCF37F}" presName="spChevron1" presStyleCnt="0"/>
      <dgm:spPr/>
    </dgm:pt>
    <dgm:pt modelId="{3BF0B6AA-1BCB-46FC-ACED-6E63079B7F29}" type="pres">
      <dgm:prSet presAssocID="{98C1F4D2-52D7-4C54-920B-5594007A1A42}" presName="middle" presStyleCnt="0"/>
      <dgm:spPr/>
    </dgm:pt>
    <dgm:pt modelId="{0F52008E-5119-47A9-8682-767DAC0FFBEF}" type="pres">
      <dgm:prSet presAssocID="{98C1F4D2-52D7-4C54-920B-5594007A1A42}" presName="parTxMid" presStyleLbl="revTx" presStyleIdx="2" presStyleCnt="7" custScaleX="74450"/>
      <dgm:spPr/>
    </dgm:pt>
    <dgm:pt modelId="{0DB67931-F586-4318-ACB5-4115F742ED1D}" type="pres">
      <dgm:prSet presAssocID="{98C1F4D2-52D7-4C54-920B-5594007A1A42}" presName="desTxMid" presStyleLbl="revTx" presStyleIdx="3" presStyleCnt="7">
        <dgm:presLayoutVars>
          <dgm:bulletEnabled val="1"/>
        </dgm:presLayoutVars>
      </dgm:prSet>
      <dgm:spPr/>
    </dgm:pt>
    <dgm:pt modelId="{F48A38EB-D6C5-47DC-9A5E-4F4DAF33F9CF}" type="pres">
      <dgm:prSet presAssocID="{98C1F4D2-52D7-4C54-920B-5594007A1A42}" presName="spMid" presStyleCnt="0"/>
      <dgm:spPr/>
    </dgm:pt>
    <dgm:pt modelId="{DBDC7AAF-A69C-454E-AD17-B9C718BC1598}" type="pres">
      <dgm:prSet presAssocID="{507A2B66-4A1D-40D7-9136-56E75263A2D4}" presName="chevronComposite1" presStyleCnt="0"/>
      <dgm:spPr/>
    </dgm:pt>
    <dgm:pt modelId="{03238CFE-23FE-4D0D-A051-3C5FAE39DF8C}" type="pres">
      <dgm:prSet presAssocID="{507A2B66-4A1D-40D7-9136-56E75263A2D4}" presName="chevron1" presStyleLbl="sibTrans2D1" presStyleIdx="2" presStyleCnt="6"/>
      <dgm:spPr/>
    </dgm:pt>
    <dgm:pt modelId="{7B93BCF7-4E11-4AFA-996B-9508C6A2F044}" type="pres">
      <dgm:prSet presAssocID="{507A2B66-4A1D-40D7-9136-56E75263A2D4}" presName="spChevron1" presStyleCnt="0"/>
      <dgm:spPr/>
    </dgm:pt>
    <dgm:pt modelId="{985EBF26-ABAC-4C65-AC2F-AC4C9F8B4506}" type="pres">
      <dgm:prSet presAssocID="{06806E38-E4B2-486A-BDCB-CB6A0D680F07}" presName="middle" presStyleCnt="0"/>
      <dgm:spPr/>
    </dgm:pt>
    <dgm:pt modelId="{3ACFB101-D7C5-4C6E-AA8F-0D392FFB9E74}" type="pres">
      <dgm:prSet presAssocID="{06806E38-E4B2-486A-BDCB-CB6A0D680F07}" presName="parTxMid" presStyleLbl="revTx" presStyleIdx="4" presStyleCnt="7"/>
      <dgm:spPr/>
    </dgm:pt>
    <dgm:pt modelId="{793C8381-9CDA-4DAD-81C2-C4303BB384A4}" type="pres">
      <dgm:prSet presAssocID="{06806E38-E4B2-486A-BDCB-CB6A0D680F07}" presName="spMid" presStyleCnt="0"/>
      <dgm:spPr/>
    </dgm:pt>
    <dgm:pt modelId="{F3BD7E05-E2D8-4FA0-98E8-B85237C28E3F}" type="pres">
      <dgm:prSet presAssocID="{C1B1DB59-7EC9-47A8-B23D-018BC8D6680D}" presName="chevronComposite1" presStyleCnt="0"/>
      <dgm:spPr/>
    </dgm:pt>
    <dgm:pt modelId="{DDC77370-E7D4-4E62-BF8F-7C8FE1EC48BA}" type="pres">
      <dgm:prSet presAssocID="{C1B1DB59-7EC9-47A8-B23D-018BC8D6680D}" presName="chevron1" presStyleLbl="sibTrans2D1" presStyleIdx="3" presStyleCnt="6"/>
      <dgm:spPr/>
    </dgm:pt>
    <dgm:pt modelId="{66F26C8F-DC98-4288-A878-7D32627BEFBC}" type="pres">
      <dgm:prSet presAssocID="{C1B1DB59-7EC9-47A8-B23D-018BC8D6680D}" presName="spChevron1" presStyleCnt="0"/>
      <dgm:spPr/>
    </dgm:pt>
    <dgm:pt modelId="{41F95C21-3C1D-4421-BD66-4403CC6C4403}" type="pres">
      <dgm:prSet presAssocID="{0CCCE46B-54AD-4585-8D0C-6DF9508166FF}" presName="middle" presStyleCnt="0"/>
      <dgm:spPr/>
    </dgm:pt>
    <dgm:pt modelId="{D1DEAF04-B933-4123-A1C1-4948327F73E1}" type="pres">
      <dgm:prSet presAssocID="{0CCCE46B-54AD-4585-8D0C-6DF9508166FF}" presName="parTxMid" presStyleLbl="revTx" presStyleIdx="5" presStyleCnt="7"/>
      <dgm:spPr/>
    </dgm:pt>
    <dgm:pt modelId="{4D3E5036-D12C-4634-8660-545796B4CFA2}" type="pres">
      <dgm:prSet presAssocID="{0CCCE46B-54AD-4585-8D0C-6DF9508166FF}" presName="spMid" presStyleCnt="0"/>
      <dgm:spPr/>
    </dgm:pt>
    <dgm:pt modelId="{D2846055-1022-4B30-A94E-1EE74538EFBF}" type="pres">
      <dgm:prSet presAssocID="{6DEB943C-6568-4AF9-86CF-4D5617FCCDEF}" presName="chevronComposite1" presStyleCnt="0"/>
      <dgm:spPr/>
    </dgm:pt>
    <dgm:pt modelId="{5189E095-9CEF-4E05-8A27-7083A6C91CFB}" type="pres">
      <dgm:prSet presAssocID="{6DEB943C-6568-4AF9-86CF-4D5617FCCDEF}" presName="chevron1" presStyleLbl="sibTrans2D1" presStyleIdx="4" presStyleCnt="6"/>
      <dgm:spPr/>
    </dgm:pt>
    <dgm:pt modelId="{61173916-274C-4B95-8210-3809A765DE68}" type="pres">
      <dgm:prSet presAssocID="{6DEB943C-6568-4AF9-86CF-4D5617FCCDEF}" presName="spChevron1" presStyleCnt="0"/>
      <dgm:spPr/>
    </dgm:pt>
    <dgm:pt modelId="{1BE9FBE5-A206-40E5-B339-DADDAEBC04FF}" type="pres">
      <dgm:prSet presAssocID="{B28CEA2A-1511-4671-B8E7-E08787B2F2B6}" presName="middle" presStyleCnt="0"/>
      <dgm:spPr/>
    </dgm:pt>
    <dgm:pt modelId="{68C37385-5C5B-447A-9DDF-C906469C6C47}" type="pres">
      <dgm:prSet presAssocID="{B28CEA2A-1511-4671-B8E7-E08787B2F2B6}" presName="parTxMid" presStyleLbl="revTx" presStyleIdx="6" presStyleCnt="7"/>
      <dgm:spPr/>
    </dgm:pt>
    <dgm:pt modelId="{A3DD1690-7BB9-4E55-AE35-1BA8A34B8C70}" type="pres">
      <dgm:prSet presAssocID="{B28CEA2A-1511-4671-B8E7-E08787B2F2B6}" presName="spMid" presStyleCnt="0"/>
      <dgm:spPr/>
    </dgm:pt>
    <dgm:pt modelId="{11BD9DF0-8557-4FC5-BC34-0070B5311E96}" type="pres">
      <dgm:prSet presAssocID="{A3483682-0F66-4DEA-A1AF-5F2B9B951F0B}" presName="chevronComposite1" presStyleCnt="0"/>
      <dgm:spPr/>
    </dgm:pt>
    <dgm:pt modelId="{06E0440A-4730-4998-899D-31E958B986CA}" type="pres">
      <dgm:prSet presAssocID="{A3483682-0F66-4DEA-A1AF-5F2B9B951F0B}" presName="chevron1" presStyleLbl="sibTrans2D1" presStyleIdx="5" presStyleCnt="6"/>
      <dgm:spPr/>
    </dgm:pt>
    <dgm:pt modelId="{7D3C3F25-D0ED-4017-BE7C-5C7D557399B2}" type="pres">
      <dgm:prSet presAssocID="{A3483682-0F66-4DEA-A1AF-5F2B9B951F0B}" presName="spChevron1" presStyleCnt="0"/>
      <dgm:spPr/>
    </dgm:pt>
    <dgm:pt modelId="{A8F0D7FF-A331-4504-AA78-3D427775751E}" type="pres">
      <dgm:prSet presAssocID="{DBF8793D-E2C9-445B-B49A-CD00F84BC960}" presName="last" presStyleCnt="0"/>
      <dgm:spPr/>
    </dgm:pt>
    <dgm:pt modelId="{44C8A558-501C-427B-A9E9-5A1532EF386C}" type="pres">
      <dgm:prSet presAssocID="{DBF8793D-E2C9-445B-B49A-CD00F84BC960}" presName="circleTx" presStyleLbl="node1" presStyleIdx="18" presStyleCnt="19" custScaleX="138873"/>
      <dgm:spPr/>
    </dgm:pt>
    <dgm:pt modelId="{7DE2834B-52F6-4956-978D-7BCBFA18EBB6}" type="pres">
      <dgm:prSet presAssocID="{DBF8793D-E2C9-445B-B49A-CD00F84BC960}" presName="spN" presStyleCnt="0"/>
      <dgm:spPr/>
    </dgm:pt>
  </dgm:ptLst>
  <dgm:cxnLst>
    <dgm:cxn modelId="{DF279D01-628D-426A-B951-11ADE0105326}" type="presOf" srcId="{98C1F4D2-52D7-4C54-920B-5594007A1A42}" destId="{0F52008E-5119-47A9-8682-767DAC0FFBEF}" srcOrd="0" destOrd="0" presId="urn:microsoft.com/office/officeart/2009/3/layout/RandomtoResultProcess"/>
    <dgm:cxn modelId="{5F7FDA0C-30DF-463B-BD00-DECB6D55BB52}" srcId="{10A38AE3-1CB8-4EAE-8D58-EB184EB94E46}" destId="{0E98B462-D235-4615-9D85-8C1829147FDF}" srcOrd="0" destOrd="0" parTransId="{45DA82DC-2D2B-48D5-8E73-9272E7E88F12}" sibTransId="{93A12A46-86C6-479A-A261-1E2E02A031CD}"/>
    <dgm:cxn modelId="{3FECAE10-CBCD-41F2-AAA9-828EF1EBDF8B}" srcId="{10A38AE3-1CB8-4EAE-8D58-EB184EB94E46}" destId="{B28CEA2A-1511-4671-B8E7-E08787B2F2B6}" srcOrd="5" destOrd="0" parTransId="{1F8DCC86-9F13-4661-97A5-3D25CBD87070}" sibTransId="{A3483682-0F66-4DEA-A1AF-5F2B9B951F0B}"/>
    <dgm:cxn modelId="{AD40A522-F7C7-4785-B39D-06F6CA086AB5}" type="presOf" srcId="{443EAC8F-40BC-4676-BB54-2B0A83D1ACA7}" destId="{0DB67931-F586-4318-ACB5-4115F742ED1D}" srcOrd="0" destOrd="0" presId="urn:microsoft.com/office/officeart/2009/3/layout/RandomtoResultProcess"/>
    <dgm:cxn modelId="{65B7A044-F93D-472B-9F51-75FE16738723}" type="presOf" srcId="{DBF8793D-E2C9-445B-B49A-CD00F84BC960}" destId="{44C8A558-501C-427B-A9E9-5A1532EF386C}" srcOrd="0" destOrd="0" presId="urn:microsoft.com/office/officeart/2009/3/layout/RandomtoResultProcess"/>
    <dgm:cxn modelId="{38800D6C-DE4F-40C0-880A-CAC3D61E01C6}" type="presOf" srcId="{10A38AE3-1CB8-4EAE-8D58-EB184EB94E46}" destId="{CA0DDF31-562C-464D-B6D6-D724D98AF210}" srcOrd="0" destOrd="0" presId="urn:microsoft.com/office/officeart/2009/3/layout/RandomtoResultProcess"/>
    <dgm:cxn modelId="{4DD74175-19D8-4068-B895-F5C5D9425885}" type="presOf" srcId="{6069496B-8776-48CA-939B-BC968D2AEEEB}" destId="{7A990141-55E1-48E2-9189-CEAE96152485}" srcOrd="0" destOrd="0" presId="urn:microsoft.com/office/officeart/2009/3/layout/RandomtoResultProcess"/>
    <dgm:cxn modelId="{28E44259-92A2-495F-A285-701E39F1616A}" type="presOf" srcId="{0E98B462-D235-4615-9D85-8C1829147FDF}" destId="{0629963C-3C84-463E-8E24-5654E246F02D}" srcOrd="0" destOrd="0" presId="urn:microsoft.com/office/officeart/2009/3/layout/RandomtoResultProcess"/>
    <dgm:cxn modelId="{680EA480-167D-4828-9B24-0D96B18ED3F5}" srcId="{10A38AE3-1CB8-4EAE-8D58-EB184EB94E46}" destId="{DBF8793D-E2C9-445B-B49A-CD00F84BC960}" srcOrd="6" destOrd="0" parTransId="{F767AACF-F061-4DDA-869F-1B087D304F1B}" sibTransId="{4886577A-3D84-40BF-AD87-E6378904A997}"/>
    <dgm:cxn modelId="{36A60D84-5E4D-4FF6-85B8-2FD1AE8D580A}" srcId="{10A38AE3-1CB8-4EAE-8D58-EB184EB94E46}" destId="{6069496B-8776-48CA-939B-BC968D2AEEEB}" srcOrd="1" destOrd="0" parTransId="{2886B331-B294-43AA-A750-0B30E67A80A3}" sibTransId="{7D6D79BF-9911-45FA-A5DE-21A12EBCF37F}"/>
    <dgm:cxn modelId="{6E0D838D-EE78-4AD8-B883-B0784739335B}" type="presOf" srcId="{B28CEA2A-1511-4671-B8E7-E08787B2F2B6}" destId="{68C37385-5C5B-447A-9DDF-C906469C6C47}" srcOrd="0" destOrd="0" presId="urn:microsoft.com/office/officeart/2009/3/layout/RandomtoResultProcess"/>
    <dgm:cxn modelId="{2A347194-3D34-4B91-B2B5-E53DE4CED5BA}" type="presOf" srcId="{06806E38-E4B2-486A-BDCB-CB6A0D680F07}" destId="{3ACFB101-D7C5-4C6E-AA8F-0D392FFB9E74}" srcOrd="0" destOrd="0" presId="urn:microsoft.com/office/officeart/2009/3/layout/RandomtoResultProcess"/>
    <dgm:cxn modelId="{C263EE9D-B3EB-494A-BF91-7B4ACE506EC4}" srcId="{98C1F4D2-52D7-4C54-920B-5594007A1A42}" destId="{443EAC8F-40BC-4676-BB54-2B0A83D1ACA7}" srcOrd="0" destOrd="0" parTransId="{281160AD-60E1-4E93-B6FE-B67976862174}" sibTransId="{D558D5CA-16BA-4A5B-9108-A3E919241830}"/>
    <dgm:cxn modelId="{3E4794A6-27CD-4AF4-A19F-B713B333029A}" srcId="{10A38AE3-1CB8-4EAE-8D58-EB184EB94E46}" destId="{98C1F4D2-52D7-4C54-920B-5594007A1A42}" srcOrd="2" destOrd="0" parTransId="{CDEEC057-36E9-472F-96E7-5FAE7590BA9D}" sibTransId="{507A2B66-4A1D-40D7-9136-56E75263A2D4}"/>
    <dgm:cxn modelId="{30C62CB8-EA5E-4D36-89A4-3D258E023DBB}" type="presOf" srcId="{0CCCE46B-54AD-4585-8D0C-6DF9508166FF}" destId="{D1DEAF04-B933-4123-A1C1-4948327F73E1}" srcOrd="0" destOrd="0" presId="urn:microsoft.com/office/officeart/2009/3/layout/RandomtoResultProcess"/>
    <dgm:cxn modelId="{B7C7F4C9-A50B-4040-AC1F-9D11C56EA12E}" srcId="{10A38AE3-1CB8-4EAE-8D58-EB184EB94E46}" destId="{06806E38-E4B2-486A-BDCB-CB6A0D680F07}" srcOrd="3" destOrd="0" parTransId="{E1AFFF06-B8A2-4F3C-A576-C9A8C5D16E70}" sibTransId="{C1B1DB59-7EC9-47A8-B23D-018BC8D6680D}"/>
    <dgm:cxn modelId="{8553E1EB-C121-4960-BF00-039F0F85481F}" srcId="{10A38AE3-1CB8-4EAE-8D58-EB184EB94E46}" destId="{0CCCE46B-54AD-4585-8D0C-6DF9508166FF}" srcOrd="4" destOrd="0" parTransId="{ECADBB4A-958E-4D20-A6D9-5035214B0591}" sibTransId="{6DEB943C-6568-4AF9-86CF-4D5617FCCDEF}"/>
    <dgm:cxn modelId="{2173C0BB-3E9F-4BFF-83D1-9B18F89F3DE7}" type="presParOf" srcId="{CA0DDF31-562C-464D-B6D6-D724D98AF210}" destId="{FE151CB4-BA6A-4F79-9938-C2D064DA77BA}" srcOrd="0" destOrd="0" presId="urn:microsoft.com/office/officeart/2009/3/layout/RandomtoResultProcess"/>
    <dgm:cxn modelId="{20AB2D34-2AFE-4795-8710-C45438658E15}" type="presParOf" srcId="{FE151CB4-BA6A-4F79-9938-C2D064DA77BA}" destId="{0629963C-3C84-463E-8E24-5654E246F02D}" srcOrd="0" destOrd="0" presId="urn:microsoft.com/office/officeart/2009/3/layout/RandomtoResultProcess"/>
    <dgm:cxn modelId="{14C8491B-18EC-43DC-B4DB-11B74717F411}" type="presParOf" srcId="{FE151CB4-BA6A-4F79-9938-C2D064DA77BA}" destId="{24DA0200-618A-4F84-9BBC-8DD103A1E7E9}" srcOrd="1" destOrd="0" presId="urn:microsoft.com/office/officeart/2009/3/layout/RandomtoResultProcess"/>
    <dgm:cxn modelId="{088DC501-CD08-480F-B7F7-C36FD77EED6E}" type="presParOf" srcId="{FE151CB4-BA6A-4F79-9938-C2D064DA77BA}" destId="{AC4BFDB7-D1EF-493E-B840-8A2C4595E38B}" srcOrd="2" destOrd="0" presId="urn:microsoft.com/office/officeart/2009/3/layout/RandomtoResultProcess"/>
    <dgm:cxn modelId="{7AA8C133-44A7-4828-8042-4C9A55229C36}" type="presParOf" srcId="{FE151CB4-BA6A-4F79-9938-C2D064DA77BA}" destId="{19CFC7EC-C4E1-4B29-95A9-220C475F49B7}" srcOrd="3" destOrd="0" presId="urn:microsoft.com/office/officeart/2009/3/layout/RandomtoResultProcess"/>
    <dgm:cxn modelId="{9AE255CD-469C-46F8-BD8B-D91664F0FDB3}" type="presParOf" srcId="{FE151CB4-BA6A-4F79-9938-C2D064DA77BA}" destId="{1FCC5E75-616A-4862-9DD7-1D81D771C528}" srcOrd="4" destOrd="0" presId="urn:microsoft.com/office/officeart/2009/3/layout/RandomtoResultProcess"/>
    <dgm:cxn modelId="{93D0F3B6-8B6A-4E35-BB71-F67F307D8F50}" type="presParOf" srcId="{FE151CB4-BA6A-4F79-9938-C2D064DA77BA}" destId="{0C20AB59-EBEA-4AA0-9203-B1FBEC32D37F}" srcOrd="5" destOrd="0" presId="urn:microsoft.com/office/officeart/2009/3/layout/RandomtoResultProcess"/>
    <dgm:cxn modelId="{C8FD034A-5182-4A68-BAA9-7F2ED8E710DD}" type="presParOf" srcId="{FE151CB4-BA6A-4F79-9938-C2D064DA77BA}" destId="{EAB0AF25-EB3B-43E3-8595-75575C9EFB34}" srcOrd="6" destOrd="0" presId="urn:microsoft.com/office/officeart/2009/3/layout/RandomtoResultProcess"/>
    <dgm:cxn modelId="{C6C321DE-5A76-4C77-B749-E123006A8161}" type="presParOf" srcId="{FE151CB4-BA6A-4F79-9938-C2D064DA77BA}" destId="{BD16AD9A-DE27-48FD-96C0-CC7C2D3D43B6}" srcOrd="7" destOrd="0" presId="urn:microsoft.com/office/officeart/2009/3/layout/RandomtoResultProcess"/>
    <dgm:cxn modelId="{E703C7DC-2F67-4ACA-B9A2-5A5CFE1234B3}" type="presParOf" srcId="{FE151CB4-BA6A-4F79-9938-C2D064DA77BA}" destId="{0D420DFE-6DD9-4D78-95CE-7070370AA761}" srcOrd="8" destOrd="0" presId="urn:microsoft.com/office/officeart/2009/3/layout/RandomtoResultProcess"/>
    <dgm:cxn modelId="{92181F25-9658-4A4F-8D7C-BAA6E1456CCA}" type="presParOf" srcId="{FE151CB4-BA6A-4F79-9938-C2D064DA77BA}" destId="{8B1BF3E3-FF07-42F3-A014-501592D9814C}" srcOrd="9" destOrd="0" presId="urn:microsoft.com/office/officeart/2009/3/layout/RandomtoResultProcess"/>
    <dgm:cxn modelId="{7D359A62-3A20-4F09-9720-EDAD714B89ED}" type="presParOf" srcId="{FE151CB4-BA6A-4F79-9938-C2D064DA77BA}" destId="{0210DFE2-163B-47C1-B3D8-EDC4FE99E0FB}" srcOrd="10" destOrd="0" presId="urn:microsoft.com/office/officeart/2009/3/layout/RandomtoResultProcess"/>
    <dgm:cxn modelId="{262B8EBA-C69F-4E55-B99F-A6800F8B5CA4}" type="presParOf" srcId="{FE151CB4-BA6A-4F79-9938-C2D064DA77BA}" destId="{61E5186A-31D4-49DD-8AA3-97F578FE8C8D}" srcOrd="11" destOrd="0" presId="urn:microsoft.com/office/officeart/2009/3/layout/RandomtoResultProcess"/>
    <dgm:cxn modelId="{B76503B7-C722-4734-B369-A0C7FE4A9075}" type="presParOf" srcId="{FE151CB4-BA6A-4F79-9938-C2D064DA77BA}" destId="{CF3B2B2A-29ED-46A6-B412-1CD0FD073781}" srcOrd="12" destOrd="0" presId="urn:microsoft.com/office/officeart/2009/3/layout/RandomtoResultProcess"/>
    <dgm:cxn modelId="{E59F397F-5B50-49B6-82E9-9CCE7BC745CE}" type="presParOf" srcId="{FE151CB4-BA6A-4F79-9938-C2D064DA77BA}" destId="{64A0D867-E557-4692-BAD4-DA4E63A865B9}" srcOrd="13" destOrd="0" presId="urn:microsoft.com/office/officeart/2009/3/layout/RandomtoResultProcess"/>
    <dgm:cxn modelId="{77AB121C-1082-49D9-AC3E-C4515A0B8846}" type="presParOf" srcId="{FE151CB4-BA6A-4F79-9938-C2D064DA77BA}" destId="{BF550313-1188-4002-A884-F78420EB3378}" srcOrd="14" destOrd="0" presId="urn:microsoft.com/office/officeart/2009/3/layout/RandomtoResultProcess"/>
    <dgm:cxn modelId="{5B7A9D22-B66C-43C2-8550-B24ADFECCC2A}" type="presParOf" srcId="{FE151CB4-BA6A-4F79-9938-C2D064DA77BA}" destId="{9CBE1CD3-6F9C-4183-8CF6-CCFA5BD5E3FF}" srcOrd="15" destOrd="0" presId="urn:microsoft.com/office/officeart/2009/3/layout/RandomtoResultProcess"/>
    <dgm:cxn modelId="{E5F254A1-151E-4BE7-91A1-467EEBF8CAA2}" type="presParOf" srcId="{FE151CB4-BA6A-4F79-9938-C2D064DA77BA}" destId="{D386EF96-83F5-4206-9EAE-5E01BC10C642}" srcOrd="16" destOrd="0" presId="urn:microsoft.com/office/officeart/2009/3/layout/RandomtoResultProcess"/>
    <dgm:cxn modelId="{843AEDFE-BE67-44E2-8486-04D3DE8F9001}" type="presParOf" srcId="{FE151CB4-BA6A-4F79-9938-C2D064DA77BA}" destId="{1618E5B0-D839-47F3-8A60-DAC7271AACF9}" srcOrd="17" destOrd="0" presId="urn:microsoft.com/office/officeart/2009/3/layout/RandomtoResultProcess"/>
    <dgm:cxn modelId="{3C73891F-B373-48F6-934C-4F6E0A424DD1}" type="presParOf" srcId="{FE151CB4-BA6A-4F79-9938-C2D064DA77BA}" destId="{3D09874F-9FB9-487C-9A15-7098CC8A001C}" srcOrd="18" destOrd="0" presId="urn:microsoft.com/office/officeart/2009/3/layout/RandomtoResultProcess"/>
    <dgm:cxn modelId="{B0E1F453-5272-4FA2-A29E-20C18231C5B3}" type="presParOf" srcId="{CA0DDF31-562C-464D-B6D6-D724D98AF210}" destId="{3CF7D12F-8AF5-426B-9A2C-93FBEDF2D42D}" srcOrd="1" destOrd="0" presId="urn:microsoft.com/office/officeart/2009/3/layout/RandomtoResultProcess"/>
    <dgm:cxn modelId="{07CD416B-A818-46D1-BFF3-C89D7A8E4DD6}" type="presParOf" srcId="{3CF7D12F-8AF5-426B-9A2C-93FBEDF2D42D}" destId="{80E8FC29-AE77-4A33-B56E-0F71C3DCEAAC}" srcOrd="0" destOrd="0" presId="urn:microsoft.com/office/officeart/2009/3/layout/RandomtoResultProcess"/>
    <dgm:cxn modelId="{3D556D61-BBC9-45BF-9EB2-D02CDB893AA3}" type="presParOf" srcId="{3CF7D12F-8AF5-426B-9A2C-93FBEDF2D42D}" destId="{16BE92C4-4C35-4790-B891-9EE5409966DF}" srcOrd="1" destOrd="0" presId="urn:microsoft.com/office/officeart/2009/3/layout/RandomtoResultProcess"/>
    <dgm:cxn modelId="{120D4949-EC15-4A45-9A6D-12B2503B4E17}" type="presParOf" srcId="{CA0DDF31-562C-464D-B6D6-D724D98AF210}" destId="{2652693B-CF6E-427F-B29B-597EEBD9C267}" srcOrd="2" destOrd="0" presId="urn:microsoft.com/office/officeart/2009/3/layout/RandomtoResultProcess"/>
    <dgm:cxn modelId="{66BC714E-E5E6-43C8-8CE7-CE64C9A92A69}" type="presParOf" srcId="{2652693B-CF6E-427F-B29B-597EEBD9C267}" destId="{7A990141-55E1-48E2-9189-CEAE96152485}" srcOrd="0" destOrd="0" presId="urn:microsoft.com/office/officeart/2009/3/layout/RandomtoResultProcess"/>
    <dgm:cxn modelId="{83598770-EB31-4C66-9E2D-F3DD01C0039A}" type="presParOf" srcId="{2652693B-CF6E-427F-B29B-597EEBD9C267}" destId="{1A94B667-008B-4CB5-B8C6-EC0C904D8957}" srcOrd="1" destOrd="0" presId="urn:microsoft.com/office/officeart/2009/3/layout/RandomtoResultProcess"/>
    <dgm:cxn modelId="{6FF51BEF-E7D5-4DF7-9D3B-7300E55E92AD}" type="presParOf" srcId="{CA0DDF31-562C-464D-B6D6-D724D98AF210}" destId="{95E257B8-599D-4F76-AA6E-82764592C25F}" srcOrd="3" destOrd="0" presId="urn:microsoft.com/office/officeart/2009/3/layout/RandomtoResultProcess"/>
    <dgm:cxn modelId="{D0935167-927A-4651-9330-2321025236D2}" type="presParOf" srcId="{95E257B8-599D-4F76-AA6E-82764592C25F}" destId="{35D5390D-A359-46FE-82F5-B6EFA0606E54}" srcOrd="0" destOrd="0" presId="urn:microsoft.com/office/officeart/2009/3/layout/RandomtoResultProcess"/>
    <dgm:cxn modelId="{F2C48BB0-ED48-4A82-B62D-57ADC10CC89E}" type="presParOf" srcId="{95E257B8-599D-4F76-AA6E-82764592C25F}" destId="{8A1E15A9-5335-4967-BF4E-E42F13C7D493}" srcOrd="1" destOrd="0" presId="urn:microsoft.com/office/officeart/2009/3/layout/RandomtoResultProcess"/>
    <dgm:cxn modelId="{BA7C2B8F-3C8E-42C8-B3CA-B2CB12542750}" type="presParOf" srcId="{CA0DDF31-562C-464D-B6D6-D724D98AF210}" destId="{3BF0B6AA-1BCB-46FC-ACED-6E63079B7F29}" srcOrd="4" destOrd="0" presId="urn:microsoft.com/office/officeart/2009/3/layout/RandomtoResultProcess"/>
    <dgm:cxn modelId="{DB97653C-E9EC-4A74-890D-6664D902E528}" type="presParOf" srcId="{3BF0B6AA-1BCB-46FC-ACED-6E63079B7F29}" destId="{0F52008E-5119-47A9-8682-767DAC0FFBEF}" srcOrd="0" destOrd="0" presId="urn:microsoft.com/office/officeart/2009/3/layout/RandomtoResultProcess"/>
    <dgm:cxn modelId="{2CFEC086-B554-4B17-BBEA-EEFE62DA37D3}" type="presParOf" srcId="{3BF0B6AA-1BCB-46FC-ACED-6E63079B7F29}" destId="{0DB67931-F586-4318-ACB5-4115F742ED1D}" srcOrd="1" destOrd="0" presId="urn:microsoft.com/office/officeart/2009/3/layout/RandomtoResultProcess"/>
    <dgm:cxn modelId="{35865496-87A2-40CB-BE25-B8A755F175BA}" type="presParOf" srcId="{3BF0B6AA-1BCB-46FC-ACED-6E63079B7F29}" destId="{F48A38EB-D6C5-47DC-9A5E-4F4DAF33F9CF}" srcOrd="2" destOrd="0" presId="urn:microsoft.com/office/officeart/2009/3/layout/RandomtoResultProcess"/>
    <dgm:cxn modelId="{BA28446D-28BE-41FC-9416-00F96E19AAD0}" type="presParOf" srcId="{CA0DDF31-562C-464D-B6D6-D724D98AF210}" destId="{DBDC7AAF-A69C-454E-AD17-B9C718BC1598}" srcOrd="5" destOrd="0" presId="urn:microsoft.com/office/officeart/2009/3/layout/RandomtoResultProcess"/>
    <dgm:cxn modelId="{A42551E6-FDCA-49B2-916B-814BAD0AF7BC}" type="presParOf" srcId="{DBDC7AAF-A69C-454E-AD17-B9C718BC1598}" destId="{03238CFE-23FE-4D0D-A051-3C5FAE39DF8C}" srcOrd="0" destOrd="0" presId="urn:microsoft.com/office/officeart/2009/3/layout/RandomtoResultProcess"/>
    <dgm:cxn modelId="{E7FEF409-34CF-47D2-BB6E-4A9A7A4CA48E}" type="presParOf" srcId="{DBDC7AAF-A69C-454E-AD17-B9C718BC1598}" destId="{7B93BCF7-4E11-4AFA-996B-9508C6A2F044}" srcOrd="1" destOrd="0" presId="urn:microsoft.com/office/officeart/2009/3/layout/RandomtoResultProcess"/>
    <dgm:cxn modelId="{77613DEB-690B-4341-AF88-298706C81B85}" type="presParOf" srcId="{CA0DDF31-562C-464D-B6D6-D724D98AF210}" destId="{985EBF26-ABAC-4C65-AC2F-AC4C9F8B4506}" srcOrd="6" destOrd="0" presId="urn:microsoft.com/office/officeart/2009/3/layout/RandomtoResultProcess"/>
    <dgm:cxn modelId="{7EC90475-C961-4F70-A4D4-631D6B05523C}" type="presParOf" srcId="{985EBF26-ABAC-4C65-AC2F-AC4C9F8B4506}" destId="{3ACFB101-D7C5-4C6E-AA8F-0D392FFB9E74}" srcOrd="0" destOrd="0" presId="urn:microsoft.com/office/officeart/2009/3/layout/RandomtoResultProcess"/>
    <dgm:cxn modelId="{7AC7440A-32BF-473B-8CC2-1C33BC20741B}" type="presParOf" srcId="{985EBF26-ABAC-4C65-AC2F-AC4C9F8B4506}" destId="{793C8381-9CDA-4DAD-81C2-C4303BB384A4}" srcOrd="1" destOrd="0" presId="urn:microsoft.com/office/officeart/2009/3/layout/RandomtoResultProcess"/>
    <dgm:cxn modelId="{CE330109-A749-433B-A559-5FF8E3259C31}" type="presParOf" srcId="{CA0DDF31-562C-464D-B6D6-D724D98AF210}" destId="{F3BD7E05-E2D8-4FA0-98E8-B85237C28E3F}" srcOrd="7" destOrd="0" presId="urn:microsoft.com/office/officeart/2009/3/layout/RandomtoResultProcess"/>
    <dgm:cxn modelId="{51C44A31-D398-4429-ADD4-F4C56BC9C54B}" type="presParOf" srcId="{F3BD7E05-E2D8-4FA0-98E8-B85237C28E3F}" destId="{DDC77370-E7D4-4E62-BF8F-7C8FE1EC48BA}" srcOrd="0" destOrd="0" presId="urn:microsoft.com/office/officeart/2009/3/layout/RandomtoResultProcess"/>
    <dgm:cxn modelId="{5F1200FA-A7D4-4582-B54B-DC01F7AA989F}" type="presParOf" srcId="{F3BD7E05-E2D8-4FA0-98E8-B85237C28E3F}" destId="{66F26C8F-DC98-4288-A878-7D32627BEFBC}" srcOrd="1" destOrd="0" presId="urn:microsoft.com/office/officeart/2009/3/layout/RandomtoResultProcess"/>
    <dgm:cxn modelId="{A7A7EB32-EFF8-4DA1-863C-B98B7F012CBD}" type="presParOf" srcId="{CA0DDF31-562C-464D-B6D6-D724D98AF210}" destId="{41F95C21-3C1D-4421-BD66-4403CC6C4403}" srcOrd="8" destOrd="0" presId="urn:microsoft.com/office/officeart/2009/3/layout/RandomtoResultProcess"/>
    <dgm:cxn modelId="{7720B38F-108C-4F4C-94F0-5A7A7BF36A50}" type="presParOf" srcId="{41F95C21-3C1D-4421-BD66-4403CC6C4403}" destId="{D1DEAF04-B933-4123-A1C1-4948327F73E1}" srcOrd="0" destOrd="0" presId="urn:microsoft.com/office/officeart/2009/3/layout/RandomtoResultProcess"/>
    <dgm:cxn modelId="{8A34D10D-71E0-4D34-A51D-50A8927EA2F9}" type="presParOf" srcId="{41F95C21-3C1D-4421-BD66-4403CC6C4403}" destId="{4D3E5036-D12C-4634-8660-545796B4CFA2}" srcOrd="1" destOrd="0" presId="urn:microsoft.com/office/officeart/2009/3/layout/RandomtoResultProcess"/>
    <dgm:cxn modelId="{02572852-99AA-4999-832D-5DCAE254BA33}" type="presParOf" srcId="{CA0DDF31-562C-464D-B6D6-D724D98AF210}" destId="{D2846055-1022-4B30-A94E-1EE74538EFBF}" srcOrd="9" destOrd="0" presId="urn:microsoft.com/office/officeart/2009/3/layout/RandomtoResultProcess"/>
    <dgm:cxn modelId="{890B959D-1FE2-4455-A81F-B1D9C0B36B70}" type="presParOf" srcId="{D2846055-1022-4B30-A94E-1EE74538EFBF}" destId="{5189E095-9CEF-4E05-8A27-7083A6C91CFB}" srcOrd="0" destOrd="0" presId="urn:microsoft.com/office/officeart/2009/3/layout/RandomtoResultProcess"/>
    <dgm:cxn modelId="{92A3B79C-C683-41F1-A84F-BA4C01C17D73}" type="presParOf" srcId="{D2846055-1022-4B30-A94E-1EE74538EFBF}" destId="{61173916-274C-4B95-8210-3809A765DE68}" srcOrd="1" destOrd="0" presId="urn:microsoft.com/office/officeart/2009/3/layout/RandomtoResultProcess"/>
    <dgm:cxn modelId="{B5764BD6-5B04-4DAD-8600-C1C595D89F4D}" type="presParOf" srcId="{CA0DDF31-562C-464D-B6D6-D724D98AF210}" destId="{1BE9FBE5-A206-40E5-B339-DADDAEBC04FF}" srcOrd="10" destOrd="0" presId="urn:microsoft.com/office/officeart/2009/3/layout/RandomtoResultProcess"/>
    <dgm:cxn modelId="{4C1EB975-45D3-4E2C-903C-59382C36AF42}" type="presParOf" srcId="{1BE9FBE5-A206-40E5-B339-DADDAEBC04FF}" destId="{68C37385-5C5B-447A-9DDF-C906469C6C47}" srcOrd="0" destOrd="0" presId="urn:microsoft.com/office/officeart/2009/3/layout/RandomtoResultProcess"/>
    <dgm:cxn modelId="{72A3064A-E040-486F-AC49-B4677E3F587B}" type="presParOf" srcId="{1BE9FBE5-A206-40E5-B339-DADDAEBC04FF}" destId="{A3DD1690-7BB9-4E55-AE35-1BA8A34B8C70}" srcOrd="1" destOrd="0" presId="urn:microsoft.com/office/officeart/2009/3/layout/RandomtoResultProcess"/>
    <dgm:cxn modelId="{722EAE8E-ABF0-4FEB-B1F9-048697267A92}" type="presParOf" srcId="{CA0DDF31-562C-464D-B6D6-D724D98AF210}" destId="{11BD9DF0-8557-4FC5-BC34-0070B5311E96}" srcOrd="11" destOrd="0" presId="urn:microsoft.com/office/officeart/2009/3/layout/RandomtoResultProcess"/>
    <dgm:cxn modelId="{66CA4F5A-C198-4BD7-B0E4-C638CB7EAF41}" type="presParOf" srcId="{11BD9DF0-8557-4FC5-BC34-0070B5311E96}" destId="{06E0440A-4730-4998-899D-31E958B986CA}" srcOrd="0" destOrd="0" presId="urn:microsoft.com/office/officeart/2009/3/layout/RandomtoResultProcess"/>
    <dgm:cxn modelId="{F499FC5C-3CE3-4490-85A6-76A9F720A64F}" type="presParOf" srcId="{11BD9DF0-8557-4FC5-BC34-0070B5311E96}" destId="{7D3C3F25-D0ED-4017-BE7C-5C7D557399B2}" srcOrd="1" destOrd="0" presId="urn:microsoft.com/office/officeart/2009/3/layout/RandomtoResultProcess"/>
    <dgm:cxn modelId="{5DC87EBD-D256-4418-AA84-8ED3FA5F30CF}" type="presParOf" srcId="{CA0DDF31-562C-464D-B6D6-D724D98AF210}" destId="{A8F0D7FF-A331-4504-AA78-3D427775751E}" srcOrd="12" destOrd="0" presId="urn:microsoft.com/office/officeart/2009/3/layout/RandomtoResultProcess"/>
    <dgm:cxn modelId="{04237F80-3AD9-449F-A946-3F99220C50C5}" type="presParOf" srcId="{A8F0D7FF-A331-4504-AA78-3D427775751E}" destId="{44C8A558-501C-427B-A9E9-5A1532EF386C}" srcOrd="0" destOrd="0" presId="urn:microsoft.com/office/officeart/2009/3/layout/RandomtoResultProcess"/>
    <dgm:cxn modelId="{59541518-73F2-4F93-A15C-3746EBF3F803}" type="presParOf" srcId="{A8F0D7FF-A331-4504-AA78-3D427775751E}" destId="{7DE2834B-52F6-4956-978D-7BCBFA18EBB6}" srcOrd="1"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B4327C01-0EDA-429C-8A3B-82D805835FE7}" type="presOf" srcId="{864DE107-B989-48AF-AB66-C74CF83D30CD}" destId="{599C6788-14AC-4886-BE98-CFABBA2B6CBC}"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1D39261F-11B7-4EA2-9281-F46AA7A01E03}" type="presOf" srcId="{FF69A2E3-845E-46C4-A44D-095FCDBB9884}" destId="{83AD4C98-81CD-4554-959F-68EE175480AA}" srcOrd="0" destOrd="0" presId="urn:microsoft.com/office/officeart/2005/8/layout/process1"/>
    <dgm:cxn modelId="{229C1B2B-C215-4B05-84EA-DD60A68B140E}" type="presOf" srcId="{2B811016-D430-4B4D-A4B9-C427EBB8C39C}" destId="{CD543A52-B769-4817-BCDB-9E04D3B82E2C}" srcOrd="0" destOrd="0" presId="urn:microsoft.com/office/officeart/2005/8/layout/process1"/>
    <dgm:cxn modelId="{36F7CA34-65C6-47A9-B2CC-ED93E4E69CC2}" type="presOf" srcId="{43157ED2-F950-497C-9847-E7E7C258E927}" destId="{EBA8B8BB-8B80-463D-B5C0-9886029E31EB}" srcOrd="0" destOrd="0" presId="urn:microsoft.com/office/officeart/2005/8/layout/process1"/>
    <dgm:cxn modelId="{DDD8FB3C-5BA0-4D30-A3C3-BE51AE507D2C}" type="presOf" srcId="{FCB8ADF2-9891-4EC4-9F8D-3C62A4E3570B}" destId="{D0F3583B-5D16-45E2-90F3-D5928E8BAEEB}" srcOrd="0" destOrd="0" presId="urn:microsoft.com/office/officeart/2005/8/layout/process1"/>
    <dgm:cxn modelId="{DA0C4F42-002F-40FB-B4C3-9A4B5C97A459}" type="presOf" srcId="{8512C525-B3B9-4BFC-8B81-ABE692BCA9B8}" destId="{DCDE361F-6528-4B2D-AA1C-75A98D9CF19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EC892878-7924-4BBF-86BB-C6BD1F0F5330}" type="presOf" srcId="{BFAE7B18-CC4C-4882-92CD-CB1C42AA85E2}" destId="{B75A6145-30F1-4A02-8241-CAFBD7613773}" srcOrd="1" destOrd="0" presId="urn:microsoft.com/office/officeart/2005/8/layout/process1"/>
    <dgm:cxn modelId="{EFC50F88-8261-4F6F-8CCC-A402E198BFE3}" type="presOf" srcId="{307DC733-853C-4BE3-A615-177512EFCA37}" destId="{5D437852-1E36-4551-AE22-3D21BF486FA9}"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3E23F199-A7D5-442C-A1BE-1E940A57A463}" type="presOf" srcId="{BFAE7B18-CC4C-4882-92CD-CB1C42AA85E2}" destId="{1B57603F-6D14-4EC3-B4E3-8B8E29F0AF82}" srcOrd="0" destOrd="0" presId="urn:microsoft.com/office/officeart/2005/8/layout/process1"/>
    <dgm:cxn modelId="{7E2152A2-7427-46BC-9605-B84485F97A33}" type="presOf" srcId="{43157ED2-F950-497C-9847-E7E7C258E927}" destId="{B0DBBBA9-28F6-41E3-9EAE-867A084ADCC9}"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565F3DED-77D7-43C0-A8FA-8F6D3D738988}" type="presOf" srcId="{2B811016-D430-4B4D-A4B9-C427EBB8C39C}" destId="{9632C60F-56BA-4ECD-9874-3EA13072391A}" srcOrd="1" destOrd="0" presId="urn:microsoft.com/office/officeart/2005/8/layout/process1"/>
    <dgm:cxn modelId="{9BAF0E7B-BCC8-4A84-BB5E-2416A15976DD}" type="presParOf" srcId="{DCDE361F-6528-4B2D-AA1C-75A98D9CF19B}" destId="{D0F3583B-5D16-45E2-90F3-D5928E8BAEEB}" srcOrd="0" destOrd="0" presId="urn:microsoft.com/office/officeart/2005/8/layout/process1"/>
    <dgm:cxn modelId="{BB6C5685-ED3C-45EA-8016-0BF81A293FA5}" type="presParOf" srcId="{DCDE361F-6528-4B2D-AA1C-75A98D9CF19B}" destId="{1B57603F-6D14-4EC3-B4E3-8B8E29F0AF82}" srcOrd="1" destOrd="0" presId="urn:microsoft.com/office/officeart/2005/8/layout/process1"/>
    <dgm:cxn modelId="{D6828148-A2B0-4CF6-813A-C2FE76DC8C6E}" type="presParOf" srcId="{1B57603F-6D14-4EC3-B4E3-8B8E29F0AF82}" destId="{B75A6145-30F1-4A02-8241-CAFBD7613773}" srcOrd="0" destOrd="0" presId="urn:microsoft.com/office/officeart/2005/8/layout/process1"/>
    <dgm:cxn modelId="{9C406377-2B27-4AFA-87C5-C666EA8D6AD3}" type="presParOf" srcId="{DCDE361F-6528-4B2D-AA1C-75A98D9CF19B}" destId="{5D437852-1E36-4551-AE22-3D21BF486FA9}" srcOrd="2" destOrd="0" presId="urn:microsoft.com/office/officeart/2005/8/layout/process1"/>
    <dgm:cxn modelId="{450C6B02-555C-4D0A-9354-71D831046710}" type="presParOf" srcId="{DCDE361F-6528-4B2D-AA1C-75A98D9CF19B}" destId="{CD543A52-B769-4817-BCDB-9E04D3B82E2C}" srcOrd="3" destOrd="0" presId="urn:microsoft.com/office/officeart/2005/8/layout/process1"/>
    <dgm:cxn modelId="{9EDC1441-36CB-4EE2-AC5D-9100EF145FB5}" type="presParOf" srcId="{CD543A52-B769-4817-BCDB-9E04D3B82E2C}" destId="{9632C60F-56BA-4ECD-9874-3EA13072391A}" srcOrd="0" destOrd="0" presId="urn:microsoft.com/office/officeart/2005/8/layout/process1"/>
    <dgm:cxn modelId="{39E1C06B-8567-4C70-9FAB-F6B8D9F2F8F0}" type="presParOf" srcId="{DCDE361F-6528-4B2D-AA1C-75A98D9CF19B}" destId="{599C6788-14AC-4886-BE98-CFABBA2B6CBC}" srcOrd="4" destOrd="0" presId="urn:microsoft.com/office/officeart/2005/8/layout/process1"/>
    <dgm:cxn modelId="{F4D19C8B-C041-4D11-BD05-BB1F1BD608CD}" type="presParOf" srcId="{DCDE361F-6528-4B2D-AA1C-75A98D9CF19B}" destId="{EBA8B8BB-8B80-463D-B5C0-9886029E31EB}" srcOrd="5" destOrd="0" presId="urn:microsoft.com/office/officeart/2005/8/layout/process1"/>
    <dgm:cxn modelId="{99848C9D-9018-427F-91A4-92C54CA84A90}" type="presParOf" srcId="{EBA8B8BB-8B80-463D-B5C0-9886029E31EB}" destId="{B0DBBBA9-28F6-41E3-9EAE-867A084ADCC9}" srcOrd="0" destOrd="0" presId="urn:microsoft.com/office/officeart/2005/8/layout/process1"/>
    <dgm:cxn modelId="{2F62CF3B-2D73-4A88-830B-51439DF4F5D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12.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C32D1E15-A8E8-4216-92FB-AC13867FDB39}" type="presOf" srcId="{43157ED2-F950-497C-9847-E7E7C258E927}" destId="{B0DBBBA9-28F6-41E3-9EAE-867A084ADCC9}" srcOrd="1" destOrd="0" presId="urn:microsoft.com/office/officeart/2005/8/layout/process1"/>
    <dgm:cxn modelId="{B276821C-072B-4844-AE50-91050AC9B8F3}" type="presOf" srcId="{864DE107-B989-48AF-AB66-C74CF83D30CD}" destId="{599C6788-14AC-4886-BE98-CFABBA2B6CBC}" srcOrd="0" destOrd="0" presId="urn:microsoft.com/office/officeart/2005/8/layout/process1"/>
    <dgm:cxn modelId="{753AE95B-6FEF-42D9-B57C-9909392977D4}" type="presOf" srcId="{2B811016-D430-4B4D-A4B9-C427EBB8C39C}" destId="{9632C60F-56BA-4ECD-9874-3EA13072391A}" srcOrd="1" destOrd="0" presId="urn:microsoft.com/office/officeart/2005/8/layout/process1"/>
    <dgm:cxn modelId="{70A84745-A4FD-4255-AB17-250464C94A47}" type="presOf" srcId="{307DC733-853C-4BE3-A615-177512EFCA37}" destId="{5D437852-1E36-4551-AE22-3D21BF486FA9}" srcOrd="0" destOrd="0" presId="urn:microsoft.com/office/officeart/2005/8/layout/process1"/>
    <dgm:cxn modelId="{B4310466-EEDE-4330-A16A-36EAB15BC1DE}" type="presOf" srcId="{FCB8ADF2-9891-4EC4-9F8D-3C62A4E3570B}" destId="{D0F3583B-5D16-45E2-90F3-D5928E8BAEEB}" srcOrd="0" destOrd="0" presId="urn:microsoft.com/office/officeart/2005/8/layout/process1"/>
    <dgm:cxn modelId="{9CE88A4B-BE56-4D9B-BACD-D6CC634B971F}" type="presOf" srcId="{8512C525-B3B9-4BFC-8B81-ABE692BCA9B8}" destId="{DCDE361F-6528-4B2D-AA1C-75A98D9CF19B}" srcOrd="0" destOrd="0" presId="urn:microsoft.com/office/officeart/2005/8/layout/process1"/>
    <dgm:cxn modelId="{F539D572-B968-4601-9FE7-2459F4E0C62D}" type="presOf" srcId="{FF69A2E3-845E-46C4-A44D-095FCDBB9884}" destId="{83AD4C98-81CD-4554-959F-68EE175480AA}"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15CA775A-3358-4540-940E-1504F1AA8091}" type="presOf" srcId="{BFAE7B18-CC4C-4882-92CD-CB1C42AA85E2}" destId="{1B57603F-6D14-4EC3-B4E3-8B8E29F0AF82}"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714D489B-A585-4D99-862A-5EA2E27C753B}" type="presOf" srcId="{43157ED2-F950-497C-9847-E7E7C258E927}" destId="{EBA8B8BB-8B80-463D-B5C0-9886029E31EB}" srcOrd="0" destOrd="0" presId="urn:microsoft.com/office/officeart/2005/8/layout/process1"/>
    <dgm:cxn modelId="{7D6CE0D4-10D9-4263-9CE9-7D131F4D9476}" type="presOf" srcId="{BFAE7B18-CC4C-4882-92CD-CB1C42AA85E2}" destId="{B75A6145-30F1-4A02-8241-CAFBD7613773}"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3DEC5FE3-0AC9-4432-958C-182DEF657912}" type="presOf" srcId="{2B811016-D430-4B4D-A4B9-C427EBB8C39C}" destId="{CD543A52-B769-4817-BCDB-9E04D3B82E2C}" srcOrd="0" destOrd="0" presId="urn:microsoft.com/office/officeart/2005/8/layout/process1"/>
    <dgm:cxn modelId="{1D54B768-FEB4-46C4-B841-59D3DF946F26}" type="presParOf" srcId="{DCDE361F-6528-4B2D-AA1C-75A98D9CF19B}" destId="{D0F3583B-5D16-45E2-90F3-D5928E8BAEEB}" srcOrd="0" destOrd="0" presId="urn:microsoft.com/office/officeart/2005/8/layout/process1"/>
    <dgm:cxn modelId="{D59A75D2-13A6-46AC-AC0B-58CCEAF73117}" type="presParOf" srcId="{DCDE361F-6528-4B2D-AA1C-75A98D9CF19B}" destId="{1B57603F-6D14-4EC3-B4E3-8B8E29F0AF82}" srcOrd="1" destOrd="0" presId="urn:microsoft.com/office/officeart/2005/8/layout/process1"/>
    <dgm:cxn modelId="{1AE207C6-2805-493E-B873-2E4FAA4C8ABC}" type="presParOf" srcId="{1B57603F-6D14-4EC3-B4E3-8B8E29F0AF82}" destId="{B75A6145-30F1-4A02-8241-CAFBD7613773}" srcOrd="0" destOrd="0" presId="urn:microsoft.com/office/officeart/2005/8/layout/process1"/>
    <dgm:cxn modelId="{B73486B7-10F7-461B-9CA9-FE78D7BBD0FD}" type="presParOf" srcId="{DCDE361F-6528-4B2D-AA1C-75A98D9CF19B}" destId="{5D437852-1E36-4551-AE22-3D21BF486FA9}" srcOrd="2" destOrd="0" presId="urn:microsoft.com/office/officeart/2005/8/layout/process1"/>
    <dgm:cxn modelId="{267EE4C7-17C6-4D36-892C-DB2B2C1D56CC}" type="presParOf" srcId="{DCDE361F-6528-4B2D-AA1C-75A98D9CF19B}" destId="{CD543A52-B769-4817-BCDB-9E04D3B82E2C}" srcOrd="3" destOrd="0" presId="urn:microsoft.com/office/officeart/2005/8/layout/process1"/>
    <dgm:cxn modelId="{EB1BE694-BB22-4229-BDBE-9EA965808280}" type="presParOf" srcId="{CD543A52-B769-4817-BCDB-9E04D3B82E2C}" destId="{9632C60F-56BA-4ECD-9874-3EA13072391A}" srcOrd="0" destOrd="0" presId="urn:microsoft.com/office/officeart/2005/8/layout/process1"/>
    <dgm:cxn modelId="{D70FB99E-C41E-478A-96F1-30DD39E3F5C5}" type="presParOf" srcId="{DCDE361F-6528-4B2D-AA1C-75A98D9CF19B}" destId="{599C6788-14AC-4886-BE98-CFABBA2B6CBC}" srcOrd="4" destOrd="0" presId="urn:microsoft.com/office/officeart/2005/8/layout/process1"/>
    <dgm:cxn modelId="{9AD0C0DE-D02D-44E2-9280-DF731A4147E5}" type="presParOf" srcId="{DCDE361F-6528-4B2D-AA1C-75A98D9CF19B}" destId="{EBA8B8BB-8B80-463D-B5C0-9886029E31EB}" srcOrd="5" destOrd="0" presId="urn:microsoft.com/office/officeart/2005/8/layout/process1"/>
    <dgm:cxn modelId="{27117AA1-27FA-4BB3-8215-91EAF37CEB8C}" type="presParOf" srcId="{EBA8B8BB-8B80-463D-B5C0-9886029E31EB}" destId="{B0DBBBA9-28F6-41E3-9EAE-867A084ADCC9}" srcOrd="0" destOrd="0" presId="urn:microsoft.com/office/officeart/2005/8/layout/process1"/>
    <dgm:cxn modelId="{26AE14F0-D871-4007-94C2-7388C48FBF94}"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13.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D8113D20-ABEE-4C95-A009-632ED93EA20A}" type="presOf" srcId="{307DC733-853C-4BE3-A615-177512EFCA37}" destId="{5D437852-1E36-4551-AE22-3D21BF486FA9}" srcOrd="0" destOrd="0" presId="urn:microsoft.com/office/officeart/2005/8/layout/process1"/>
    <dgm:cxn modelId="{B145EE39-D3E8-44B3-8530-ED6DB1ABD217}" type="presOf" srcId="{FCB8ADF2-9891-4EC4-9F8D-3C62A4E3570B}" destId="{D0F3583B-5D16-45E2-90F3-D5928E8BAEEB}" srcOrd="0" destOrd="0" presId="urn:microsoft.com/office/officeart/2005/8/layout/process1"/>
    <dgm:cxn modelId="{0B35C243-84DA-4571-881A-080409B5BD92}" type="presOf" srcId="{864DE107-B989-48AF-AB66-C74CF83D30CD}" destId="{599C6788-14AC-4886-BE98-CFABBA2B6CB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7DCDC37E-D09A-4C16-BEA3-23F0AD4090CC}" type="presOf" srcId="{43157ED2-F950-497C-9847-E7E7C258E927}" destId="{EBA8B8BB-8B80-463D-B5C0-9886029E31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383F039A-F786-4CC5-BE30-D303F2F323D1}" type="presOf" srcId="{FF69A2E3-845E-46C4-A44D-095FCDBB9884}" destId="{83AD4C98-81CD-4554-959F-68EE175480AA}" srcOrd="0" destOrd="0" presId="urn:microsoft.com/office/officeart/2005/8/layout/process1"/>
    <dgm:cxn modelId="{8BC8319C-8DCC-47E9-9B0E-2A142F480A22}" type="presOf" srcId="{43157ED2-F950-497C-9847-E7E7C258E927}" destId="{B0DBBBA9-28F6-41E3-9EAE-867A084ADCC9}" srcOrd="1" destOrd="0" presId="urn:microsoft.com/office/officeart/2005/8/layout/process1"/>
    <dgm:cxn modelId="{342C31C5-D94D-4997-8B60-C390A4344623}" type="presOf" srcId="{2B811016-D430-4B4D-A4B9-C427EBB8C39C}" destId="{9632C60F-56BA-4ECD-9874-3EA13072391A}" srcOrd="1" destOrd="0" presId="urn:microsoft.com/office/officeart/2005/8/layout/process1"/>
    <dgm:cxn modelId="{FA4633C8-FAFD-4DF9-8B18-ADC820D8E8D4}" type="presOf" srcId="{BFAE7B18-CC4C-4882-92CD-CB1C42AA85E2}" destId="{1B57603F-6D14-4EC3-B4E3-8B8E29F0AF82}"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A9A6B6DF-719F-4C0C-9D20-74DC6B9F98A0}" type="presOf" srcId="{2B811016-D430-4B4D-A4B9-C427EBB8C39C}" destId="{CD543A52-B769-4817-BCDB-9E04D3B82E2C}" srcOrd="0" destOrd="0" presId="urn:microsoft.com/office/officeart/2005/8/layout/process1"/>
    <dgm:cxn modelId="{A7DD91E6-1FFD-4ADD-9C24-60425F9648A3}" type="presOf" srcId="{BFAE7B18-CC4C-4882-92CD-CB1C42AA85E2}" destId="{B75A6145-30F1-4A02-8241-CAFBD7613773}" srcOrd="1" destOrd="0" presId="urn:microsoft.com/office/officeart/2005/8/layout/process1"/>
    <dgm:cxn modelId="{BCDB61FF-B489-4F9C-AD9F-8D19F95F6BE5}" type="presOf" srcId="{8512C525-B3B9-4BFC-8B81-ABE692BCA9B8}" destId="{DCDE361F-6528-4B2D-AA1C-75A98D9CF19B}" srcOrd="0" destOrd="0" presId="urn:microsoft.com/office/officeart/2005/8/layout/process1"/>
    <dgm:cxn modelId="{AE816C26-2585-46A7-BC3D-A0C8394311FB}" type="presParOf" srcId="{DCDE361F-6528-4B2D-AA1C-75A98D9CF19B}" destId="{D0F3583B-5D16-45E2-90F3-D5928E8BAEEB}" srcOrd="0" destOrd="0" presId="urn:microsoft.com/office/officeart/2005/8/layout/process1"/>
    <dgm:cxn modelId="{D9DE4C4E-F22A-492F-8CE6-219CD2822DC5}" type="presParOf" srcId="{DCDE361F-6528-4B2D-AA1C-75A98D9CF19B}" destId="{1B57603F-6D14-4EC3-B4E3-8B8E29F0AF82}" srcOrd="1" destOrd="0" presId="urn:microsoft.com/office/officeart/2005/8/layout/process1"/>
    <dgm:cxn modelId="{9FCB48CA-536E-4834-8089-C572AE0CE56A}" type="presParOf" srcId="{1B57603F-6D14-4EC3-B4E3-8B8E29F0AF82}" destId="{B75A6145-30F1-4A02-8241-CAFBD7613773}" srcOrd="0" destOrd="0" presId="urn:microsoft.com/office/officeart/2005/8/layout/process1"/>
    <dgm:cxn modelId="{D87E3A08-79C5-4F46-B1F6-36D2DF220726}" type="presParOf" srcId="{DCDE361F-6528-4B2D-AA1C-75A98D9CF19B}" destId="{5D437852-1E36-4551-AE22-3D21BF486FA9}" srcOrd="2" destOrd="0" presId="urn:microsoft.com/office/officeart/2005/8/layout/process1"/>
    <dgm:cxn modelId="{59AF9E43-8013-468F-BF16-8325C4344464}" type="presParOf" srcId="{DCDE361F-6528-4B2D-AA1C-75A98D9CF19B}" destId="{CD543A52-B769-4817-BCDB-9E04D3B82E2C}" srcOrd="3" destOrd="0" presId="urn:microsoft.com/office/officeart/2005/8/layout/process1"/>
    <dgm:cxn modelId="{FBB66BBA-9DD8-480C-877F-C3134161299B}" type="presParOf" srcId="{CD543A52-B769-4817-BCDB-9E04D3B82E2C}" destId="{9632C60F-56BA-4ECD-9874-3EA13072391A}" srcOrd="0" destOrd="0" presId="urn:microsoft.com/office/officeart/2005/8/layout/process1"/>
    <dgm:cxn modelId="{B0C33839-65BD-490D-BEA4-DBDE60498099}" type="presParOf" srcId="{DCDE361F-6528-4B2D-AA1C-75A98D9CF19B}" destId="{599C6788-14AC-4886-BE98-CFABBA2B6CBC}" srcOrd="4" destOrd="0" presId="urn:microsoft.com/office/officeart/2005/8/layout/process1"/>
    <dgm:cxn modelId="{F88572B5-2BE7-4540-86A6-BA3427EA9968}" type="presParOf" srcId="{DCDE361F-6528-4B2D-AA1C-75A98D9CF19B}" destId="{EBA8B8BB-8B80-463D-B5C0-9886029E31EB}" srcOrd="5" destOrd="0" presId="urn:microsoft.com/office/officeart/2005/8/layout/process1"/>
    <dgm:cxn modelId="{7960B3DD-90B0-41EC-A0CC-1A63E939F0E9}" type="presParOf" srcId="{EBA8B8BB-8B80-463D-B5C0-9886029E31EB}" destId="{B0DBBBA9-28F6-41E3-9EAE-867A084ADCC9}" srcOrd="0" destOrd="0" presId="urn:microsoft.com/office/officeart/2005/8/layout/process1"/>
    <dgm:cxn modelId="{25A80D29-3A8F-4A8F-BE6A-2E82BF7BD802}"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6AA1870D-C511-4AC1-BDDD-43C9F17A206C}" type="presOf" srcId="{43157ED2-F950-497C-9847-E7E7C258E927}" destId="{EBA8B8BB-8B80-463D-B5C0-9886029E31E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D2554618-F57B-4E83-A358-166238F0A69E}" type="presOf" srcId="{BFAE7B18-CC4C-4882-92CD-CB1C42AA85E2}" destId="{1B57603F-6D14-4EC3-B4E3-8B8E29F0AF82}" srcOrd="0" destOrd="0" presId="urn:microsoft.com/office/officeart/2005/8/layout/process1"/>
    <dgm:cxn modelId="{F8487460-D581-4022-A3B2-ACF14ED4A38A}" type="presOf" srcId="{43157ED2-F950-497C-9847-E7E7C258E927}" destId="{B0DBBBA9-28F6-41E3-9EAE-867A084ADCC9}" srcOrd="1" destOrd="0" presId="urn:microsoft.com/office/officeart/2005/8/layout/process1"/>
    <dgm:cxn modelId="{D7529F42-3481-4C4A-8344-36381D4FD811}" type="presOf" srcId="{2B811016-D430-4B4D-A4B9-C427EBB8C39C}" destId="{CD543A52-B769-4817-BCDB-9E04D3B82E2C}" srcOrd="0" destOrd="0" presId="urn:microsoft.com/office/officeart/2005/8/layout/process1"/>
    <dgm:cxn modelId="{AD7B2968-F976-4F9D-A7FB-63683CD7FDEE}" type="presOf" srcId="{864DE107-B989-48AF-AB66-C74CF83D30CD}" destId="{599C6788-14AC-4886-BE98-CFABBA2B6CBC}" srcOrd="0" destOrd="0" presId="urn:microsoft.com/office/officeart/2005/8/layout/process1"/>
    <dgm:cxn modelId="{A27EF050-47F4-441B-A543-C75D20514D60}"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A7698E83-AECC-4CA5-9006-9CEFA82F67FF}" type="presOf" srcId="{FCB8ADF2-9891-4EC4-9F8D-3C62A4E3570B}" destId="{D0F3583B-5D16-45E2-90F3-D5928E8BAEEB}" srcOrd="0" destOrd="0" presId="urn:microsoft.com/office/officeart/2005/8/layout/process1"/>
    <dgm:cxn modelId="{10730685-B6EF-4470-9E30-3FBC908CB7BE}" type="presOf" srcId="{8512C525-B3B9-4BFC-8B81-ABE692BCA9B8}" destId="{DCDE361F-6528-4B2D-AA1C-75A98D9CF19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2416A0AD-CD80-4F7A-89CC-0F2468BF426D}" type="presOf" srcId="{2B811016-D430-4B4D-A4B9-C427EBB8C39C}" destId="{9632C60F-56BA-4ECD-9874-3EA13072391A}" srcOrd="1" destOrd="0" presId="urn:microsoft.com/office/officeart/2005/8/layout/process1"/>
    <dgm:cxn modelId="{2FBC0AC1-2888-4C38-B385-B4C04F4F1B4A}" type="presOf" srcId="{307DC733-853C-4BE3-A615-177512EFCA37}" destId="{5D437852-1E36-4551-AE22-3D21BF486FA9}"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121694FC-CA38-4002-9E24-0DABCCC0CC2B}" type="presOf" srcId="{FF69A2E3-845E-46C4-A44D-095FCDBB9884}" destId="{83AD4C98-81CD-4554-959F-68EE175480AA}" srcOrd="0" destOrd="0" presId="urn:microsoft.com/office/officeart/2005/8/layout/process1"/>
    <dgm:cxn modelId="{BFD1383D-F121-4465-8B34-AF31E6B69C77}" type="presParOf" srcId="{DCDE361F-6528-4B2D-AA1C-75A98D9CF19B}" destId="{D0F3583B-5D16-45E2-90F3-D5928E8BAEEB}" srcOrd="0" destOrd="0" presId="urn:microsoft.com/office/officeart/2005/8/layout/process1"/>
    <dgm:cxn modelId="{04C01358-79A3-4074-A17C-8133DA24F82D}" type="presParOf" srcId="{DCDE361F-6528-4B2D-AA1C-75A98D9CF19B}" destId="{1B57603F-6D14-4EC3-B4E3-8B8E29F0AF82}" srcOrd="1" destOrd="0" presId="urn:microsoft.com/office/officeart/2005/8/layout/process1"/>
    <dgm:cxn modelId="{074CE140-4A2F-4E31-AEE1-627C5657A20E}" type="presParOf" srcId="{1B57603F-6D14-4EC3-B4E3-8B8E29F0AF82}" destId="{B75A6145-30F1-4A02-8241-CAFBD7613773}" srcOrd="0" destOrd="0" presId="urn:microsoft.com/office/officeart/2005/8/layout/process1"/>
    <dgm:cxn modelId="{0524650F-ACFB-4360-8C05-8E46C3733EAB}" type="presParOf" srcId="{DCDE361F-6528-4B2D-AA1C-75A98D9CF19B}" destId="{5D437852-1E36-4551-AE22-3D21BF486FA9}" srcOrd="2" destOrd="0" presId="urn:microsoft.com/office/officeart/2005/8/layout/process1"/>
    <dgm:cxn modelId="{CE4458F7-53B7-42A2-B8A5-C754BAC7F2DD}" type="presParOf" srcId="{DCDE361F-6528-4B2D-AA1C-75A98D9CF19B}" destId="{CD543A52-B769-4817-BCDB-9E04D3B82E2C}" srcOrd="3" destOrd="0" presId="urn:microsoft.com/office/officeart/2005/8/layout/process1"/>
    <dgm:cxn modelId="{04DDD3F7-8C3E-40DE-9476-2E4C5AB04A63}" type="presParOf" srcId="{CD543A52-B769-4817-BCDB-9E04D3B82E2C}" destId="{9632C60F-56BA-4ECD-9874-3EA13072391A}" srcOrd="0" destOrd="0" presId="urn:microsoft.com/office/officeart/2005/8/layout/process1"/>
    <dgm:cxn modelId="{EBD25856-7FC6-4A4A-B027-AB76692F3EA8}" type="presParOf" srcId="{DCDE361F-6528-4B2D-AA1C-75A98D9CF19B}" destId="{599C6788-14AC-4886-BE98-CFABBA2B6CBC}" srcOrd="4" destOrd="0" presId="urn:microsoft.com/office/officeart/2005/8/layout/process1"/>
    <dgm:cxn modelId="{064337DC-E967-4978-B9F3-C0E8F8C868AA}" type="presParOf" srcId="{DCDE361F-6528-4B2D-AA1C-75A98D9CF19B}" destId="{EBA8B8BB-8B80-463D-B5C0-9886029E31EB}" srcOrd="5" destOrd="0" presId="urn:microsoft.com/office/officeart/2005/8/layout/process1"/>
    <dgm:cxn modelId="{6362450A-235C-4254-8578-106EDFA0EC04}" type="presParOf" srcId="{EBA8B8BB-8B80-463D-B5C0-9886029E31EB}" destId="{B0DBBBA9-28F6-41E3-9EAE-867A084ADCC9}" srcOrd="0" destOrd="0" presId="urn:microsoft.com/office/officeart/2005/8/layout/process1"/>
    <dgm:cxn modelId="{14F34A71-BBB3-44F7-8BAD-103736DD8B63}"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5.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9F862E18-A9A1-40DE-9AAE-86D3F9CEC4AF}" type="presOf" srcId="{864DE107-B989-48AF-AB66-C74CF83D30CD}" destId="{599C6788-14AC-4886-BE98-CFABBA2B6CBC}" srcOrd="0" destOrd="0" presId="urn:microsoft.com/office/officeart/2005/8/layout/process1"/>
    <dgm:cxn modelId="{B258B32C-B6FC-42CE-A8CF-676200489317}" type="presOf" srcId="{2B811016-D430-4B4D-A4B9-C427EBB8C39C}" destId="{9632C60F-56BA-4ECD-9874-3EA13072391A}" srcOrd="1" destOrd="0" presId="urn:microsoft.com/office/officeart/2005/8/layout/process1"/>
    <dgm:cxn modelId="{6FD0D82D-15B2-4512-950D-2DAAE5246D07}" type="presOf" srcId="{BFAE7B18-CC4C-4882-92CD-CB1C42AA85E2}" destId="{1B57603F-6D14-4EC3-B4E3-8B8E29F0AF82}" srcOrd="0" destOrd="0" presId="urn:microsoft.com/office/officeart/2005/8/layout/process1"/>
    <dgm:cxn modelId="{3AC52044-0F30-4071-9B83-0CF2AA29341C}" type="presOf" srcId="{43157ED2-F950-497C-9847-E7E7C258E927}" destId="{EBA8B8BB-8B80-463D-B5C0-9886029E31EB}" srcOrd="0" destOrd="0" presId="urn:microsoft.com/office/officeart/2005/8/layout/process1"/>
    <dgm:cxn modelId="{CEFA7C44-9163-48A4-BCB7-448424CE33E1}" type="presOf" srcId="{8512C525-B3B9-4BFC-8B81-ABE692BCA9B8}" destId="{DCDE361F-6528-4B2D-AA1C-75A98D9CF19B}" srcOrd="0" destOrd="0" presId="urn:microsoft.com/office/officeart/2005/8/layout/process1"/>
    <dgm:cxn modelId="{7F2B3E6F-5BCB-4B6B-9D0F-639305EBD093}" type="presOf" srcId="{307DC733-853C-4BE3-A615-177512EFCA37}" destId="{5D437852-1E36-4551-AE22-3D21BF486FA9}" srcOrd="0" destOrd="0" presId="urn:microsoft.com/office/officeart/2005/8/layout/process1"/>
    <dgm:cxn modelId="{D29CE850-D646-4974-BAB7-6E380F8C43E5}" type="presOf" srcId="{2B811016-D430-4B4D-A4B9-C427EBB8C39C}" destId="{CD543A52-B769-4817-BCDB-9E04D3B82E2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46554E80-F42B-40B1-9A55-BFB5B1959194}" type="presOf" srcId="{43157ED2-F950-497C-9847-E7E7C258E927}" destId="{B0DBBBA9-28F6-41E3-9EAE-867A084ADCC9}"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0D4B4BA1-D816-4EAD-A8AE-F9DC945C450B}" type="presOf" srcId="{FCB8ADF2-9891-4EC4-9F8D-3C62A4E3570B}" destId="{D0F3583B-5D16-45E2-90F3-D5928E8BAEEB}" srcOrd="0" destOrd="0" presId="urn:microsoft.com/office/officeart/2005/8/layout/process1"/>
    <dgm:cxn modelId="{B9499FBB-E0F8-407A-A101-791CDF6625CD}" type="presOf" srcId="{BFAE7B18-CC4C-4882-92CD-CB1C42AA85E2}" destId="{B75A6145-30F1-4A02-8241-CAFBD7613773}" srcOrd="1" destOrd="0" presId="urn:microsoft.com/office/officeart/2005/8/layout/process1"/>
    <dgm:cxn modelId="{D86395CB-6659-4827-A158-29CAB920FAB7}" type="presOf" srcId="{FF69A2E3-845E-46C4-A44D-095FCDBB9884}" destId="{83AD4C98-81CD-4554-959F-68EE175480AA}"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F98844A1-5B33-402E-A9E0-DC668DAD7684}" type="presParOf" srcId="{DCDE361F-6528-4B2D-AA1C-75A98D9CF19B}" destId="{D0F3583B-5D16-45E2-90F3-D5928E8BAEEB}" srcOrd="0" destOrd="0" presId="urn:microsoft.com/office/officeart/2005/8/layout/process1"/>
    <dgm:cxn modelId="{2A2342B4-15AE-427A-A1BE-DEE2BCDA76C9}" type="presParOf" srcId="{DCDE361F-6528-4B2D-AA1C-75A98D9CF19B}" destId="{1B57603F-6D14-4EC3-B4E3-8B8E29F0AF82}" srcOrd="1" destOrd="0" presId="urn:microsoft.com/office/officeart/2005/8/layout/process1"/>
    <dgm:cxn modelId="{39F5D645-273E-4A0D-A590-B00C8F3B87A1}" type="presParOf" srcId="{1B57603F-6D14-4EC3-B4E3-8B8E29F0AF82}" destId="{B75A6145-30F1-4A02-8241-CAFBD7613773}" srcOrd="0" destOrd="0" presId="urn:microsoft.com/office/officeart/2005/8/layout/process1"/>
    <dgm:cxn modelId="{06FF4F29-4B56-4F92-8CAF-6BE92D96A9B8}" type="presParOf" srcId="{DCDE361F-6528-4B2D-AA1C-75A98D9CF19B}" destId="{5D437852-1E36-4551-AE22-3D21BF486FA9}" srcOrd="2" destOrd="0" presId="urn:microsoft.com/office/officeart/2005/8/layout/process1"/>
    <dgm:cxn modelId="{269B95BF-928D-42F7-8DC0-EB18342FE38F}" type="presParOf" srcId="{DCDE361F-6528-4B2D-AA1C-75A98D9CF19B}" destId="{CD543A52-B769-4817-BCDB-9E04D3B82E2C}" srcOrd="3" destOrd="0" presId="urn:microsoft.com/office/officeart/2005/8/layout/process1"/>
    <dgm:cxn modelId="{99FEF468-F7C4-4155-8AE1-DC8E2A96E605}" type="presParOf" srcId="{CD543A52-B769-4817-BCDB-9E04D3B82E2C}" destId="{9632C60F-56BA-4ECD-9874-3EA13072391A}" srcOrd="0" destOrd="0" presId="urn:microsoft.com/office/officeart/2005/8/layout/process1"/>
    <dgm:cxn modelId="{D30AABFC-1451-4BCF-8F16-662266B9C80B}" type="presParOf" srcId="{DCDE361F-6528-4B2D-AA1C-75A98D9CF19B}" destId="{599C6788-14AC-4886-BE98-CFABBA2B6CBC}" srcOrd="4" destOrd="0" presId="urn:microsoft.com/office/officeart/2005/8/layout/process1"/>
    <dgm:cxn modelId="{B6B760D0-35A4-495F-ADED-544580C913DB}" type="presParOf" srcId="{DCDE361F-6528-4B2D-AA1C-75A98D9CF19B}" destId="{EBA8B8BB-8B80-463D-B5C0-9886029E31EB}" srcOrd="5" destOrd="0" presId="urn:microsoft.com/office/officeart/2005/8/layout/process1"/>
    <dgm:cxn modelId="{310EE7CA-9BFA-44B1-BACF-3939294A8892}" type="presParOf" srcId="{EBA8B8BB-8B80-463D-B5C0-9886029E31EB}" destId="{B0DBBBA9-28F6-41E3-9EAE-867A084ADCC9}" srcOrd="0" destOrd="0" presId="urn:microsoft.com/office/officeart/2005/8/layout/process1"/>
    <dgm:cxn modelId="{8C5F212D-B9F7-4260-AC6B-0DF2869B104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16.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48344E02-A18C-44D8-A930-434F9B874611}" type="presOf" srcId="{307DC733-853C-4BE3-A615-177512EFCA37}" destId="{5D437852-1E36-4551-AE22-3D21BF486FA9}" srcOrd="0" destOrd="0" presId="urn:microsoft.com/office/officeart/2005/8/layout/process1"/>
    <dgm:cxn modelId="{22FEA902-59D5-48C5-9A8B-4ADEE26442E9}" type="presOf" srcId="{43157ED2-F950-497C-9847-E7E7C258E927}" destId="{B0DBBBA9-28F6-41E3-9EAE-867A084ADCC9}" srcOrd="1" destOrd="0" presId="urn:microsoft.com/office/officeart/2005/8/layout/process1"/>
    <dgm:cxn modelId="{CBF79510-7BE1-4298-84C4-0A101D331575}" type="presOf" srcId="{FCB8ADF2-9891-4EC4-9F8D-3C62A4E3570B}" destId="{D0F3583B-5D16-45E2-90F3-D5928E8BAEE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2157C843-D8ED-4A43-B3C8-CF66745DCEEA}" type="presOf" srcId="{2B811016-D430-4B4D-A4B9-C427EBB8C39C}" destId="{9632C60F-56BA-4ECD-9874-3EA13072391A}" srcOrd="1" destOrd="0" presId="urn:microsoft.com/office/officeart/2005/8/layout/process1"/>
    <dgm:cxn modelId="{BE19B34C-4E6A-4CB4-8C2A-6E468AB7F02B}" type="presOf" srcId="{FF69A2E3-845E-46C4-A44D-095FCDBB9884}" destId="{83AD4C98-81CD-4554-959F-68EE175480AA}"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D0104C87-4E71-4C32-A9B9-3867257682F1}" type="presOf" srcId="{2B811016-D430-4B4D-A4B9-C427EBB8C39C}" destId="{CD543A52-B769-4817-BCDB-9E04D3B82E2C}"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C76C76CE-D92E-48D3-9D70-6637AADEB9A6}" type="presOf" srcId="{864DE107-B989-48AF-AB66-C74CF83D30CD}" destId="{599C6788-14AC-4886-BE98-CFABBA2B6CBC}" srcOrd="0" destOrd="0" presId="urn:microsoft.com/office/officeart/2005/8/layout/process1"/>
    <dgm:cxn modelId="{9CA1B8D7-6868-4ED0-8ABE-844DD8826372}" type="presOf" srcId="{BFAE7B18-CC4C-4882-92CD-CB1C42AA85E2}" destId="{B75A6145-30F1-4A02-8241-CAFBD7613773}" srcOrd="1" destOrd="0" presId="urn:microsoft.com/office/officeart/2005/8/layout/process1"/>
    <dgm:cxn modelId="{309DEDD8-3D81-4A93-BE17-106DFC41E014}" type="presOf" srcId="{43157ED2-F950-497C-9847-E7E7C258E927}" destId="{EBA8B8BB-8B80-463D-B5C0-9886029E31EB}" srcOrd="0" destOrd="0" presId="urn:microsoft.com/office/officeart/2005/8/layout/process1"/>
    <dgm:cxn modelId="{FA4D3DDA-7D0E-4C8A-82F6-73C5A2580510}" type="presOf" srcId="{BFAE7B18-CC4C-4882-92CD-CB1C42AA85E2}" destId="{1B57603F-6D14-4EC3-B4E3-8B8E29F0AF82}"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F797F0E0-E3B5-4076-AC7B-F2F8CC49662D}" type="presOf" srcId="{8512C525-B3B9-4BFC-8B81-ABE692BCA9B8}" destId="{DCDE361F-6528-4B2D-AA1C-75A98D9CF19B}" srcOrd="0" destOrd="0" presId="urn:microsoft.com/office/officeart/2005/8/layout/process1"/>
    <dgm:cxn modelId="{C286976B-F510-4DED-A7E4-697869FB1DCD}" type="presParOf" srcId="{DCDE361F-6528-4B2D-AA1C-75A98D9CF19B}" destId="{D0F3583B-5D16-45E2-90F3-D5928E8BAEEB}" srcOrd="0" destOrd="0" presId="urn:microsoft.com/office/officeart/2005/8/layout/process1"/>
    <dgm:cxn modelId="{11FE3710-82C1-4C60-A743-DB19B3096847}" type="presParOf" srcId="{DCDE361F-6528-4B2D-AA1C-75A98D9CF19B}" destId="{1B57603F-6D14-4EC3-B4E3-8B8E29F0AF82}" srcOrd="1" destOrd="0" presId="urn:microsoft.com/office/officeart/2005/8/layout/process1"/>
    <dgm:cxn modelId="{68F8C3CE-38F6-4CEA-AA80-57253B9EAF5A}" type="presParOf" srcId="{1B57603F-6D14-4EC3-B4E3-8B8E29F0AF82}" destId="{B75A6145-30F1-4A02-8241-CAFBD7613773}" srcOrd="0" destOrd="0" presId="urn:microsoft.com/office/officeart/2005/8/layout/process1"/>
    <dgm:cxn modelId="{A998AFC4-27E6-4A34-9C2A-5EAC1DF0A4E0}" type="presParOf" srcId="{DCDE361F-6528-4B2D-AA1C-75A98D9CF19B}" destId="{5D437852-1E36-4551-AE22-3D21BF486FA9}" srcOrd="2" destOrd="0" presId="urn:microsoft.com/office/officeart/2005/8/layout/process1"/>
    <dgm:cxn modelId="{5B9255BD-4EEF-4D63-99E8-D5BD04E02DC1}" type="presParOf" srcId="{DCDE361F-6528-4B2D-AA1C-75A98D9CF19B}" destId="{CD543A52-B769-4817-BCDB-9E04D3B82E2C}" srcOrd="3" destOrd="0" presId="urn:microsoft.com/office/officeart/2005/8/layout/process1"/>
    <dgm:cxn modelId="{46604FE4-6496-431A-9321-6A820EFEC11B}" type="presParOf" srcId="{CD543A52-B769-4817-BCDB-9E04D3B82E2C}" destId="{9632C60F-56BA-4ECD-9874-3EA13072391A}" srcOrd="0" destOrd="0" presId="urn:microsoft.com/office/officeart/2005/8/layout/process1"/>
    <dgm:cxn modelId="{282FAB82-1DB3-4478-8C8B-AC0EA0AEF631}" type="presParOf" srcId="{DCDE361F-6528-4B2D-AA1C-75A98D9CF19B}" destId="{599C6788-14AC-4886-BE98-CFABBA2B6CBC}" srcOrd="4" destOrd="0" presId="urn:microsoft.com/office/officeart/2005/8/layout/process1"/>
    <dgm:cxn modelId="{27473E20-7387-4B0B-A137-765CE4D6E5CC}" type="presParOf" srcId="{DCDE361F-6528-4B2D-AA1C-75A98D9CF19B}" destId="{EBA8B8BB-8B80-463D-B5C0-9886029E31EB}" srcOrd="5" destOrd="0" presId="urn:microsoft.com/office/officeart/2005/8/layout/process1"/>
    <dgm:cxn modelId="{F3201891-D6A7-4C52-8D97-2052CC457F3F}" type="presParOf" srcId="{EBA8B8BB-8B80-463D-B5C0-9886029E31EB}" destId="{B0DBBBA9-28F6-41E3-9EAE-867A084ADCC9}" srcOrd="0" destOrd="0" presId="urn:microsoft.com/office/officeart/2005/8/layout/process1"/>
    <dgm:cxn modelId="{E93632C5-654F-4279-8B73-D483B8790324}"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7.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874F790E-A595-4378-8E28-5D189ED3715E}" type="presOf" srcId="{FCB8ADF2-9891-4EC4-9F8D-3C62A4E3570B}" destId="{D0F3583B-5D16-45E2-90F3-D5928E8BAEE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03FE9542-EE62-4549-9963-E8782D3E0494}" type="presOf" srcId="{307DC733-853C-4BE3-A615-177512EFCA37}" destId="{5D437852-1E36-4551-AE22-3D21BF486FA9}"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74FD5B56-C98E-4102-91DD-54EF1E3B16A4}" type="presOf" srcId="{2B811016-D430-4B4D-A4B9-C427EBB8C39C}" destId="{9632C60F-56BA-4ECD-9874-3EA13072391A}" srcOrd="1" destOrd="0" presId="urn:microsoft.com/office/officeart/2005/8/layout/process1"/>
    <dgm:cxn modelId="{D6FE3482-A46C-4934-A692-A462252A2DCB}" type="presOf" srcId="{BFAE7B18-CC4C-4882-92CD-CB1C42AA85E2}" destId="{B75A6145-30F1-4A02-8241-CAFBD7613773}"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B3808CA2-CE9C-4ACD-A5EF-AC05CEF98B71}" type="presOf" srcId="{BFAE7B18-CC4C-4882-92CD-CB1C42AA85E2}" destId="{1B57603F-6D14-4EC3-B4E3-8B8E29F0AF82}" srcOrd="0" destOrd="0" presId="urn:microsoft.com/office/officeart/2005/8/layout/process1"/>
    <dgm:cxn modelId="{A6E141AA-AFFA-435D-8688-EAC4032F84BF}" type="presOf" srcId="{864DE107-B989-48AF-AB66-C74CF83D30CD}" destId="{599C6788-14AC-4886-BE98-CFABBA2B6CBC}" srcOrd="0" destOrd="0" presId="urn:microsoft.com/office/officeart/2005/8/layout/process1"/>
    <dgm:cxn modelId="{AC2858BD-08FE-4CB1-A65B-D1F5AFF93276}" type="presOf" srcId="{43157ED2-F950-497C-9847-E7E7C258E927}" destId="{B0DBBBA9-28F6-41E3-9EAE-867A084ADCC9}" srcOrd="1" destOrd="0" presId="urn:microsoft.com/office/officeart/2005/8/layout/process1"/>
    <dgm:cxn modelId="{22DE7AD7-BEC4-4DFF-A5B3-5AE56697E001}" type="presOf" srcId="{43157ED2-F950-497C-9847-E7E7C258E927}" destId="{EBA8B8BB-8B80-463D-B5C0-9886029E31EB}" srcOrd="0" destOrd="0" presId="urn:microsoft.com/office/officeart/2005/8/layout/process1"/>
    <dgm:cxn modelId="{C9022FDA-A5B8-452C-9690-054F97A27A40}" type="presOf" srcId="{8512C525-B3B9-4BFC-8B81-ABE692BCA9B8}" destId="{DCDE361F-6528-4B2D-AA1C-75A98D9CF19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785781E9-163C-4489-95E2-7C84638FB9A0}" type="presOf" srcId="{FF69A2E3-845E-46C4-A44D-095FCDBB9884}" destId="{83AD4C98-81CD-4554-959F-68EE175480AA}" srcOrd="0" destOrd="0" presId="urn:microsoft.com/office/officeart/2005/8/layout/process1"/>
    <dgm:cxn modelId="{EADD33EE-C6DB-46D3-8789-5DF9E8B39AB8}" type="presOf" srcId="{2B811016-D430-4B4D-A4B9-C427EBB8C39C}" destId="{CD543A52-B769-4817-BCDB-9E04D3B82E2C}" srcOrd="0" destOrd="0" presId="urn:microsoft.com/office/officeart/2005/8/layout/process1"/>
    <dgm:cxn modelId="{BE69806F-595F-49A3-ACE9-8844204A0D6A}" type="presParOf" srcId="{DCDE361F-6528-4B2D-AA1C-75A98D9CF19B}" destId="{D0F3583B-5D16-45E2-90F3-D5928E8BAEEB}" srcOrd="0" destOrd="0" presId="urn:microsoft.com/office/officeart/2005/8/layout/process1"/>
    <dgm:cxn modelId="{A44DD6F1-99D4-434D-AD86-5CC7EDE786D7}" type="presParOf" srcId="{DCDE361F-6528-4B2D-AA1C-75A98D9CF19B}" destId="{1B57603F-6D14-4EC3-B4E3-8B8E29F0AF82}" srcOrd="1" destOrd="0" presId="urn:microsoft.com/office/officeart/2005/8/layout/process1"/>
    <dgm:cxn modelId="{00D5EAA7-6FCB-45B6-A295-9E0076D680C9}" type="presParOf" srcId="{1B57603F-6D14-4EC3-B4E3-8B8E29F0AF82}" destId="{B75A6145-30F1-4A02-8241-CAFBD7613773}" srcOrd="0" destOrd="0" presId="urn:microsoft.com/office/officeart/2005/8/layout/process1"/>
    <dgm:cxn modelId="{F21B49EC-8631-4741-9B12-C33779E48B26}" type="presParOf" srcId="{DCDE361F-6528-4B2D-AA1C-75A98D9CF19B}" destId="{5D437852-1E36-4551-AE22-3D21BF486FA9}" srcOrd="2" destOrd="0" presId="urn:microsoft.com/office/officeart/2005/8/layout/process1"/>
    <dgm:cxn modelId="{31DE2715-FE69-4535-9FA1-1BA448DECD82}" type="presParOf" srcId="{DCDE361F-6528-4B2D-AA1C-75A98D9CF19B}" destId="{CD543A52-B769-4817-BCDB-9E04D3B82E2C}" srcOrd="3" destOrd="0" presId="urn:microsoft.com/office/officeart/2005/8/layout/process1"/>
    <dgm:cxn modelId="{BB0557CD-44B3-4DAC-9FAF-308347FBE930}" type="presParOf" srcId="{CD543A52-B769-4817-BCDB-9E04D3B82E2C}" destId="{9632C60F-56BA-4ECD-9874-3EA13072391A}" srcOrd="0" destOrd="0" presId="urn:microsoft.com/office/officeart/2005/8/layout/process1"/>
    <dgm:cxn modelId="{2974E2FB-156E-4040-AECC-A2831406396E}" type="presParOf" srcId="{DCDE361F-6528-4B2D-AA1C-75A98D9CF19B}" destId="{599C6788-14AC-4886-BE98-CFABBA2B6CBC}" srcOrd="4" destOrd="0" presId="urn:microsoft.com/office/officeart/2005/8/layout/process1"/>
    <dgm:cxn modelId="{47E70F70-5E0A-45B8-A7CC-CAC1E41FFD50}" type="presParOf" srcId="{DCDE361F-6528-4B2D-AA1C-75A98D9CF19B}" destId="{EBA8B8BB-8B80-463D-B5C0-9886029E31EB}" srcOrd="5" destOrd="0" presId="urn:microsoft.com/office/officeart/2005/8/layout/process1"/>
    <dgm:cxn modelId="{F0C3E0B6-A000-4CD5-9DA9-956FD39FA1C8}" type="presParOf" srcId="{EBA8B8BB-8B80-463D-B5C0-9886029E31EB}" destId="{B0DBBBA9-28F6-41E3-9EAE-867A084ADCC9}" srcOrd="0" destOrd="0" presId="urn:microsoft.com/office/officeart/2005/8/layout/process1"/>
    <dgm:cxn modelId="{72390E01-FD55-4630-9FF8-E8275E66659F}"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18.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C0C7E726-35D9-4EE3-85C1-B3FD13C21C3E}" type="presOf" srcId="{43157ED2-F950-497C-9847-E7E7C258E927}" destId="{EBA8B8BB-8B80-463D-B5C0-9886029E31EB}" srcOrd="0" destOrd="0" presId="urn:microsoft.com/office/officeart/2005/8/layout/process1"/>
    <dgm:cxn modelId="{04740F2A-D4BA-4639-A867-00FE842E0B50}" type="presOf" srcId="{BFAE7B18-CC4C-4882-92CD-CB1C42AA85E2}" destId="{B75A6145-30F1-4A02-8241-CAFBD7613773}" srcOrd="1" destOrd="0" presId="urn:microsoft.com/office/officeart/2005/8/layout/process1"/>
    <dgm:cxn modelId="{147A013C-B038-4C63-8FC6-9288EC7D379D}" type="presOf" srcId="{8512C525-B3B9-4BFC-8B81-ABE692BCA9B8}" destId="{DCDE361F-6528-4B2D-AA1C-75A98D9CF19B}" srcOrd="0" destOrd="0" presId="urn:microsoft.com/office/officeart/2005/8/layout/process1"/>
    <dgm:cxn modelId="{3338F452-6EC0-4856-89A0-D7350C87AA74}" type="presOf" srcId="{BFAE7B18-CC4C-4882-92CD-CB1C42AA85E2}" destId="{1B57603F-6D14-4EC3-B4E3-8B8E29F0AF82}"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B5C5135A-F997-41D5-8355-86DA57C8DA81}" type="presOf" srcId="{FF69A2E3-845E-46C4-A44D-095FCDBB9884}" destId="{83AD4C98-81CD-4554-959F-68EE175480AA}"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E9E0309B-4CB2-406A-B96F-027E97404E2D}" type="presOf" srcId="{2B811016-D430-4B4D-A4B9-C427EBB8C39C}" destId="{9632C60F-56BA-4ECD-9874-3EA13072391A}" srcOrd="1" destOrd="0" presId="urn:microsoft.com/office/officeart/2005/8/layout/process1"/>
    <dgm:cxn modelId="{E7B14ACC-8814-4A74-995C-F2EA568A8FD5}" type="presOf" srcId="{FCB8ADF2-9891-4EC4-9F8D-3C62A4E3570B}" destId="{D0F3583B-5D16-45E2-90F3-D5928E8BAEEB}" srcOrd="0" destOrd="0" presId="urn:microsoft.com/office/officeart/2005/8/layout/process1"/>
    <dgm:cxn modelId="{F47027D1-EE57-457B-8AE7-A8C2A5C1EACD}" type="presOf" srcId="{307DC733-853C-4BE3-A615-177512EFCA37}" destId="{5D437852-1E36-4551-AE22-3D21BF486FA9}" srcOrd="0" destOrd="0" presId="urn:microsoft.com/office/officeart/2005/8/layout/process1"/>
    <dgm:cxn modelId="{A99293D6-3C0F-472A-83CC-4449B5A2C19C}" type="presOf" srcId="{43157ED2-F950-497C-9847-E7E7C258E927}" destId="{B0DBBBA9-28F6-41E3-9EAE-867A084ADCC9}"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EA33D7EA-2ECE-440F-AFC2-AFF2BB4DFAAF}" type="presOf" srcId="{2B811016-D430-4B4D-A4B9-C427EBB8C39C}" destId="{CD543A52-B769-4817-BCDB-9E04D3B82E2C}" srcOrd="0" destOrd="0" presId="urn:microsoft.com/office/officeart/2005/8/layout/process1"/>
    <dgm:cxn modelId="{558713F0-C250-4527-B831-278B4B205EA6}" type="presOf" srcId="{864DE107-B989-48AF-AB66-C74CF83D30CD}" destId="{599C6788-14AC-4886-BE98-CFABBA2B6CBC}" srcOrd="0" destOrd="0" presId="urn:microsoft.com/office/officeart/2005/8/layout/process1"/>
    <dgm:cxn modelId="{AEF03FF9-70E3-4EE0-BE41-63CB8B1B4107}" type="presParOf" srcId="{DCDE361F-6528-4B2D-AA1C-75A98D9CF19B}" destId="{D0F3583B-5D16-45E2-90F3-D5928E8BAEEB}" srcOrd="0" destOrd="0" presId="urn:microsoft.com/office/officeart/2005/8/layout/process1"/>
    <dgm:cxn modelId="{10C55A8A-8CE1-4FFA-8DAE-88D3A0634BA0}" type="presParOf" srcId="{DCDE361F-6528-4B2D-AA1C-75A98D9CF19B}" destId="{1B57603F-6D14-4EC3-B4E3-8B8E29F0AF82}" srcOrd="1" destOrd="0" presId="urn:microsoft.com/office/officeart/2005/8/layout/process1"/>
    <dgm:cxn modelId="{B9BD9B2E-3D40-43DE-9370-683F9F60B7EC}" type="presParOf" srcId="{1B57603F-6D14-4EC3-B4E3-8B8E29F0AF82}" destId="{B75A6145-30F1-4A02-8241-CAFBD7613773}" srcOrd="0" destOrd="0" presId="urn:microsoft.com/office/officeart/2005/8/layout/process1"/>
    <dgm:cxn modelId="{88254E26-8E57-4FCC-8F02-35A90078DBBC}" type="presParOf" srcId="{DCDE361F-6528-4B2D-AA1C-75A98D9CF19B}" destId="{5D437852-1E36-4551-AE22-3D21BF486FA9}" srcOrd="2" destOrd="0" presId="urn:microsoft.com/office/officeart/2005/8/layout/process1"/>
    <dgm:cxn modelId="{904915F6-99A2-481C-8122-B48B0CB99167}" type="presParOf" srcId="{DCDE361F-6528-4B2D-AA1C-75A98D9CF19B}" destId="{CD543A52-B769-4817-BCDB-9E04D3B82E2C}" srcOrd="3" destOrd="0" presId="urn:microsoft.com/office/officeart/2005/8/layout/process1"/>
    <dgm:cxn modelId="{69CB62A8-352D-47AD-A408-10000BBF57E3}" type="presParOf" srcId="{CD543A52-B769-4817-BCDB-9E04D3B82E2C}" destId="{9632C60F-56BA-4ECD-9874-3EA13072391A}" srcOrd="0" destOrd="0" presId="urn:microsoft.com/office/officeart/2005/8/layout/process1"/>
    <dgm:cxn modelId="{D21B69C1-757D-4D90-ABDF-19506837131F}" type="presParOf" srcId="{DCDE361F-6528-4B2D-AA1C-75A98D9CF19B}" destId="{599C6788-14AC-4886-BE98-CFABBA2B6CBC}" srcOrd="4" destOrd="0" presId="urn:microsoft.com/office/officeart/2005/8/layout/process1"/>
    <dgm:cxn modelId="{FAC73404-861F-40EF-AC0A-0F3AE7A7D471}" type="presParOf" srcId="{DCDE361F-6528-4B2D-AA1C-75A98D9CF19B}" destId="{EBA8B8BB-8B80-463D-B5C0-9886029E31EB}" srcOrd="5" destOrd="0" presId="urn:microsoft.com/office/officeart/2005/8/layout/process1"/>
    <dgm:cxn modelId="{9DCA5D68-13A9-4F31-8B6B-904221F6165C}" type="presParOf" srcId="{EBA8B8BB-8B80-463D-B5C0-9886029E31EB}" destId="{B0DBBBA9-28F6-41E3-9EAE-867A084ADCC9}" srcOrd="0" destOrd="0" presId="urn:microsoft.com/office/officeart/2005/8/layout/process1"/>
    <dgm:cxn modelId="{DDF9C700-B3FC-4D24-B567-9C0EABE68BE7}"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19.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243F4A25-084F-425C-BF6F-AE1790879F93}" type="presOf" srcId="{FCB8ADF2-9891-4EC4-9F8D-3C62A4E3570B}" destId="{D0F3583B-5D16-45E2-90F3-D5928E8BAEEB}" srcOrd="0" destOrd="0" presId="urn:microsoft.com/office/officeart/2005/8/layout/process1"/>
    <dgm:cxn modelId="{B6AFE835-95AB-44FD-A0EC-0D2FF5A5C42F}" type="presOf" srcId="{8512C525-B3B9-4BFC-8B81-ABE692BCA9B8}" destId="{DCDE361F-6528-4B2D-AA1C-75A98D9CF19B}" srcOrd="0" destOrd="0" presId="urn:microsoft.com/office/officeart/2005/8/layout/process1"/>
    <dgm:cxn modelId="{F7798337-3B80-4814-9C92-D1349239BC53}" type="presOf" srcId="{43157ED2-F950-497C-9847-E7E7C258E927}" destId="{B0DBBBA9-28F6-41E3-9EAE-867A084ADCC9}" srcOrd="1" destOrd="0" presId="urn:microsoft.com/office/officeart/2005/8/layout/process1"/>
    <dgm:cxn modelId="{D237A65F-7E4C-448E-B8DA-1FD552F1C919}"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68B1438E-B54C-4F95-803A-255D2877AA6A}" type="presOf" srcId="{2B811016-D430-4B4D-A4B9-C427EBB8C39C}" destId="{9632C60F-56BA-4ECD-9874-3EA13072391A}" srcOrd="1" destOrd="0" presId="urn:microsoft.com/office/officeart/2005/8/layout/process1"/>
    <dgm:cxn modelId="{C76698AF-8EE0-4CA8-B234-97CDEA3DB4AB}" type="presOf" srcId="{43157ED2-F950-497C-9847-E7E7C258E927}" destId="{EBA8B8BB-8B80-463D-B5C0-9886029E31EB}" srcOrd="0" destOrd="0" presId="urn:microsoft.com/office/officeart/2005/8/layout/process1"/>
    <dgm:cxn modelId="{8BF26FBA-5C06-443C-9FD2-C978A2322C19}" type="presOf" srcId="{FF69A2E3-845E-46C4-A44D-095FCDBB9884}" destId="{83AD4C98-81CD-4554-959F-68EE175480AA}" srcOrd="0" destOrd="0" presId="urn:microsoft.com/office/officeart/2005/8/layout/process1"/>
    <dgm:cxn modelId="{755ACDCC-10BC-4E1E-9AB7-509B75FEF024}" type="presOf" srcId="{864DE107-B989-48AF-AB66-C74CF83D30CD}" destId="{599C6788-14AC-4886-BE98-CFABBA2B6CBC}" srcOrd="0" destOrd="0" presId="urn:microsoft.com/office/officeart/2005/8/layout/process1"/>
    <dgm:cxn modelId="{D43375D0-CC10-4C1C-9644-F6CCBDA8D556}" type="presOf" srcId="{2B811016-D430-4B4D-A4B9-C427EBB8C39C}" destId="{CD543A52-B769-4817-BCDB-9E04D3B82E2C}" srcOrd="0" destOrd="0" presId="urn:microsoft.com/office/officeart/2005/8/layout/process1"/>
    <dgm:cxn modelId="{1915ACD4-C34A-41D1-A3AD-17872CAC85E7}" type="presOf" srcId="{BFAE7B18-CC4C-4882-92CD-CB1C42AA85E2}" destId="{1B57603F-6D14-4EC3-B4E3-8B8E29F0AF82}" srcOrd="0" destOrd="0" presId="urn:microsoft.com/office/officeart/2005/8/layout/process1"/>
    <dgm:cxn modelId="{1084FFDC-BD76-4BBC-BE72-CF9786319305}" type="presOf" srcId="{307DC733-853C-4BE3-A615-177512EFCA37}" destId="{5D437852-1E36-4551-AE22-3D21BF486FA9}"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3CE49BE6-50C4-48D7-9287-6D9D6F0ABF31}" type="presParOf" srcId="{DCDE361F-6528-4B2D-AA1C-75A98D9CF19B}" destId="{D0F3583B-5D16-45E2-90F3-D5928E8BAEEB}" srcOrd="0" destOrd="0" presId="urn:microsoft.com/office/officeart/2005/8/layout/process1"/>
    <dgm:cxn modelId="{3E92A89C-5131-436E-B47E-B8CC07EF1E8C}" type="presParOf" srcId="{DCDE361F-6528-4B2D-AA1C-75A98D9CF19B}" destId="{1B57603F-6D14-4EC3-B4E3-8B8E29F0AF82}" srcOrd="1" destOrd="0" presId="urn:microsoft.com/office/officeart/2005/8/layout/process1"/>
    <dgm:cxn modelId="{22665195-505E-46A8-AB73-B675F7A2EF52}" type="presParOf" srcId="{1B57603F-6D14-4EC3-B4E3-8B8E29F0AF82}" destId="{B75A6145-30F1-4A02-8241-CAFBD7613773}" srcOrd="0" destOrd="0" presId="urn:microsoft.com/office/officeart/2005/8/layout/process1"/>
    <dgm:cxn modelId="{537F88E8-9F1F-4349-8867-0D8056C04C8C}" type="presParOf" srcId="{DCDE361F-6528-4B2D-AA1C-75A98D9CF19B}" destId="{5D437852-1E36-4551-AE22-3D21BF486FA9}" srcOrd="2" destOrd="0" presId="urn:microsoft.com/office/officeart/2005/8/layout/process1"/>
    <dgm:cxn modelId="{C3AE587F-D67E-43C6-91B6-FA8454550D0A}" type="presParOf" srcId="{DCDE361F-6528-4B2D-AA1C-75A98D9CF19B}" destId="{CD543A52-B769-4817-BCDB-9E04D3B82E2C}" srcOrd="3" destOrd="0" presId="urn:microsoft.com/office/officeart/2005/8/layout/process1"/>
    <dgm:cxn modelId="{7224DEA0-D4CB-4C13-AAC6-1B5E406CF81F}" type="presParOf" srcId="{CD543A52-B769-4817-BCDB-9E04D3B82E2C}" destId="{9632C60F-56BA-4ECD-9874-3EA13072391A}" srcOrd="0" destOrd="0" presId="urn:microsoft.com/office/officeart/2005/8/layout/process1"/>
    <dgm:cxn modelId="{7C50F892-D23F-4BF0-9F18-4AF169017DA2}" type="presParOf" srcId="{DCDE361F-6528-4B2D-AA1C-75A98D9CF19B}" destId="{599C6788-14AC-4886-BE98-CFABBA2B6CBC}" srcOrd="4" destOrd="0" presId="urn:microsoft.com/office/officeart/2005/8/layout/process1"/>
    <dgm:cxn modelId="{5A62791F-75A5-48D8-A86B-B7BB9CA3D209}" type="presParOf" srcId="{DCDE361F-6528-4B2D-AA1C-75A98D9CF19B}" destId="{EBA8B8BB-8B80-463D-B5C0-9886029E31EB}" srcOrd="5" destOrd="0" presId="urn:microsoft.com/office/officeart/2005/8/layout/process1"/>
    <dgm:cxn modelId="{3B6953CC-C431-4EB9-84DD-01EF222C3D7C}" type="presParOf" srcId="{EBA8B8BB-8B80-463D-B5C0-9886029E31EB}" destId="{B0DBBBA9-28F6-41E3-9EAE-867A084ADCC9}" srcOrd="0" destOrd="0" presId="urn:microsoft.com/office/officeart/2005/8/layout/process1"/>
    <dgm:cxn modelId="{EC812627-BB6C-4C7B-AC90-0FBF5C96707A}"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b="1" dirty="0">
              <a:latin typeface="Century Gothic" pitchFamily="34" charset="0"/>
            </a:rPr>
            <a:t>Choix du prestataire  </a:t>
          </a: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b="1" dirty="0">
              <a:latin typeface="Century Gothic" pitchFamily="34" charset="0"/>
            </a:rPr>
            <a:t>Réorganisation de l’entrepôt </a:t>
          </a: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b="1" dirty="0">
              <a:latin typeface="Century Gothic" pitchFamily="34" charset="0"/>
            </a:rPr>
            <a:t>Environnement &amp; problématique du projet</a:t>
          </a: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E86A7D20-D2DD-4FC4-BBEF-F012C8F22BF0}" type="presOf" srcId="{307DC733-853C-4BE3-A615-177512EFCA37}" destId="{5D437852-1E36-4551-AE22-3D21BF486FA9}" srcOrd="0" destOrd="0" presId="urn:microsoft.com/office/officeart/2005/8/layout/process1"/>
    <dgm:cxn modelId="{BDB8DE28-E18E-44BE-BC56-E160483CA035}" type="presOf" srcId="{43157ED2-F950-497C-9847-E7E7C258E927}" destId="{B0DBBBA9-28F6-41E3-9EAE-867A084ADCC9}" srcOrd="1" destOrd="0" presId="urn:microsoft.com/office/officeart/2005/8/layout/process1"/>
    <dgm:cxn modelId="{35119F64-9A3A-4819-9E27-D4042C805421}" type="presOf" srcId="{FCB8ADF2-9891-4EC4-9F8D-3C62A4E3570B}" destId="{D0F3583B-5D16-45E2-90F3-D5928E8BAEEB}" srcOrd="0" destOrd="0" presId="urn:microsoft.com/office/officeart/2005/8/layout/process1"/>
    <dgm:cxn modelId="{481F2E72-2C11-4F70-9AEC-0D765D05AF7B}" type="presOf" srcId="{2B811016-D430-4B4D-A4B9-C427EBB8C39C}" destId="{CD543A52-B769-4817-BCDB-9E04D3B82E2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A95F379A-DA74-47A5-8610-084510644106}" type="presOf" srcId="{BFAE7B18-CC4C-4882-92CD-CB1C42AA85E2}" destId="{B75A6145-30F1-4A02-8241-CAFBD7613773}" srcOrd="1" destOrd="0" presId="urn:microsoft.com/office/officeart/2005/8/layout/process1"/>
    <dgm:cxn modelId="{BEDE3CB5-CF18-480F-8521-A3E955DC9382}" type="presOf" srcId="{8512C525-B3B9-4BFC-8B81-ABE692BCA9B8}" destId="{DCDE361F-6528-4B2D-AA1C-75A98D9CF19B}" srcOrd="0" destOrd="0" presId="urn:microsoft.com/office/officeart/2005/8/layout/process1"/>
    <dgm:cxn modelId="{088399C4-2E5C-4323-B3CE-0FE778B582A5}" type="presOf" srcId="{43157ED2-F950-497C-9847-E7E7C258E927}" destId="{EBA8B8BB-8B80-463D-B5C0-9886029E31E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CEEA88E3-969F-4A88-A64C-E7FD52893439}" type="presOf" srcId="{864DE107-B989-48AF-AB66-C74CF83D30CD}" destId="{599C6788-14AC-4886-BE98-CFABBA2B6CBC}" srcOrd="0" destOrd="0" presId="urn:microsoft.com/office/officeart/2005/8/layout/process1"/>
    <dgm:cxn modelId="{E5A7B6E6-D9EB-4AC9-91D0-AE67BFB2ECA7}" type="presOf" srcId="{BFAE7B18-CC4C-4882-92CD-CB1C42AA85E2}" destId="{1B57603F-6D14-4EC3-B4E3-8B8E29F0AF82}" srcOrd="0" destOrd="0" presId="urn:microsoft.com/office/officeart/2005/8/layout/process1"/>
    <dgm:cxn modelId="{96DBAAE7-18E3-49E0-AAC6-8AC3BF055204}" type="presOf" srcId="{2B811016-D430-4B4D-A4B9-C427EBB8C39C}" destId="{9632C60F-56BA-4ECD-9874-3EA13072391A}" srcOrd="1" destOrd="0" presId="urn:microsoft.com/office/officeart/2005/8/layout/process1"/>
    <dgm:cxn modelId="{40975CEC-245C-46B9-8E78-2E44BF66ED61}" type="presOf" srcId="{FF69A2E3-845E-46C4-A44D-095FCDBB9884}" destId="{83AD4C98-81CD-4554-959F-68EE175480AA}" srcOrd="0" destOrd="0" presId="urn:microsoft.com/office/officeart/2005/8/layout/process1"/>
    <dgm:cxn modelId="{698BFDCC-39F4-41C7-9800-53C18619BA7F}" type="presParOf" srcId="{DCDE361F-6528-4B2D-AA1C-75A98D9CF19B}" destId="{D0F3583B-5D16-45E2-90F3-D5928E8BAEEB}" srcOrd="0" destOrd="0" presId="urn:microsoft.com/office/officeart/2005/8/layout/process1"/>
    <dgm:cxn modelId="{C14177A9-3E2B-469C-BCFD-4D6C3D11008C}" type="presParOf" srcId="{DCDE361F-6528-4B2D-AA1C-75A98D9CF19B}" destId="{1B57603F-6D14-4EC3-B4E3-8B8E29F0AF82}" srcOrd="1" destOrd="0" presId="urn:microsoft.com/office/officeart/2005/8/layout/process1"/>
    <dgm:cxn modelId="{F22449D8-91ED-4E6B-9F45-E59145E80679}" type="presParOf" srcId="{1B57603F-6D14-4EC3-B4E3-8B8E29F0AF82}" destId="{B75A6145-30F1-4A02-8241-CAFBD7613773}" srcOrd="0" destOrd="0" presId="urn:microsoft.com/office/officeart/2005/8/layout/process1"/>
    <dgm:cxn modelId="{AA4E3757-15D6-413A-B28E-C2D721EF1BDD}" type="presParOf" srcId="{DCDE361F-6528-4B2D-AA1C-75A98D9CF19B}" destId="{5D437852-1E36-4551-AE22-3D21BF486FA9}" srcOrd="2" destOrd="0" presId="urn:microsoft.com/office/officeart/2005/8/layout/process1"/>
    <dgm:cxn modelId="{0959387D-A600-47C9-BD46-0A3D2B716C2D}" type="presParOf" srcId="{DCDE361F-6528-4B2D-AA1C-75A98D9CF19B}" destId="{CD543A52-B769-4817-BCDB-9E04D3B82E2C}" srcOrd="3" destOrd="0" presId="urn:microsoft.com/office/officeart/2005/8/layout/process1"/>
    <dgm:cxn modelId="{B1C149E2-587A-4378-BFDB-D04356532355}" type="presParOf" srcId="{CD543A52-B769-4817-BCDB-9E04D3B82E2C}" destId="{9632C60F-56BA-4ECD-9874-3EA13072391A}" srcOrd="0" destOrd="0" presId="urn:microsoft.com/office/officeart/2005/8/layout/process1"/>
    <dgm:cxn modelId="{FEA66B33-A90F-4C06-AEC1-22F198BE36F1}" type="presParOf" srcId="{DCDE361F-6528-4B2D-AA1C-75A98D9CF19B}" destId="{599C6788-14AC-4886-BE98-CFABBA2B6CBC}" srcOrd="4" destOrd="0" presId="urn:microsoft.com/office/officeart/2005/8/layout/process1"/>
    <dgm:cxn modelId="{FA0EFB8B-686F-495F-AE4C-ACCE555341D5}" type="presParOf" srcId="{DCDE361F-6528-4B2D-AA1C-75A98D9CF19B}" destId="{EBA8B8BB-8B80-463D-B5C0-9886029E31EB}" srcOrd="5" destOrd="0" presId="urn:microsoft.com/office/officeart/2005/8/layout/process1"/>
    <dgm:cxn modelId="{2D7E759D-B658-4D6A-8FF6-715660DBA56F}" type="presParOf" srcId="{EBA8B8BB-8B80-463D-B5C0-9886029E31EB}" destId="{B0DBBBA9-28F6-41E3-9EAE-867A084ADCC9}" srcOrd="0" destOrd="0" presId="urn:microsoft.com/office/officeart/2005/8/layout/process1"/>
    <dgm:cxn modelId="{A79CB351-44B8-4BE0-8DA7-172641D889E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74A80B0B-3617-43B0-AD92-15C32C4C23CF}" type="presOf" srcId="{BFAE7B18-CC4C-4882-92CD-CB1C42AA85E2}" destId="{1B57603F-6D14-4EC3-B4E3-8B8E29F0AF82}"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AFE28B3C-09B7-47DF-894A-276C3A851E97}" type="presOf" srcId="{8512C525-B3B9-4BFC-8B81-ABE692BCA9B8}" destId="{DCDE361F-6528-4B2D-AA1C-75A98D9CF19B}" srcOrd="0" destOrd="0" presId="urn:microsoft.com/office/officeart/2005/8/layout/process1"/>
    <dgm:cxn modelId="{77E87949-DC7B-456C-A38A-0D8600F86C20}" type="presOf" srcId="{43157ED2-F950-497C-9847-E7E7C258E927}" destId="{B0DBBBA9-28F6-41E3-9EAE-867A084ADCC9}" srcOrd="1" destOrd="0" presId="urn:microsoft.com/office/officeart/2005/8/layout/process1"/>
    <dgm:cxn modelId="{CFE1C66B-4DF2-4104-BF31-8EBF66E9E0DC}" type="presOf" srcId="{2B811016-D430-4B4D-A4B9-C427EBB8C39C}" destId="{9632C60F-56BA-4ECD-9874-3EA13072391A}" srcOrd="1" destOrd="0" presId="urn:microsoft.com/office/officeart/2005/8/layout/process1"/>
    <dgm:cxn modelId="{C2BD9A51-670F-4C17-967D-02D3B46711B6}" type="presOf" srcId="{FCB8ADF2-9891-4EC4-9F8D-3C62A4E3570B}" destId="{D0F3583B-5D16-45E2-90F3-D5928E8BAEE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BEB3D083-C28F-4E33-828A-9AF0B02C51AA}" type="presOf" srcId="{307DC733-853C-4BE3-A615-177512EFCA37}" destId="{5D437852-1E36-4551-AE22-3D21BF486FA9}" srcOrd="0" destOrd="0" presId="urn:microsoft.com/office/officeart/2005/8/layout/process1"/>
    <dgm:cxn modelId="{C4C6F787-08F4-41D0-916E-6571526C42B3}" type="presOf" srcId="{43157ED2-F950-497C-9847-E7E7C258E927}" destId="{EBA8B8BB-8B80-463D-B5C0-9886029E31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1ED082C2-4AD6-49A3-B1E3-B76395A75046}" type="presOf" srcId="{864DE107-B989-48AF-AB66-C74CF83D30CD}" destId="{599C6788-14AC-4886-BE98-CFABBA2B6CBC}" srcOrd="0" destOrd="0" presId="urn:microsoft.com/office/officeart/2005/8/layout/process1"/>
    <dgm:cxn modelId="{0398D9CD-6A4C-4F16-AC9B-DF2781BFC733}" type="presOf" srcId="{2B811016-D430-4B4D-A4B9-C427EBB8C39C}" destId="{CD543A52-B769-4817-BCDB-9E04D3B82E2C}" srcOrd="0" destOrd="0" presId="urn:microsoft.com/office/officeart/2005/8/layout/process1"/>
    <dgm:cxn modelId="{8FAE86DE-8BD5-4CF5-B2B1-3A96676D9860}" type="presOf" srcId="{FF69A2E3-845E-46C4-A44D-095FCDBB9884}" destId="{83AD4C98-81CD-4554-959F-68EE175480AA}"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463455ED-8F04-4F56-A92E-6B422D2DC528}" type="presOf" srcId="{BFAE7B18-CC4C-4882-92CD-CB1C42AA85E2}" destId="{B75A6145-30F1-4A02-8241-CAFBD7613773}" srcOrd="1" destOrd="0" presId="urn:microsoft.com/office/officeart/2005/8/layout/process1"/>
    <dgm:cxn modelId="{E9F57048-1487-40A9-A7BA-B38CBF6EC2A6}" type="presParOf" srcId="{DCDE361F-6528-4B2D-AA1C-75A98D9CF19B}" destId="{D0F3583B-5D16-45E2-90F3-D5928E8BAEEB}" srcOrd="0" destOrd="0" presId="urn:microsoft.com/office/officeart/2005/8/layout/process1"/>
    <dgm:cxn modelId="{0F2F27A0-8BD3-4AEE-B940-24FBAB260FF2}" type="presParOf" srcId="{DCDE361F-6528-4B2D-AA1C-75A98D9CF19B}" destId="{1B57603F-6D14-4EC3-B4E3-8B8E29F0AF82}" srcOrd="1" destOrd="0" presId="urn:microsoft.com/office/officeart/2005/8/layout/process1"/>
    <dgm:cxn modelId="{9678E796-4641-4204-89FD-B852CAABD129}" type="presParOf" srcId="{1B57603F-6D14-4EC3-B4E3-8B8E29F0AF82}" destId="{B75A6145-30F1-4A02-8241-CAFBD7613773}" srcOrd="0" destOrd="0" presId="urn:microsoft.com/office/officeart/2005/8/layout/process1"/>
    <dgm:cxn modelId="{B9940D81-5E00-400E-84B0-D18B745E4EC7}" type="presParOf" srcId="{DCDE361F-6528-4B2D-AA1C-75A98D9CF19B}" destId="{5D437852-1E36-4551-AE22-3D21BF486FA9}" srcOrd="2" destOrd="0" presId="urn:microsoft.com/office/officeart/2005/8/layout/process1"/>
    <dgm:cxn modelId="{5EF618FF-0298-4AEC-922F-146E5269DFBF}" type="presParOf" srcId="{DCDE361F-6528-4B2D-AA1C-75A98D9CF19B}" destId="{CD543A52-B769-4817-BCDB-9E04D3B82E2C}" srcOrd="3" destOrd="0" presId="urn:microsoft.com/office/officeart/2005/8/layout/process1"/>
    <dgm:cxn modelId="{4255C4D3-E5E1-40E9-B3D3-53219B8FB5CF}" type="presParOf" srcId="{CD543A52-B769-4817-BCDB-9E04D3B82E2C}" destId="{9632C60F-56BA-4ECD-9874-3EA13072391A}" srcOrd="0" destOrd="0" presId="urn:microsoft.com/office/officeart/2005/8/layout/process1"/>
    <dgm:cxn modelId="{C370D645-81E9-4711-A3DD-641FDF2C62B2}" type="presParOf" srcId="{DCDE361F-6528-4B2D-AA1C-75A98D9CF19B}" destId="{599C6788-14AC-4886-BE98-CFABBA2B6CBC}" srcOrd="4" destOrd="0" presId="urn:microsoft.com/office/officeart/2005/8/layout/process1"/>
    <dgm:cxn modelId="{0B17B650-364B-48E3-97E5-9E587479B20A}" type="presParOf" srcId="{DCDE361F-6528-4B2D-AA1C-75A98D9CF19B}" destId="{EBA8B8BB-8B80-463D-B5C0-9886029E31EB}" srcOrd="5" destOrd="0" presId="urn:microsoft.com/office/officeart/2005/8/layout/process1"/>
    <dgm:cxn modelId="{5FD631F1-04E4-4AB4-80D9-89285DDE00F8}" type="presParOf" srcId="{EBA8B8BB-8B80-463D-B5C0-9886029E31EB}" destId="{B0DBBBA9-28F6-41E3-9EAE-867A084ADCC9}" srcOrd="0" destOrd="0" presId="urn:microsoft.com/office/officeart/2005/8/layout/process1"/>
    <dgm:cxn modelId="{DBD583D5-4513-4D19-B64C-C163DAB6FB2E}"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1.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2950A414-D112-40CC-9FB8-7BFA7302EB80}" type="presOf" srcId="{864DE107-B989-48AF-AB66-C74CF83D30CD}" destId="{599C6788-14AC-4886-BE98-CFABBA2B6CBC}" srcOrd="0" destOrd="0" presId="urn:microsoft.com/office/officeart/2005/8/layout/process1"/>
    <dgm:cxn modelId="{3791EA1C-22EE-4652-AE18-98E8EB6F9A74}" type="presOf" srcId="{BFAE7B18-CC4C-4882-92CD-CB1C42AA85E2}" destId="{B75A6145-30F1-4A02-8241-CAFBD7613773}" srcOrd="1" destOrd="0" presId="urn:microsoft.com/office/officeart/2005/8/layout/process1"/>
    <dgm:cxn modelId="{48F7CD2C-ABB3-4D9B-84EC-81A4B9794E82}" type="presOf" srcId="{FCB8ADF2-9891-4EC4-9F8D-3C62A4E3570B}" destId="{D0F3583B-5D16-45E2-90F3-D5928E8BAEEB}" srcOrd="0" destOrd="0" presId="urn:microsoft.com/office/officeart/2005/8/layout/process1"/>
    <dgm:cxn modelId="{5206E738-A979-4F55-8D8B-6B72360B4F4E}" type="presOf" srcId="{307DC733-853C-4BE3-A615-177512EFCA37}" destId="{5D437852-1E36-4551-AE22-3D21BF486FA9}" srcOrd="0" destOrd="0" presId="urn:microsoft.com/office/officeart/2005/8/layout/process1"/>
    <dgm:cxn modelId="{0C38FF44-3F69-4510-AEED-6677CA3FE236}" type="presOf" srcId="{BFAE7B18-CC4C-4882-92CD-CB1C42AA85E2}" destId="{1B57603F-6D14-4EC3-B4E3-8B8E29F0AF82}"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59663C81-F64D-4EA1-A0F4-46D16A932222}" type="presOf" srcId="{43157ED2-F950-497C-9847-E7E7C258E927}" destId="{B0DBBBA9-28F6-41E3-9EAE-867A084ADCC9}"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E9BA4A9E-69ED-48E0-AE73-58299F71596A}" type="presOf" srcId="{43157ED2-F950-497C-9847-E7E7C258E927}" destId="{EBA8B8BB-8B80-463D-B5C0-9886029E31EB}" srcOrd="0" destOrd="0" presId="urn:microsoft.com/office/officeart/2005/8/layout/process1"/>
    <dgm:cxn modelId="{C86A77C2-C4E5-4527-8678-7988E00D00F8}" type="presOf" srcId="{8512C525-B3B9-4BFC-8B81-ABE692BCA9B8}" destId="{DCDE361F-6528-4B2D-AA1C-75A98D9CF19B}" srcOrd="0" destOrd="0" presId="urn:microsoft.com/office/officeart/2005/8/layout/process1"/>
    <dgm:cxn modelId="{B6E52BC7-646D-412C-BDD7-6918FE84A7E0}" type="presOf" srcId="{2B811016-D430-4B4D-A4B9-C427EBB8C39C}" destId="{CD543A52-B769-4817-BCDB-9E04D3B82E2C}" srcOrd="0" destOrd="0" presId="urn:microsoft.com/office/officeart/2005/8/layout/process1"/>
    <dgm:cxn modelId="{6A182BC9-4220-4DBB-8D75-3BA51CAA57D2}" type="presOf" srcId="{2B811016-D430-4B4D-A4B9-C427EBB8C39C}" destId="{9632C60F-56BA-4ECD-9874-3EA13072391A}"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0C2533F0-6E2E-4AC8-A1DA-18256487D684}" type="presOf" srcId="{FF69A2E3-845E-46C4-A44D-095FCDBB9884}" destId="{83AD4C98-81CD-4554-959F-68EE175480AA}" srcOrd="0" destOrd="0" presId="urn:microsoft.com/office/officeart/2005/8/layout/process1"/>
    <dgm:cxn modelId="{A79BD959-554F-4B95-ACC3-79052E503493}" type="presParOf" srcId="{DCDE361F-6528-4B2D-AA1C-75A98D9CF19B}" destId="{D0F3583B-5D16-45E2-90F3-D5928E8BAEEB}" srcOrd="0" destOrd="0" presId="urn:microsoft.com/office/officeart/2005/8/layout/process1"/>
    <dgm:cxn modelId="{3B2F8422-9B34-44D6-9914-7E9A81A5DB4C}" type="presParOf" srcId="{DCDE361F-6528-4B2D-AA1C-75A98D9CF19B}" destId="{1B57603F-6D14-4EC3-B4E3-8B8E29F0AF82}" srcOrd="1" destOrd="0" presId="urn:microsoft.com/office/officeart/2005/8/layout/process1"/>
    <dgm:cxn modelId="{142193E6-0E7B-47CB-8431-AE100D488C39}" type="presParOf" srcId="{1B57603F-6D14-4EC3-B4E3-8B8E29F0AF82}" destId="{B75A6145-30F1-4A02-8241-CAFBD7613773}" srcOrd="0" destOrd="0" presId="urn:microsoft.com/office/officeart/2005/8/layout/process1"/>
    <dgm:cxn modelId="{707DF650-0B23-4235-85AF-2C59AEDF34E6}" type="presParOf" srcId="{DCDE361F-6528-4B2D-AA1C-75A98D9CF19B}" destId="{5D437852-1E36-4551-AE22-3D21BF486FA9}" srcOrd="2" destOrd="0" presId="urn:microsoft.com/office/officeart/2005/8/layout/process1"/>
    <dgm:cxn modelId="{4720ED6C-8CB7-4389-8D6D-2D615C56436A}" type="presParOf" srcId="{DCDE361F-6528-4B2D-AA1C-75A98D9CF19B}" destId="{CD543A52-B769-4817-BCDB-9E04D3B82E2C}" srcOrd="3" destOrd="0" presId="urn:microsoft.com/office/officeart/2005/8/layout/process1"/>
    <dgm:cxn modelId="{3D60881D-BC35-45A5-B4E6-2F21BDBD796C}" type="presParOf" srcId="{CD543A52-B769-4817-BCDB-9E04D3B82E2C}" destId="{9632C60F-56BA-4ECD-9874-3EA13072391A}" srcOrd="0" destOrd="0" presId="urn:microsoft.com/office/officeart/2005/8/layout/process1"/>
    <dgm:cxn modelId="{4B14914D-DAE3-4A36-BE66-226829FDC6F7}" type="presParOf" srcId="{DCDE361F-6528-4B2D-AA1C-75A98D9CF19B}" destId="{599C6788-14AC-4886-BE98-CFABBA2B6CBC}" srcOrd="4" destOrd="0" presId="urn:microsoft.com/office/officeart/2005/8/layout/process1"/>
    <dgm:cxn modelId="{20ECA1A0-B5AF-4E9B-B9E0-B0EB78540A1D}" type="presParOf" srcId="{DCDE361F-6528-4B2D-AA1C-75A98D9CF19B}" destId="{EBA8B8BB-8B80-463D-B5C0-9886029E31EB}" srcOrd="5" destOrd="0" presId="urn:microsoft.com/office/officeart/2005/8/layout/process1"/>
    <dgm:cxn modelId="{FD472A64-E9EC-4373-A333-F53C39D28834}" type="presParOf" srcId="{EBA8B8BB-8B80-463D-B5C0-9886029E31EB}" destId="{B0DBBBA9-28F6-41E3-9EAE-867A084ADCC9}" srcOrd="0" destOrd="0" presId="urn:microsoft.com/office/officeart/2005/8/layout/process1"/>
    <dgm:cxn modelId="{5BE01BB3-7DF9-4C02-979F-D0B24E1DB8B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22.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4EC12713-C7E1-4A0A-B241-E0D819E6FB96}" type="presOf" srcId="{307DC733-853C-4BE3-A615-177512EFCA37}" destId="{5D437852-1E36-4551-AE22-3D21BF486FA9}" srcOrd="0" destOrd="0" presId="urn:microsoft.com/office/officeart/2005/8/layout/process1"/>
    <dgm:cxn modelId="{619AAA29-A2D8-4246-8218-E992C7696D2B}" type="presOf" srcId="{BFAE7B18-CC4C-4882-92CD-CB1C42AA85E2}" destId="{1B57603F-6D14-4EC3-B4E3-8B8E29F0AF82}" srcOrd="0" destOrd="0" presId="urn:microsoft.com/office/officeart/2005/8/layout/process1"/>
    <dgm:cxn modelId="{FE4C0E2C-670A-4665-A837-1CBDEE1BE4C5}" type="presOf" srcId="{43157ED2-F950-497C-9847-E7E7C258E927}" destId="{B0DBBBA9-28F6-41E3-9EAE-867A084ADCC9}" srcOrd="1" destOrd="0" presId="urn:microsoft.com/office/officeart/2005/8/layout/process1"/>
    <dgm:cxn modelId="{F36DE63F-B777-4EED-B4DB-646B41113358}" type="presOf" srcId="{43157ED2-F950-497C-9847-E7E7C258E927}" destId="{EBA8B8BB-8B80-463D-B5C0-9886029E31E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9AC756A0-87FF-4E21-B1CD-2637284F5114}" type="presOf" srcId="{2B811016-D430-4B4D-A4B9-C427EBB8C39C}" destId="{CD543A52-B769-4817-BCDB-9E04D3B82E2C}" srcOrd="0" destOrd="0" presId="urn:microsoft.com/office/officeart/2005/8/layout/process1"/>
    <dgm:cxn modelId="{C13C91B1-73B8-4584-B2B2-D994DF7D3C07}" type="presOf" srcId="{BFAE7B18-CC4C-4882-92CD-CB1C42AA85E2}" destId="{B75A6145-30F1-4A02-8241-CAFBD7613773}" srcOrd="1" destOrd="0" presId="urn:microsoft.com/office/officeart/2005/8/layout/process1"/>
    <dgm:cxn modelId="{767E96B4-FD0B-4B75-B647-009CC503F0A6}" type="presOf" srcId="{FF69A2E3-845E-46C4-A44D-095FCDBB9884}" destId="{83AD4C98-81CD-4554-959F-68EE175480AA}" srcOrd="0" destOrd="0" presId="urn:microsoft.com/office/officeart/2005/8/layout/process1"/>
    <dgm:cxn modelId="{403EFFC0-2A0E-4EA5-B902-F318F42787E9}" type="presOf" srcId="{8512C525-B3B9-4BFC-8B81-ABE692BCA9B8}" destId="{DCDE361F-6528-4B2D-AA1C-75A98D9CF19B}" srcOrd="0" destOrd="0" presId="urn:microsoft.com/office/officeart/2005/8/layout/process1"/>
    <dgm:cxn modelId="{87058BD2-BAD1-44C8-8169-0B9ADC68F57A}" type="presOf" srcId="{FCB8ADF2-9891-4EC4-9F8D-3C62A4E3570B}" destId="{D0F3583B-5D16-45E2-90F3-D5928E8BAEEB}" srcOrd="0" destOrd="0" presId="urn:microsoft.com/office/officeart/2005/8/layout/process1"/>
    <dgm:cxn modelId="{1D95A3D4-DA16-48DD-B84D-56BA659826A2}" type="presOf" srcId="{2B811016-D430-4B4D-A4B9-C427EBB8C39C}" destId="{9632C60F-56BA-4ECD-9874-3EA13072391A}" srcOrd="1" destOrd="0" presId="urn:microsoft.com/office/officeart/2005/8/layout/process1"/>
    <dgm:cxn modelId="{83CD11D6-BEF7-42D6-80B2-220B3D53407F}" type="presOf" srcId="{864DE107-B989-48AF-AB66-C74CF83D30CD}" destId="{599C6788-14AC-4886-BE98-CFABBA2B6CBC}"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C6A70228-2CE9-43A7-8967-754075CFF735}" type="presParOf" srcId="{DCDE361F-6528-4B2D-AA1C-75A98D9CF19B}" destId="{D0F3583B-5D16-45E2-90F3-D5928E8BAEEB}" srcOrd="0" destOrd="0" presId="urn:microsoft.com/office/officeart/2005/8/layout/process1"/>
    <dgm:cxn modelId="{6C916588-E7F6-4B68-B364-2AABDCEB92E0}" type="presParOf" srcId="{DCDE361F-6528-4B2D-AA1C-75A98D9CF19B}" destId="{1B57603F-6D14-4EC3-B4E3-8B8E29F0AF82}" srcOrd="1" destOrd="0" presId="urn:microsoft.com/office/officeart/2005/8/layout/process1"/>
    <dgm:cxn modelId="{A2B52319-C0DD-4C35-B06A-637B1A3FE504}" type="presParOf" srcId="{1B57603F-6D14-4EC3-B4E3-8B8E29F0AF82}" destId="{B75A6145-30F1-4A02-8241-CAFBD7613773}" srcOrd="0" destOrd="0" presId="urn:microsoft.com/office/officeart/2005/8/layout/process1"/>
    <dgm:cxn modelId="{B8FDF094-B0E6-406F-B847-3A653F43B81C}" type="presParOf" srcId="{DCDE361F-6528-4B2D-AA1C-75A98D9CF19B}" destId="{5D437852-1E36-4551-AE22-3D21BF486FA9}" srcOrd="2" destOrd="0" presId="urn:microsoft.com/office/officeart/2005/8/layout/process1"/>
    <dgm:cxn modelId="{23B6CC59-7534-4EC7-96B2-C517D310B5C6}" type="presParOf" srcId="{DCDE361F-6528-4B2D-AA1C-75A98D9CF19B}" destId="{CD543A52-B769-4817-BCDB-9E04D3B82E2C}" srcOrd="3" destOrd="0" presId="urn:microsoft.com/office/officeart/2005/8/layout/process1"/>
    <dgm:cxn modelId="{98E0EC1B-2477-4C1D-8188-764DC1AF6E45}" type="presParOf" srcId="{CD543A52-B769-4817-BCDB-9E04D3B82E2C}" destId="{9632C60F-56BA-4ECD-9874-3EA13072391A}" srcOrd="0" destOrd="0" presId="urn:microsoft.com/office/officeart/2005/8/layout/process1"/>
    <dgm:cxn modelId="{6581F46A-3C4A-479A-BBBB-062BBC96308B}" type="presParOf" srcId="{DCDE361F-6528-4B2D-AA1C-75A98D9CF19B}" destId="{599C6788-14AC-4886-BE98-CFABBA2B6CBC}" srcOrd="4" destOrd="0" presId="urn:microsoft.com/office/officeart/2005/8/layout/process1"/>
    <dgm:cxn modelId="{B6D59CDB-0D36-47FC-B6CA-BD378F010FB8}" type="presParOf" srcId="{DCDE361F-6528-4B2D-AA1C-75A98D9CF19B}" destId="{EBA8B8BB-8B80-463D-B5C0-9886029E31EB}" srcOrd="5" destOrd="0" presId="urn:microsoft.com/office/officeart/2005/8/layout/process1"/>
    <dgm:cxn modelId="{FC675B0E-7F68-47AD-937A-C89DDFCD698D}" type="presParOf" srcId="{EBA8B8BB-8B80-463D-B5C0-9886029E31EB}" destId="{B0DBBBA9-28F6-41E3-9EAE-867A084ADCC9}" srcOrd="0" destOrd="0" presId="urn:microsoft.com/office/officeart/2005/8/layout/process1"/>
    <dgm:cxn modelId="{D0A494CF-5B95-4E33-948E-FD34F9AE361D}"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3.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D4DB4A02-CBCE-4DE9-9DB6-D957D67B8E83}" type="presOf" srcId="{8512C525-B3B9-4BFC-8B81-ABE692BCA9B8}" destId="{DCDE361F-6528-4B2D-AA1C-75A98D9CF19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81D4222A-88F7-41E7-898B-3B301EC66259}" type="presOf" srcId="{FCB8ADF2-9891-4EC4-9F8D-3C62A4E3570B}" destId="{D0F3583B-5D16-45E2-90F3-D5928E8BAEEB}" srcOrd="0" destOrd="0" presId="urn:microsoft.com/office/officeart/2005/8/layout/process1"/>
    <dgm:cxn modelId="{8D38C63F-11B3-4281-B084-19C2D9A9FFCD}" type="presOf" srcId="{43157ED2-F950-497C-9847-E7E7C258E927}" destId="{B0DBBBA9-28F6-41E3-9EAE-867A084ADCC9}" srcOrd="1" destOrd="0" presId="urn:microsoft.com/office/officeart/2005/8/layout/process1"/>
    <dgm:cxn modelId="{CEEC1D64-D9C3-401A-841A-4E5184C36930}" type="presOf" srcId="{864DE107-B989-48AF-AB66-C74CF83D30CD}" destId="{599C6788-14AC-4886-BE98-CFABBA2B6CBC}" srcOrd="0" destOrd="0" presId="urn:microsoft.com/office/officeart/2005/8/layout/process1"/>
    <dgm:cxn modelId="{F7A93054-3E38-4289-AD14-30E4FB90598B}" type="presOf" srcId="{2B811016-D430-4B4D-A4B9-C427EBB8C39C}" destId="{9632C60F-56BA-4ECD-9874-3EA13072391A}"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D1CA2455-BB2C-4325-9F30-1BE390757A7F}" type="presOf" srcId="{FF69A2E3-845E-46C4-A44D-095FCDBB9884}" destId="{83AD4C98-81CD-4554-959F-68EE175480AA}" srcOrd="0" destOrd="0" presId="urn:microsoft.com/office/officeart/2005/8/layout/process1"/>
    <dgm:cxn modelId="{CD7ACD8C-68BA-445B-89F3-95E70E4989BA}" type="presOf" srcId="{BFAE7B18-CC4C-4882-92CD-CB1C42AA85E2}" destId="{1B57603F-6D14-4EC3-B4E3-8B8E29F0AF82}"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00015296-17E9-47AB-BE9B-BA1EB96DD0B7}" type="presOf" srcId="{307DC733-853C-4BE3-A615-177512EFCA37}" destId="{5D437852-1E36-4551-AE22-3D21BF486FA9}" srcOrd="0" destOrd="0" presId="urn:microsoft.com/office/officeart/2005/8/layout/process1"/>
    <dgm:cxn modelId="{5DAC37AE-8F06-4D05-A121-B508983E64E7}" type="presOf" srcId="{2B811016-D430-4B4D-A4B9-C427EBB8C39C}" destId="{CD543A52-B769-4817-BCDB-9E04D3B82E2C}" srcOrd="0" destOrd="0" presId="urn:microsoft.com/office/officeart/2005/8/layout/process1"/>
    <dgm:cxn modelId="{C5897EB3-0E3C-4F68-9396-55EA19FEA2BA}" type="presOf" srcId="{43157ED2-F950-497C-9847-E7E7C258E927}" destId="{EBA8B8BB-8B80-463D-B5C0-9886029E31E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33D165EF-3DBC-440D-A568-1EFCC1497226}" type="presOf" srcId="{BFAE7B18-CC4C-4882-92CD-CB1C42AA85E2}" destId="{B75A6145-30F1-4A02-8241-CAFBD7613773}" srcOrd="1" destOrd="0" presId="urn:microsoft.com/office/officeart/2005/8/layout/process1"/>
    <dgm:cxn modelId="{7526AABB-C782-4761-870C-AFFA894FF66D}" type="presParOf" srcId="{DCDE361F-6528-4B2D-AA1C-75A98D9CF19B}" destId="{D0F3583B-5D16-45E2-90F3-D5928E8BAEEB}" srcOrd="0" destOrd="0" presId="urn:microsoft.com/office/officeart/2005/8/layout/process1"/>
    <dgm:cxn modelId="{00B4038A-1364-4FD5-94F7-5B39912C712A}" type="presParOf" srcId="{DCDE361F-6528-4B2D-AA1C-75A98D9CF19B}" destId="{1B57603F-6D14-4EC3-B4E3-8B8E29F0AF82}" srcOrd="1" destOrd="0" presId="urn:microsoft.com/office/officeart/2005/8/layout/process1"/>
    <dgm:cxn modelId="{3DF33493-47A8-4A4A-B47C-026D9586DD8D}" type="presParOf" srcId="{1B57603F-6D14-4EC3-B4E3-8B8E29F0AF82}" destId="{B75A6145-30F1-4A02-8241-CAFBD7613773}" srcOrd="0" destOrd="0" presId="urn:microsoft.com/office/officeart/2005/8/layout/process1"/>
    <dgm:cxn modelId="{98DDD10D-4B8E-4076-ABF1-6B549696342A}" type="presParOf" srcId="{DCDE361F-6528-4B2D-AA1C-75A98D9CF19B}" destId="{5D437852-1E36-4551-AE22-3D21BF486FA9}" srcOrd="2" destOrd="0" presId="urn:microsoft.com/office/officeart/2005/8/layout/process1"/>
    <dgm:cxn modelId="{5B7BB806-52A9-4AE1-94A3-CBF747EECA4E}" type="presParOf" srcId="{DCDE361F-6528-4B2D-AA1C-75A98D9CF19B}" destId="{CD543A52-B769-4817-BCDB-9E04D3B82E2C}" srcOrd="3" destOrd="0" presId="urn:microsoft.com/office/officeart/2005/8/layout/process1"/>
    <dgm:cxn modelId="{021390B7-5184-43F8-B2A7-7F7DDF2780A3}" type="presParOf" srcId="{CD543A52-B769-4817-BCDB-9E04D3B82E2C}" destId="{9632C60F-56BA-4ECD-9874-3EA13072391A}" srcOrd="0" destOrd="0" presId="urn:microsoft.com/office/officeart/2005/8/layout/process1"/>
    <dgm:cxn modelId="{7EC7C7A8-B894-42F3-9AC0-8BA0C9DA9665}" type="presParOf" srcId="{DCDE361F-6528-4B2D-AA1C-75A98D9CF19B}" destId="{599C6788-14AC-4886-BE98-CFABBA2B6CBC}" srcOrd="4" destOrd="0" presId="urn:microsoft.com/office/officeart/2005/8/layout/process1"/>
    <dgm:cxn modelId="{3419125B-FB58-498E-BB05-9369636A3DEB}" type="presParOf" srcId="{DCDE361F-6528-4B2D-AA1C-75A98D9CF19B}" destId="{EBA8B8BB-8B80-463D-B5C0-9886029E31EB}" srcOrd="5" destOrd="0" presId="urn:microsoft.com/office/officeart/2005/8/layout/process1"/>
    <dgm:cxn modelId="{C87FF62B-891A-492F-9CF4-FBD8C8DD20FD}" type="presParOf" srcId="{EBA8B8BB-8B80-463D-B5C0-9886029E31EB}" destId="{B0DBBBA9-28F6-41E3-9EAE-867A084ADCC9}" srcOrd="0" destOrd="0" presId="urn:microsoft.com/office/officeart/2005/8/layout/process1"/>
    <dgm:cxn modelId="{1CC5B0A1-F352-49E4-88C3-16CB568A3E30}"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4.xml><?xml version="1.0" encoding="utf-8"?>
<dgm:dataModel xmlns:dgm="http://schemas.openxmlformats.org/drawingml/2006/diagram" xmlns:a="http://schemas.openxmlformats.org/drawingml/2006/main">
  <dgm:ptLst>
    <dgm:pt modelId="{3BF4B211-7FD7-40CC-869C-1B976F78CC87}"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fr-FR"/>
        </a:p>
      </dgm:t>
    </dgm:pt>
    <dgm:pt modelId="{FBDE8687-4B73-4006-8565-A9110D77B0B7}">
      <dgm:prSet phldrT="[Texte]" custT="1"/>
      <dgm:spPr/>
      <dgm:t>
        <a:bodyPr/>
        <a:lstStyle/>
        <a:p>
          <a:r>
            <a:rPr lang="fr-FR" sz="1200" dirty="0"/>
            <a:t>Risque Non disponibilité de notre besoin à notre production</a:t>
          </a:r>
        </a:p>
      </dgm:t>
    </dgm:pt>
    <dgm:pt modelId="{E988D5D3-671C-4B71-9533-A36925D4D3E1}" type="parTrans" cxnId="{13600170-FAB6-4FF3-BF1F-F7C78C39656F}">
      <dgm:prSet/>
      <dgm:spPr/>
      <dgm:t>
        <a:bodyPr/>
        <a:lstStyle/>
        <a:p>
          <a:endParaRPr lang="fr-FR" sz="1200"/>
        </a:p>
      </dgm:t>
    </dgm:pt>
    <dgm:pt modelId="{758E3588-4FA4-4D24-B419-F6DF14204BA0}" type="sibTrans" cxnId="{13600170-FAB6-4FF3-BF1F-F7C78C39656F}">
      <dgm:prSet custT="1"/>
      <dgm:spPr/>
      <dgm:t>
        <a:bodyPr/>
        <a:lstStyle/>
        <a:p>
          <a:endParaRPr lang="fr-FR" sz="1200"/>
        </a:p>
      </dgm:t>
    </dgm:pt>
    <dgm:pt modelId="{0611C66E-3DB9-473B-9035-5C24A8438880}">
      <dgm:prSet custT="1"/>
      <dgm:spPr/>
      <dgm:t>
        <a:bodyPr/>
        <a:lstStyle/>
        <a:p>
          <a:r>
            <a:rPr lang="fr-FR" sz="1200" dirty="0"/>
            <a:t>Absence d’une visibilité sur l’atteinte de l’objectif  </a:t>
          </a:r>
        </a:p>
      </dgm:t>
    </dgm:pt>
    <dgm:pt modelId="{EB6120F1-08E1-4DA2-812C-2553083A451F}" type="parTrans" cxnId="{B6D827B6-72B7-4E92-960C-0EB2477EBEA0}">
      <dgm:prSet/>
      <dgm:spPr/>
      <dgm:t>
        <a:bodyPr/>
        <a:lstStyle/>
        <a:p>
          <a:endParaRPr lang="fr-FR" sz="1200"/>
        </a:p>
      </dgm:t>
    </dgm:pt>
    <dgm:pt modelId="{97A6CEA9-8D57-4E37-94A1-04E7AF70C705}" type="sibTrans" cxnId="{B6D827B6-72B7-4E92-960C-0EB2477EBEA0}">
      <dgm:prSet custT="1"/>
      <dgm:spPr/>
      <dgm:t>
        <a:bodyPr/>
        <a:lstStyle/>
        <a:p>
          <a:endParaRPr lang="fr-FR" sz="1200"/>
        </a:p>
      </dgm:t>
    </dgm:pt>
    <dgm:pt modelId="{973A2C3B-60FA-4CD3-BF4B-AFFF635AD91A}">
      <dgm:prSet custT="1"/>
      <dgm:spPr/>
      <dgm:t>
        <a:bodyPr/>
        <a:lstStyle/>
        <a:p>
          <a:r>
            <a:rPr lang="fr-FR" sz="1200" dirty="0"/>
            <a:t>Retard d'envoi de certificats d’analyse </a:t>
          </a:r>
        </a:p>
      </dgm:t>
    </dgm:pt>
    <dgm:pt modelId="{370FD0D0-46B0-4A7F-9231-BE230216597C}" type="parTrans" cxnId="{180D480D-5DD3-4DDA-9750-63FD0C7BE0E5}">
      <dgm:prSet/>
      <dgm:spPr/>
      <dgm:t>
        <a:bodyPr/>
        <a:lstStyle/>
        <a:p>
          <a:endParaRPr lang="fr-FR" sz="1200"/>
        </a:p>
      </dgm:t>
    </dgm:pt>
    <dgm:pt modelId="{AAF43894-B421-4AD8-A531-7CA7DF1998D8}" type="sibTrans" cxnId="{180D480D-5DD3-4DDA-9750-63FD0C7BE0E5}">
      <dgm:prSet custT="1"/>
      <dgm:spPr/>
      <dgm:t>
        <a:bodyPr/>
        <a:lstStyle/>
        <a:p>
          <a:endParaRPr lang="fr-FR" sz="1200"/>
        </a:p>
      </dgm:t>
    </dgm:pt>
    <dgm:pt modelId="{2FB4D8BE-19AF-45ED-98B4-31CA2F46182C}">
      <dgm:prSet custT="1"/>
      <dgm:spPr/>
      <dgm:t>
        <a:bodyPr/>
        <a:lstStyle/>
        <a:p>
          <a:r>
            <a:rPr lang="fr-FR" sz="1200" dirty="0"/>
            <a:t>Le temps pour réaliser des essais pour valider le produit (la matière)  </a:t>
          </a:r>
        </a:p>
      </dgm:t>
    </dgm:pt>
    <dgm:pt modelId="{9133D51B-49FB-444E-9876-2BD2B4B612A6}" type="parTrans" cxnId="{E8997DCF-E5D8-4A98-8A9E-C5549DE170FD}">
      <dgm:prSet/>
      <dgm:spPr/>
      <dgm:t>
        <a:bodyPr/>
        <a:lstStyle/>
        <a:p>
          <a:endParaRPr lang="fr-FR" sz="1200"/>
        </a:p>
      </dgm:t>
    </dgm:pt>
    <dgm:pt modelId="{157E3E73-0FF8-4B87-85F3-0FC27B8AC8F2}" type="sibTrans" cxnId="{E8997DCF-E5D8-4A98-8A9E-C5549DE170FD}">
      <dgm:prSet custT="1"/>
      <dgm:spPr/>
      <dgm:t>
        <a:bodyPr/>
        <a:lstStyle/>
        <a:p>
          <a:endParaRPr lang="fr-FR" sz="1200"/>
        </a:p>
      </dgm:t>
    </dgm:pt>
    <dgm:pt modelId="{75ADDBCF-9070-4C32-A459-8C43997262D1}">
      <dgm:prSet custT="1"/>
      <dgm:spPr/>
      <dgm:t>
        <a:bodyPr/>
        <a:lstStyle/>
        <a:p>
          <a:r>
            <a:rPr lang="fr-FR" sz="1200" dirty="0"/>
            <a:t>Date de libération de la matière première  </a:t>
          </a:r>
        </a:p>
      </dgm:t>
    </dgm:pt>
    <dgm:pt modelId="{8327EF01-479C-4FD6-9887-2545B5AF57F4}" type="parTrans" cxnId="{308BAF0B-9645-472E-8024-FE4E5B9D6C95}">
      <dgm:prSet/>
      <dgm:spPr/>
      <dgm:t>
        <a:bodyPr/>
        <a:lstStyle/>
        <a:p>
          <a:endParaRPr lang="fr-FR" sz="1200"/>
        </a:p>
      </dgm:t>
    </dgm:pt>
    <dgm:pt modelId="{BB4056C4-EF7C-4EC9-AFAC-EADE89D0CD3C}" type="sibTrans" cxnId="{308BAF0B-9645-472E-8024-FE4E5B9D6C95}">
      <dgm:prSet/>
      <dgm:spPr/>
      <dgm:t>
        <a:bodyPr/>
        <a:lstStyle/>
        <a:p>
          <a:endParaRPr lang="fr-FR" sz="1200"/>
        </a:p>
      </dgm:t>
    </dgm:pt>
    <dgm:pt modelId="{9724F1C5-06AA-41D6-80DA-64BAA96C80DB}" type="pres">
      <dgm:prSet presAssocID="{3BF4B211-7FD7-40CC-869C-1B976F78CC87}" presName="outerComposite" presStyleCnt="0">
        <dgm:presLayoutVars>
          <dgm:chMax val="5"/>
          <dgm:dir/>
          <dgm:resizeHandles val="exact"/>
        </dgm:presLayoutVars>
      </dgm:prSet>
      <dgm:spPr/>
    </dgm:pt>
    <dgm:pt modelId="{379C4016-D38D-4CD0-A556-0F4331E593BA}" type="pres">
      <dgm:prSet presAssocID="{3BF4B211-7FD7-40CC-869C-1B976F78CC87}" presName="dummyMaxCanvas" presStyleCnt="0">
        <dgm:presLayoutVars/>
      </dgm:prSet>
      <dgm:spPr/>
    </dgm:pt>
    <dgm:pt modelId="{2DD243D8-E264-40EB-BBA3-3F40E5AB8FAE}" type="pres">
      <dgm:prSet presAssocID="{3BF4B211-7FD7-40CC-869C-1B976F78CC87}" presName="FiveNodes_1" presStyleLbl="node1" presStyleIdx="0" presStyleCnt="5">
        <dgm:presLayoutVars>
          <dgm:bulletEnabled val="1"/>
        </dgm:presLayoutVars>
      </dgm:prSet>
      <dgm:spPr/>
    </dgm:pt>
    <dgm:pt modelId="{BA4EC541-B93A-4C74-A8EA-D1CAD8BD38B0}" type="pres">
      <dgm:prSet presAssocID="{3BF4B211-7FD7-40CC-869C-1B976F78CC87}" presName="FiveNodes_2" presStyleLbl="node1" presStyleIdx="1" presStyleCnt="5">
        <dgm:presLayoutVars>
          <dgm:bulletEnabled val="1"/>
        </dgm:presLayoutVars>
      </dgm:prSet>
      <dgm:spPr/>
    </dgm:pt>
    <dgm:pt modelId="{2CDA5766-E90A-4CDE-8C90-7BA8E3E78D02}" type="pres">
      <dgm:prSet presAssocID="{3BF4B211-7FD7-40CC-869C-1B976F78CC87}" presName="FiveNodes_3" presStyleLbl="node1" presStyleIdx="2" presStyleCnt="5">
        <dgm:presLayoutVars>
          <dgm:bulletEnabled val="1"/>
        </dgm:presLayoutVars>
      </dgm:prSet>
      <dgm:spPr/>
    </dgm:pt>
    <dgm:pt modelId="{C49A7DEF-7C42-4995-A174-72C727E3DBCF}" type="pres">
      <dgm:prSet presAssocID="{3BF4B211-7FD7-40CC-869C-1B976F78CC87}" presName="FiveNodes_4" presStyleLbl="node1" presStyleIdx="3" presStyleCnt="5">
        <dgm:presLayoutVars>
          <dgm:bulletEnabled val="1"/>
        </dgm:presLayoutVars>
      </dgm:prSet>
      <dgm:spPr/>
    </dgm:pt>
    <dgm:pt modelId="{7C325972-3115-444C-9D8A-72A4FF75D281}" type="pres">
      <dgm:prSet presAssocID="{3BF4B211-7FD7-40CC-869C-1B976F78CC87}" presName="FiveNodes_5" presStyleLbl="node1" presStyleIdx="4" presStyleCnt="5">
        <dgm:presLayoutVars>
          <dgm:bulletEnabled val="1"/>
        </dgm:presLayoutVars>
      </dgm:prSet>
      <dgm:spPr/>
    </dgm:pt>
    <dgm:pt modelId="{4BBC3501-687F-497F-9C2B-390F17D91124}" type="pres">
      <dgm:prSet presAssocID="{3BF4B211-7FD7-40CC-869C-1B976F78CC87}" presName="FiveConn_1-2" presStyleLbl="fgAccFollowNode1" presStyleIdx="0" presStyleCnt="4">
        <dgm:presLayoutVars>
          <dgm:bulletEnabled val="1"/>
        </dgm:presLayoutVars>
      </dgm:prSet>
      <dgm:spPr/>
    </dgm:pt>
    <dgm:pt modelId="{AB68EB39-04F6-46D6-9058-073576E38CB2}" type="pres">
      <dgm:prSet presAssocID="{3BF4B211-7FD7-40CC-869C-1B976F78CC87}" presName="FiveConn_2-3" presStyleLbl="fgAccFollowNode1" presStyleIdx="1" presStyleCnt="4">
        <dgm:presLayoutVars>
          <dgm:bulletEnabled val="1"/>
        </dgm:presLayoutVars>
      </dgm:prSet>
      <dgm:spPr/>
    </dgm:pt>
    <dgm:pt modelId="{6764E931-1920-4372-9731-0183C34816D7}" type="pres">
      <dgm:prSet presAssocID="{3BF4B211-7FD7-40CC-869C-1B976F78CC87}" presName="FiveConn_3-4" presStyleLbl="fgAccFollowNode1" presStyleIdx="2" presStyleCnt="4">
        <dgm:presLayoutVars>
          <dgm:bulletEnabled val="1"/>
        </dgm:presLayoutVars>
      </dgm:prSet>
      <dgm:spPr/>
    </dgm:pt>
    <dgm:pt modelId="{515BA560-2CB5-4F34-8BCA-F62A1E881CDD}" type="pres">
      <dgm:prSet presAssocID="{3BF4B211-7FD7-40CC-869C-1B976F78CC87}" presName="FiveConn_4-5" presStyleLbl="fgAccFollowNode1" presStyleIdx="3" presStyleCnt="4">
        <dgm:presLayoutVars>
          <dgm:bulletEnabled val="1"/>
        </dgm:presLayoutVars>
      </dgm:prSet>
      <dgm:spPr/>
    </dgm:pt>
    <dgm:pt modelId="{D8824ADC-84FC-4673-BDFC-D10C9A40EB8C}" type="pres">
      <dgm:prSet presAssocID="{3BF4B211-7FD7-40CC-869C-1B976F78CC87}" presName="FiveNodes_1_text" presStyleLbl="node1" presStyleIdx="4" presStyleCnt="5">
        <dgm:presLayoutVars>
          <dgm:bulletEnabled val="1"/>
        </dgm:presLayoutVars>
      </dgm:prSet>
      <dgm:spPr/>
    </dgm:pt>
    <dgm:pt modelId="{D9C5C064-ABFE-42A7-BE6C-4DC96649A410}" type="pres">
      <dgm:prSet presAssocID="{3BF4B211-7FD7-40CC-869C-1B976F78CC87}" presName="FiveNodes_2_text" presStyleLbl="node1" presStyleIdx="4" presStyleCnt="5">
        <dgm:presLayoutVars>
          <dgm:bulletEnabled val="1"/>
        </dgm:presLayoutVars>
      </dgm:prSet>
      <dgm:spPr/>
    </dgm:pt>
    <dgm:pt modelId="{3E4EF9B0-07C4-4854-AB41-8C74E5E70BEE}" type="pres">
      <dgm:prSet presAssocID="{3BF4B211-7FD7-40CC-869C-1B976F78CC87}" presName="FiveNodes_3_text" presStyleLbl="node1" presStyleIdx="4" presStyleCnt="5">
        <dgm:presLayoutVars>
          <dgm:bulletEnabled val="1"/>
        </dgm:presLayoutVars>
      </dgm:prSet>
      <dgm:spPr/>
    </dgm:pt>
    <dgm:pt modelId="{623CC62B-BFAD-4E1F-A6EE-EAEF9431E33F}" type="pres">
      <dgm:prSet presAssocID="{3BF4B211-7FD7-40CC-869C-1B976F78CC87}" presName="FiveNodes_4_text" presStyleLbl="node1" presStyleIdx="4" presStyleCnt="5">
        <dgm:presLayoutVars>
          <dgm:bulletEnabled val="1"/>
        </dgm:presLayoutVars>
      </dgm:prSet>
      <dgm:spPr/>
    </dgm:pt>
    <dgm:pt modelId="{F335D930-63F8-4AEC-AB2C-048C1640F308}" type="pres">
      <dgm:prSet presAssocID="{3BF4B211-7FD7-40CC-869C-1B976F78CC87}" presName="FiveNodes_5_text" presStyleLbl="node1" presStyleIdx="4" presStyleCnt="5">
        <dgm:presLayoutVars>
          <dgm:bulletEnabled val="1"/>
        </dgm:presLayoutVars>
      </dgm:prSet>
      <dgm:spPr/>
    </dgm:pt>
  </dgm:ptLst>
  <dgm:cxnLst>
    <dgm:cxn modelId="{E8B54501-6EEB-45EB-814B-094F0F01E67A}" type="presOf" srcId="{2FB4D8BE-19AF-45ED-98B4-31CA2F46182C}" destId="{C49A7DEF-7C42-4995-A174-72C727E3DBCF}" srcOrd="0" destOrd="0" presId="urn:microsoft.com/office/officeart/2005/8/layout/vProcess5"/>
    <dgm:cxn modelId="{308BAF0B-9645-472E-8024-FE4E5B9D6C95}" srcId="{3BF4B211-7FD7-40CC-869C-1B976F78CC87}" destId="{75ADDBCF-9070-4C32-A459-8C43997262D1}" srcOrd="4" destOrd="0" parTransId="{8327EF01-479C-4FD6-9887-2545B5AF57F4}" sibTransId="{BB4056C4-EF7C-4EC9-AFAC-EADE89D0CD3C}"/>
    <dgm:cxn modelId="{180D480D-5DD3-4DDA-9750-63FD0C7BE0E5}" srcId="{3BF4B211-7FD7-40CC-869C-1B976F78CC87}" destId="{973A2C3B-60FA-4CD3-BF4B-AFFF635AD91A}" srcOrd="2" destOrd="0" parTransId="{370FD0D0-46B0-4A7F-9231-BE230216597C}" sibTransId="{AAF43894-B421-4AD8-A531-7CA7DF1998D8}"/>
    <dgm:cxn modelId="{9181B71A-5DD8-4867-9123-863457C70928}" type="presOf" srcId="{973A2C3B-60FA-4CD3-BF4B-AFFF635AD91A}" destId="{3E4EF9B0-07C4-4854-AB41-8C74E5E70BEE}" srcOrd="1" destOrd="0" presId="urn:microsoft.com/office/officeart/2005/8/layout/vProcess5"/>
    <dgm:cxn modelId="{E10D3F2C-0C1A-41A0-85CB-576B311BDA5B}" type="presOf" srcId="{AAF43894-B421-4AD8-A531-7CA7DF1998D8}" destId="{6764E931-1920-4372-9731-0183C34816D7}" srcOrd="0" destOrd="0" presId="urn:microsoft.com/office/officeart/2005/8/layout/vProcess5"/>
    <dgm:cxn modelId="{52FF4836-1A30-4E26-9994-A240C1116A17}" type="presOf" srcId="{0611C66E-3DB9-473B-9035-5C24A8438880}" destId="{BA4EC541-B93A-4C74-A8EA-D1CAD8BD38B0}" srcOrd="0" destOrd="0" presId="urn:microsoft.com/office/officeart/2005/8/layout/vProcess5"/>
    <dgm:cxn modelId="{2AFE595D-FC26-4406-ACCF-9F45FF9BA6EC}" type="presOf" srcId="{FBDE8687-4B73-4006-8565-A9110D77B0B7}" destId="{2DD243D8-E264-40EB-BBA3-3F40E5AB8FAE}" srcOrd="0" destOrd="0" presId="urn:microsoft.com/office/officeart/2005/8/layout/vProcess5"/>
    <dgm:cxn modelId="{E239D54D-8DC1-4002-B616-250566F5D555}" type="presOf" srcId="{758E3588-4FA4-4D24-B419-F6DF14204BA0}" destId="{4BBC3501-687F-497F-9C2B-390F17D91124}" srcOrd="0" destOrd="0" presId="urn:microsoft.com/office/officeart/2005/8/layout/vProcess5"/>
    <dgm:cxn modelId="{13600170-FAB6-4FF3-BF1F-F7C78C39656F}" srcId="{3BF4B211-7FD7-40CC-869C-1B976F78CC87}" destId="{FBDE8687-4B73-4006-8565-A9110D77B0B7}" srcOrd="0" destOrd="0" parTransId="{E988D5D3-671C-4B71-9533-A36925D4D3E1}" sibTransId="{758E3588-4FA4-4D24-B419-F6DF14204BA0}"/>
    <dgm:cxn modelId="{99CA0452-5ACC-4B2D-9882-34F0128B414A}" type="presOf" srcId="{75ADDBCF-9070-4C32-A459-8C43997262D1}" destId="{7C325972-3115-444C-9D8A-72A4FF75D281}" srcOrd="0" destOrd="0" presId="urn:microsoft.com/office/officeart/2005/8/layout/vProcess5"/>
    <dgm:cxn modelId="{739B998B-80B1-48F2-93BA-C1CF8261C768}" type="presOf" srcId="{973A2C3B-60FA-4CD3-BF4B-AFFF635AD91A}" destId="{2CDA5766-E90A-4CDE-8C90-7BA8E3E78D02}" srcOrd="0" destOrd="0" presId="urn:microsoft.com/office/officeart/2005/8/layout/vProcess5"/>
    <dgm:cxn modelId="{B43D6CB1-6C43-4260-9CD8-03656E364EFE}" type="presOf" srcId="{FBDE8687-4B73-4006-8565-A9110D77B0B7}" destId="{D8824ADC-84FC-4673-BDFC-D10C9A40EB8C}" srcOrd="1" destOrd="0" presId="urn:microsoft.com/office/officeart/2005/8/layout/vProcess5"/>
    <dgm:cxn modelId="{B6D827B6-72B7-4E92-960C-0EB2477EBEA0}" srcId="{3BF4B211-7FD7-40CC-869C-1B976F78CC87}" destId="{0611C66E-3DB9-473B-9035-5C24A8438880}" srcOrd="1" destOrd="0" parTransId="{EB6120F1-08E1-4DA2-812C-2553083A451F}" sibTransId="{97A6CEA9-8D57-4E37-94A1-04E7AF70C705}"/>
    <dgm:cxn modelId="{E416B3C8-503B-4CBF-B346-6D716173C6B0}" type="presOf" srcId="{0611C66E-3DB9-473B-9035-5C24A8438880}" destId="{D9C5C064-ABFE-42A7-BE6C-4DC96649A410}" srcOrd="1" destOrd="0" presId="urn:microsoft.com/office/officeart/2005/8/layout/vProcess5"/>
    <dgm:cxn modelId="{E8997DCF-E5D8-4A98-8A9E-C5549DE170FD}" srcId="{3BF4B211-7FD7-40CC-869C-1B976F78CC87}" destId="{2FB4D8BE-19AF-45ED-98B4-31CA2F46182C}" srcOrd="3" destOrd="0" parTransId="{9133D51B-49FB-444E-9876-2BD2B4B612A6}" sibTransId="{157E3E73-0FF8-4B87-85F3-0FC27B8AC8F2}"/>
    <dgm:cxn modelId="{906238D5-BBA1-4609-A4A3-A1A7F505C767}" type="presOf" srcId="{2FB4D8BE-19AF-45ED-98B4-31CA2F46182C}" destId="{623CC62B-BFAD-4E1F-A6EE-EAEF9431E33F}" srcOrd="1" destOrd="0" presId="urn:microsoft.com/office/officeart/2005/8/layout/vProcess5"/>
    <dgm:cxn modelId="{C9DB6CD5-E1E2-43A4-8065-E1FFE5C80193}" type="presOf" srcId="{3BF4B211-7FD7-40CC-869C-1B976F78CC87}" destId="{9724F1C5-06AA-41D6-80DA-64BAA96C80DB}" srcOrd="0" destOrd="0" presId="urn:microsoft.com/office/officeart/2005/8/layout/vProcess5"/>
    <dgm:cxn modelId="{B2FC98DC-5D68-4FD5-B0AE-225DA8AAD48A}" type="presOf" srcId="{97A6CEA9-8D57-4E37-94A1-04E7AF70C705}" destId="{AB68EB39-04F6-46D6-9058-073576E38CB2}" srcOrd="0" destOrd="0" presId="urn:microsoft.com/office/officeart/2005/8/layout/vProcess5"/>
    <dgm:cxn modelId="{D8BB51E8-6BAB-491A-9674-D173E3715B16}" type="presOf" srcId="{75ADDBCF-9070-4C32-A459-8C43997262D1}" destId="{F335D930-63F8-4AEC-AB2C-048C1640F308}" srcOrd="1" destOrd="0" presId="urn:microsoft.com/office/officeart/2005/8/layout/vProcess5"/>
    <dgm:cxn modelId="{9DD7D6F1-AADA-4F75-A436-B94A4F1DEFA6}" type="presOf" srcId="{157E3E73-0FF8-4B87-85F3-0FC27B8AC8F2}" destId="{515BA560-2CB5-4F34-8BCA-F62A1E881CDD}" srcOrd="0" destOrd="0" presId="urn:microsoft.com/office/officeart/2005/8/layout/vProcess5"/>
    <dgm:cxn modelId="{4AC0DF92-38CF-49DA-A7D5-2D4284CF2982}" type="presParOf" srcId="{9724F1C5-06AA-41D6-80DA-64BAA96C80DB}" destId="{379C4016-D38D-4CD0-A556-0F4331E593BA}" srcOrd="0" destOrd="0" presId="urn:microsoft.com/office/officeart/2005/8/layout/vProcess5"/>
    <dgm:cxn modelId="{1CDB2313-6654-4BC3-9B9F-FF3F7CCE218E}" type="presParOf" srcId="{9724F1C5-06AA-41D6-80DA-64BAA96C80DB}" destId="{2DD243D8-E264-40EB-BBA3-3F40E5AB8FAE}" srcOrd="1" destOrd="0" presId="urn:microsoft.com/office/officeart/2005/8/layout/vProcess5"/>
    <dgm:cxn modelId="{617A2493-FE29-460A-AC24-2F644B8CE529}" type="presParOf" srcId="{9724F1C5-06AA-41D6-80DA-64BAA96C80DB}" destId="{BA4EC541-B93A-4C74-A8EA-D1CAD8BD38B0}" srcOrd="2" destOrd="0" presId="urn:microsoft.com/office/officeart/2005/8/layout/vProcess5"/>
    <dgm:cxn modelId="{0957E24F-468B-49FF-91AB-F3A6D0304EF4}" type="presParOf" srcId="{9724F1C5-06AA-41D6-80DA-64BAA96C80DB}" destId="{2CDA5766-E90A-4CDE-8C90-7BA8E3E78D02}" srcOrd="3" destOrd="0" presId="urn:microsoft.com/office/officeart/2005/8/layout/vProcess5"/>
    <dgm:cxn modelId="{724394C9-3209-4220-97FA-5E73740B5776}" type="presParOf" srcId="{9724F1C5-06AA-41D6-80DA-64BAA96C80DB}" destId="{C49A7DEF-7C42-4995-A174-72C727E3DBCF}" srcOrd="4" destOrd="0" presId="urn:microsoft.com/office/officeart/2005/8/layout/vProcess5"/>
    <dgm:cxn modelId="{BD531C7F-43BE-4F8E-93BD-F5F4386ADB79}" type="presParOf" srcId="{9724F1C5-06AA-41D6-80DA-64BAA96C80DB}" destId="{7C325972-3115-444C-9D8A-72A4FF75D281}" srcOrd="5" destOrd="0" presId="urn:microsoft.com/office/officeart/2005/8/layout/vProcess5"/>
    <dgm:cxn modelId="{75DCC588-E578-4E75-9532-7C6EFB5976C1}" type="presParOf" srcId="{9724F1C5-06AA-41D6-80DA-64BAA96C80DB}" destId="{4BBC3501-687F-497F-9C2B-390F17D91124}" srcOrd="6" destOrd="0" presId="urn:microsoft.com/office/officeart/2005/8/layout/vProcess5"/>
    <dgm:cxn modelId="{FB1FCFCD-4548-4855-9F2F-C4DC3ADAD5C8}" type="presParOf" srcId="{9724F1C5-06AA-41D6-80DA-64BAA96C80DB}" destId="{AB68EB39-04F6-46D6-9058-073576E38CB2}" srcOrd="7" destOrd="0" presId="urn:microsoft.com/office/officeart/2005/8/layout/vProcess5"/>
    <dgm:cxn modelId="{2A37021C-DB95-4CA2-A62A-12D7FD545D56}" type="presParOf" srcId="{9724F1C5-06AA-41D6-80DA-64BAA96C80DB}" destId="{6764E931-1920-4372-9731-0183C34816D7}" srcOrd="8" destOrd="0" presId="urn:microsoft.com/office/officeart/2005/8/layout/vProcess5"/>
    <dgm:cxn modelId="{F9B5F741-DA17-4D04-BA06-9F2D3BA16544}" type="presParOf" srcId="{9724F1C5-06AA-41D6-80DA-64BAA96C80DB}" destId="{515BA560-2CB5-4F34-8BCA-F62A1E881CDD}" srcOrd="9" destOrd="0" presId="urn:microsoft.com/office/officeart/2005/8/layout/vProcess5"/>
    <dgm:cxn modelId="{F37FE1AD-07E2-43E4-8E73-57A27D4B682C}" type="presParOf" srcId="{9724F1C5-06AA-41D6-80DA-64BAA96C80DB}" destId="{D8824ADC-84FC-4673-BDFC-D10C9A40EB8C}" srcOrd="10" destOrd="0" presId="urn:microsoft.com/office/officeart/2005/8/layout/vProcess5"/>
    <dgm:cxn modelId="{F16607E2-F7DC-4D4B-B64D-111CF6DF9C68}" type="presParOf" srcId="{9724F1C5-06AA-41D6-80DA-64BAA96C80DB}" destId="{D9C5C064-ABFE-42A7-BE6C-4DC96649A410}" srcOrd="11" destOrd="0" presId="urn:microsoft.com/office/officeart/2005/8/layout/vProcess5"/>
    <dgm:cxn modelId="{8E7BF0DB-B4F6-4F30-B2F6-5020E35B9932}" type="presParOf" srcId="{9724F1C5-06AA-41D6-80DA-64BAA96C80DB}" destId="{3E4EF9B0-07C4-4854-AB41-8C74E5E70BEE}" srcOrd="12" destOrd="0" presId="urn:microsoft.com/office/officeart/2005/8/layout/vProcess5"/>
    <dgm:cxn modelId="{2D7A8DD7-FFD5-4056-A758-108F4C272B12}" type="presParOf" srcId="{9724F1C5-06AA-41D6-80DA-64BAA96C80DB}" destId="{623CC62B-BFAD-4E1F-A6EE-EAEF9431E33F}" srcOrd="13" destOrd="0" presId="urn:microsoft.com/office/officeart/2005/8/layout/vProcess5"/>
    <dgm:cxn modelId="{8BEB9B86-8E88-4CFB-933E-E49C39745534}" type="presParOf" srcId="{9724F1C5-06AA-41D6-80DA-64BAA96C80DB}" destId="{F335D930-63F8-4AEC-AB2C-048C1640F308}"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3946441-0C41-4792-AE0A-BAC6A603E7B9}"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fr-FR"/>
        </a:p>
      </dgm:t>
    </dgm:pt>
    <dgm:pt modelId="{95CDCD89-6C7C-464E-B06B-5712EC5871AB}">
      <dgm:prSet custT="1"/>
      <dgm:spPr/>
      <dgm:t>
        <a:bodyPr/>
        <a:lstStyle/>
        <a:p>
          <a:r>
            <a:rPr lang="fr-FR" sz="1200" dirty="0"/>
            <a:t>Rupture chez le fournisseurs :(Problème technique  chez le fournisseurs)   </a:t>
          </a:r>
        </a:p>
      </dgm:t>
    </dgm:pt>
    <dgm:pt modelId="{7D0B1C36-82C3-45F9-970D-BF6B64B99E86}" type="parTrans" cxnId="{1F6FAAC6-C676-4576-9E3D-3E6836EB859B}">
      <dgm:prSet/>
      <dgm:spPr/>
      <dgm:t>
        <a:bodyPr/>
        <a:lstStyle/>
        <a:p>
          <a:endParaRPr lang="fr-FR" sz="1200"/>
        </a:p>
      </dgm:t>
    </dgm:pt>
    <dgm:pt modelId="{BF875797-A599-4A23-A7F8-B57652C19164}" type="sibTrans" cxnId="{1F6FAAC6-C676-4576-9E3D-3E6836EB859B}">
      <dgm:prSet custT="1"/>
      <dgm:spPr/>
      <dgm:t>
        <a:bodyPr/>
        <a:lstStyle/>
        <a:p>
          <a:endParaRPr lang="fr-FR" sz="1200"/>
        </a:p>
      </dgm:t>
    </dgm:pt>
    <dgm:pt modelId="{9D4518DE-D557-40E2-97F6-1E397A90F7CB}">
      <dgm:prSet custT="1"/>
      <dgm:spPr/>
      <dgm:t>
        <a:bodyPr/>
        <a:lstStyle/>
        <a:p>
          <a:r>
            <a:rPr lang="fr-FR" sz="1200" dirty="0"/>
            <a:t>croissance de vente : Plan prévisionnels de notre besoin non fixé ( flux tendue) la variabilité du besoin                </a:t>
          </a:r>
        </a:p>
      </dgm:t>
    </dgm:pt>
    <dgm:pt modelId="{8F32EAD6-F36D-4C84-B73C-4EFD214202B8}" type="parTrans" cxnId="{8EF684C1-185B-49E7-BE87-F267FBE943B0}">
      <dgm:prSet/>
      <dgm:spPr/>
      <dgm:t>
        <a:bodyPr/>
        <a:lstStyle/>
        <a:p>
          <a:endParaRPr lang="fr-FR" sz="1200"/>
        </a:p>
      </dgm:t>
    </dgm:pt>
    <dgm:pt modelId="{A09B71A0-9006-405B-BBEA-FB6D035D5AAA}" type="sibTrans" cxnId="{8EF684C1-185B-49E7-BE87-F267FBE943B0}">
      <dgm:prSet custT="1"/>
      <dgm:spPr/>
      <dgm:t>
        <a:bodyPr/>
        <a:lstStyle/>
        <a:p>
          <a:endParaRPr lang="fr-FR" sz="1200"/>
        </a:p>
      </dgm:t>
    </dgm:pt>
    <dgm:pt modelId="{903061BD-7577-48FD-8BE4-6C948AEB1CDA}">
      <dgm:prSet phldrT="[Texte]" custT="1"/>
      <dgm:spPr/>
      <dgm:t>
        <a:bodyPr/>
        <a:lstStyle/>
        <a:p>
          <a:r>
            <a:rPr lang="fr-FR" sz="1200" dirty="0"/>
            <a:t>Absence d’une visibilité sur l’atteinte de l’objectif            </a:t>
          </a:r>
        </a:p>
      </dgm:t>
    </dgm:pt>
    <dgm:pt modelId="{718F68DD-46FE-4C14-AF27-B87C693D5257}" type="parTrans" cxnId="{F444A18C-687D-4077-9D79-6F12DB9D5E3E}">
      <dgm:prSet/>
      <dgm:spPr/>
      <dgm:t>
        <a:bodyPr/>
        <a:lstStyle/>
        <a:p>
          <a:endParaRPr lang="fr-FR" sz="1200"/>
        </a:p>
      </dgm:t>
    </dgm:pt>
    <dgm:pt modelId="{8A05D285-E8FB-45A1-93B1-1FD35451E779}" type="sibTrans" cxnId="{F444A18C-687D-4077-9D79-6F12DB9D5E3E}">
      <dgm:prSet custT="1"/>
      <dgm:spPr/>
      <dgm:t>
        <a:bodyPr/>
        <a:lstStyle/>
        <a:p>
          <a:endParaRPr lang="fr-FR" sz="1200"/>
        </a:p>
      </dgm:t>
    </dgm:pt>
    <dgm:pt modelId="{36027716-1341-42F7-A1F4-0AB5402E8A54}">
      <dgm:prSet custT="1"/>
      <dgm:spPr/>
      <dgm:t>
        <a:bodyPr/>
        <a:lstStyle/>
        <a:p>
          <a:r>
            <a:rPr lang="fr-FR" sz="1200" dirty="0"/>
            <a:t>Le fournisseurs a deux  </a:t>
          </a:r>
          <a:r>
            <a:rPr lang="fr-FR" sz="1200" dirty="0" err="1"/>
            <a:t>Vendor</a:t>
          </a:r>
          <a:r>
            <a:rPr lang="fr-FR" sz="1200" dirty="0"/>
            <a:t> site dans le système Globe</a:t>
          </a:r>
        </a:p>
      </dgm:t>
    </dgm:pt>
    <dgm:pt modelId="{4038DEB4-2E9E-4689-A883-337153344D67}" type="parTrans" cxnId="{6A00248B-6E3B-458A-BD84-1BAAA195C81D}">
      <dgm:prSet/>
      <dgm:spPr/>
      <dgm:t>
        <a:bodyPr/>
        <a:lstStyle/>
        <a:p>
          <a:endParaRPr lang="fr-FR" sz="1200"/>
        </a:p>
      </dgm:t>
    </dgm:pt>
    <dgm:pt modelId="{7FE0F35D-A10E-4463-A878-E17DEA1A8A7E}" type="sibTrans" cxnId="{6A00248B-6E3B-458A-BD84-1BAAA195C81D}">
      <dgm:prSet/>
      <dgm:spPr/>
      <dgm:t>
        <a:bodyPr/>
        <a:lstStyle/>
        <a:p>
          <a:endParaRPr lang="fr-FR" sz="1200"/>
        </a:p>
      </dgm:t>
    </dgm:pt>
    <dgm:pt modelId="{A1ABAFFE-169D-4748-83A7-A1D8B7870615}" type="pres">
      <dgm:prSet presAssocID="{53946441-0C41-4792-AE0A-BAC6A603E7B9}" presName="outerComposite" presStyleCnt="0">
        <dgm:presLayoutVars>
          <dgm:chMax val="5"/>
          <dgm:dir/>
          <dgm:resizeHandles val="exact"/>
        </dgm:presLayoutVars>
      </dgm:prSet>
      <dgm:spPr/>
    </dgm:pt>
    <dgm:pt modelId="{B2A28608-F530-4B3F-AD91-DDD453A9384F}" type="pres">
      <dgm:prSet presAssocID="{53946441-0C41-4792-AE0A-BAC6A603E7B9}" presName="dummyMaxCanvas" presStyleCnt="0">
        <dgm:presLayoutVars/>
      </dgm:prSet>
      <dgm:spPr/>
    </dgm:pt>
    <dgm:pt modelId="{349C68E6-8E27-4C36-B39C-F156C7388983}" type="pres">
      <dgm:prSet presAssocID="{53946441-0C41-4792-AE0A-BAC6A603E7B9}" presName="FourNodes_1" presStyleLbl="node1" presStyleIdx="0" presStyleCnt="4">
        <dgm:presLayoutVars>
          <dgm:bulletEnabled val="1"/>
        </dgm:presLayoutVars>
      </dgm:prSet>
      <dgm:spPr/>
    </dgm:pt>
    <dgm:pt modelId="{FD36BC66-DE7A-46FB-B71C-AC29A2C4B1A0}" type="pres">
      <dgm:prSet presAssocID="{53946441-0C41-4792-AE0A-BAC6A603E7B9}" presName="FourNodes_2" presStyleLbl="node1" presStyleIdx="1" presStyleCnt="4">
        <dgm:presLayoutVars>
          <dgm:bulletEnabled val="1"/>
        </dgm:presLayoutVars>
      </dgm:prSet>
      <dgm:spPr/>
    </dgm:pt>
    <dgm:pt modelId="{2CFA3E24-BEA6-44B6-973F-B0B09DA089E0}" type="pres">
      <dgm:prSet presAssocID="{53946441-0C41-4792-AE0A-BAC6A603E7B9}" presName="FourNodes_3" presStyleLbl="node1" presStyleIdx="2" presStyleCnt="4">
        <dgm:presLayoutVars>
          <dgm:bulletEnabled val="1"/>
        </dgm:presLayoutVars>
      </dgm:prSet>
      <dgm:spPr/>
    </dgm:pt>
    <dgm:pt modelId="{D24FC8D5-06DF-4A30-A656-B897B64E0691}" type="pres">
      <dgm:prSet presAssocID="{53946441-0C41-4792-AE0A-BAC6A603E7B9}" presName="FourNodes_4" presStyleLbl="node1" presStyleIdx="3" presStyleCnt="4">
        <dgm:presLayoutVars>
          <dgm:bulletEnabled val="1"/>
        </dgm:presLayoutVars>
      </dgm:prSet>
      <dgm:spPr/>
    </dgm:pt>
    <dgm:pt modelId="{347B2048-CC95-4BE4-934C-727AE53978A8}" type="pres">
      <dgm:prSet presAssocID="{53946441-0C41-4792-AE0A-BAC6A603E7B9}" presName="FourConn_1-2" presStyleLbl="fgAccFollowNode1" presStyleIdx="0" presStyleCnt="3">
        <dgm:presLayoutVars>
          <dgm:bulletEnabled val="1"/>
        </dgm:presLayoutVars>
      </dgm:prSet>
      <dgm:spPr/>
    </dgm:pt>
    <dgm:pt modelId="{AFBAD620-EA7D-45E0-BCA2-B7666E823960}" type="pres">
      <dgm:prSet presAssocID="{53946441-0C41-4792-AE0A-BAC6A603E7B9}" presName="FourConn_2-3" presStyleLbl="fgAccFollowNode1" presStyleIdx="1" presStyleCnt="3">
        <dgm:presLayoutVars>
          <dgm:bulletEnabled val="1"/>
        </dgm:presLayoutVars>
      </dgm:prSet>
      <dgm:spPr/>
    </dgm:pt>
    <dgm:pt modelId="{D8E7AD0B-B590-4D9F-9FF9-EA9A52E0C2D4}" type="pres">
      <dgm:prSet presAssocID="{53946441-0C41-4792-AE0A-BAC6A603E7B9}" presName="FourConn_3-4" presStyleLbl="fgAccFollowNode1" presStyleIdx="2" presStyleCnt="3">
        <dgm:presLayoutVars>
          <dgm:bulletEnabled val="1"/>
        </dgm:presLayoutVars>
      </dgm:prSet>
      <dgm:spPr/>
    </dgm:pt>
    <dgm:pt modelId="{35821FC5-87B5-471C-AA43-37FBD2FDB0F3}" type="pres">
      <dgm:prSet presAssocID="{53946441-0C41-4792-AE0A-BAC6A603E7B9}" presName="FourNodes_1_text" presStyleLbl="node1" presStyleIdx="3" presStyleCnt="4">
        <dgm:presLayoutVars>
          <dgm:bulletEnabled val="1"/>
        </dgm:presLayoutVars>
      </dgm:prSet>
      <dgm:spPr/>
    </dgm:pt>
    <dgm:pt modelId="{E73B024A-C910-4FC4-A441-1A5500429EC5}" type="pres">
      <dgm:prSet presAssocID="{53946441-0C41-4792-AE0A-BAC6A603E7B9}" presName="FourNodes_2_text" presStyleLbl="node1" presStyleIdx="3" presStyleCnt="4">
        <dgm:presLayoutVars>
          <dgm:bulletEnabled val="1"/>
        </dgm:presLayoutVars>
      </dgm:prSet>
      <dgm:spPr/>
    </dgm:pt>
    <dgm:pt modelId="{8A59B683-8BE4-472F-B8B9-C20636D4CDD8}" type="pres">
      <dgm:prSet presAssocID="{53946441-0C41-4792-AE0A-BAC6A603E7B9}" presName="FourNodes_3_text" presStyleLbl="node1" presStyleIdx="3" presStyleCnt="4">
        <dgm:presLayoutVars>
          <dgm:bulletEnabled val="1"/>
        </dgm:presLayoutVars>
      </dgm:prSet>
      <dgm:spPr/>
    </dgm:pt>
    <dgm:pt modelId="{F7957436-CC06-42F9-A247-96C10BDA4492}" type="pres">
      <dgm:prSet presAssocID="{53946441-0C41-4792-AE0A-BAC6A603E7B9}" presName="FourNodes_4_text" presStyleLbl="node1" presStyleIdx="3" presStyleCnt="4">
        <dgm:presLayoutVars>
          <dgm:bulletEnabled val="1"/>
        </dgm:presLayoutVars>
      </dgm:prSet>
      <dgm:spPr/>
    </dgm:pt>
  </dgm:ptLst>
  <dgm:cxnLst>
    <dgm:cxn modelId="{4D6FDF1C-BF20-4AFB-BF76-870D84BC349E}" type="presOf" srcId="{53946441-0C41-4792-AE0A-BAC6A603E7B9}" destId="{A1ABAFFE-169D-4748-83A7-A1D8B7870615}" srcOrd="0" destOrd="0" presId="urn:microsoft.com/office/officeart/2005/8/layout/vProcess5"/>
    <dgm:cxn modelId="{957CCE2B-71D3-495D-81A4-A2116F07A7F7}" type="presOf" srcId="{8A05D285-E8FB-45A1-93B1-1FD35451E779}" destId="{347B2048-CC95-4BE4-934C-727AE53978A8}" srcOrd="0" destOrd="0" presId="urn:microsoft.com/office/officeart/2005/8/layout/vProcess5"/>
    <dgm:cxn modelId="{EA8B5A3F-04CA-4E3D-AE5F-4B7870AF1C40}" type="presOf" srcId="{903061BD-7577-48FD-8BE4-6C948AEB1CDA}" destId="{349C68E6-8E27-4C36-B39C-F156C7388983}" srcOrd="0" destOrd="0" presId="urn:microsoft.com/office/officeart/2005/8/layout/vProcess5"/>
    <dgm:cxn modelId="{B9917A6B-C319-401B-A9D6-5CE4C7C18FBF}" type="presOf" srcId="{BF875797-A599-4A23-A7F8-B57652C19164}" destId="{AFBAD620-EA7D-45E0-BCA2-B7666E823960}" srcOrd="0" destOrd="0" presId="urn:microsoft.com/office/officeart/2005/8/layout/vProcess5"/>
    <dgm:cxn modelId="{71C6C073-D498-47A4-AE30-18E62CA49D16}" type="presOf" srcId="{A09B71A0-9006-405B-BBEA-FB6D035D5AAA}" destId="{D8E7AD0B-B590-4D9F-9FF9-EA9A52E0C2D4}" srcOrd="0" destOrd="0" presId="urn:microsoft.com/office/officeart/2005/8/layout/vProcess5"/>
    <dgm:cxn modelId="{46567A54-A67E-48B8-B331-20970381E2E2}" type="presOf" srcId="{95CDCD89-6C7C-464E-B06B-5712EC5871AB}" destId="{E73B024A-C910-4FC4-A441-1A5500429EC5}" srcOrd="1" destOrd="0" presId="urn:microsoft.com/office/officeart/2005/8/layout/vProcess5"/>
    <dgm:cxn modelId="{45468875-47CB-47F4-B2FF-DDA090891557}" type="presOf" srcId="{903061BD-7577-48FD-8BE4-6C948AEB1CDA}" destId="{35821FC5-87B5-471C-AA43-37FBD2FDB0F3}" srcOrd="1" destOrd="0" presId="urn:microsoft.com/office/officeart/2005/8/layout/vProcess5"/>
    <dgm:cxn modelId="{6A00248B-6E3B-458A-BD84-1BAAA195C81D}" srcId="{53946441-0C41-4792-AE0A-BAC6A603E7B9}" destId="{36027716-1341-42F7-A1F4-0AB5402E8A54}" srcOrd="3" destOrd="0" parTransId="{4038DEB4-2E9E-4689-A883-337153344D67}" sibTransId="{7FE0F35D-A10E-4463-A878-E17DEA1A8A7E}"/>
    <dgm:cxn modelId="{F444A18C-687D-4077-9D79-6F12DB9D5E3E}" srcId="{53946441-0C41-4792-AE0A-BAC6A603E7B9}" destId="{903061BD-7577-48FD-8BE4-6C948AEB1CDA}" srcOrd="0" destOrd="0" parTransId="{718F68DD-46FE-4C14-AF27-B87C693D5257}" sibTransId="{8A05D285-E8FB-45A1-93B1-1FD35451E779}"/>
    <dgm:cxn modelId="{ACDDCA8D-93D8-46F5-85A4-B7B9900C14B0}" type="presOf" srcId="{9D4518DE-D557-40E2-97F6-1E397A90F7CB}" destId="{2CFA3E24-BEA6-44B6-973F-B0B09DA089E0}" srcOrd="0" destOrd="0" presId="urn:microsoft.com/office/officeart/2005/8/layout/vProcess5"/>
    <dgm:cxn modelId="{8EF684C1-185B-49E7-BE87-F267FBE943B0}" srcId="{53946441-0C41-4792-AE0A-BAC6A603E7B9}" destId="{9D4518DE-D557-40E2-97F6-1E397A90F7CB}" srcOrd="2" destOrd="0" parTransId="{8F32EAD6-F36D-4C84-B73C-4EFD214202B8}" sibTransId="{A09B71A0-9006-405B-BBEA-FB6D035D5AAA}"/>
    <dgm:cxn modelId="{1F6FAAC6-C676-4576-9E3D-3E6836EB859B}" srcId="{53946441-0C41-4792-AE0A-BAC6A603E7B9}" destId="{95CDCD89-6C7C-464E-B06B-5712EC5871AB}" srcOrd="1" destOrd="0" parTransId="{7D0B1C36-82C3-45F9-970D-BF6B64B99E86}" sibTransId="{BF875797-A599-4A23-A7F8-B57652C19164}"/>
    <dgm:cxn modelId="{1ADCF7D1-2986-494A-8660-A3A98BA4BF49}" type="presOf" srcId="{95CDCD89-6C7C-464E-B06B-5712EC5871AB}" destId="{FD36BC66-DE7A-46FB-B71C-AC29A2C4B1A0}" srcOrd="0" destOrd="0" presId="urn:microsoft.com/office/officeart/2005/8/layout/vProcess5"/>
    <dgm:cxn modelId="{58EB23D6-6AA3-4792-8485-E5E9BE1C50A0}" type="presOf" srcId="{36027716-1341-42F7-A1F4-0AB5402E8A54}" destId="{D24FC8D5-06DF-4A30-A656-B897B64E0691}" srcOrd="0" destOrd="0" presId="urn:microsoft.com/office/officeart/2005/8/layout/vProcess5"/>
    <dgm:cxn modelId="{B1136FED-3999-4E38-93AF-DD7E0032D9D1}" type="presOf" srcId="{9D4518DE-D557-40E2-97F6-1E397A90F7CB}" destId="{8A59B683-8BE4-472F-B8B9-C20636D4CDD8}" srcOrd="1" destOrd="0" presId="urn:microsoft.com/office/officeart/2005/8/layout/vProcess5"/>
    <dgm:cxn modelId="{BD3C62FF-BCE8-4387-BE84-B6AC5346CC75}" type="presOf" srcId="{36027716-1341-42F7-A1F4-0AB5402E8A54}" destId="{F7957436-CC06-42F9-A247-96C10BDA4492}" srcOrd="1" destOrd="0" presId="urn:microsoft.com/office/officeart/2005/8/layout/vProcess5"/>
    <dgm:cxn modelId="{A30764C6-4057-45F2-9005-DA73322F9F8D}" type="presParOf" srcId="{A1ABAFFE-169D-4748-83A7-A1D8B7870615}" destId="{B2A28608-F530-4B3F-AD91-DDD453A9384F}" srcOrd="0" destOrd="0" presId="urn:microsoft.com/office/officeart/2005/8/layout/vProcess5"/>
    <dgm:cxn modelId="{73E39D37-604C-46C3-AE20-C7103D503257}" type="presParOf" srcId="{A1ABAFFE-169D-4748-83A7-A1D8B7870615}" destId="{349C68E6-8E27-4C36-B39C-F156C7388983}" srcOrd="1" destOrd="0" presId="urn:microsoft.com/office/officeart/2005/8/layout/vProcess5"/>
    <dgm:cxn modelId="{0C400BA1-AD40-4F3F-9EDE-A6E78A8B4532}" type="presParOf" srcId="{A1ABAFFE-169D-4748-83A7-A1D8B7870615}" destId="{FD36BC66-DE7A-46FB-B71C-AC29A2C4B1A0}" srcOrd="2" destOrd="0" presId="urn:microsoft.com/office/officeart/2005/8/layout/vProcess5"/>
    <dgm:cxn modelId="{D194E8BB-9488-491E-AECB-02618C87FE05}" type="presParOf" srcId="{A1ABAFFE-169D-4748-83A7-A1D8B7870615}" destId="{2CFA3E24-BEA6-44B6-973F-B0B09DA089E0}" srcOrd="3" destOrd="0" presId="urn:microsoft.com/office/officeart/2005/8/layout/vProcess5"/>
    <dgm:cxn modelId="{32450614-1B75-4B53-8955-D86AB6C9D4A5}" type="presParOf" srcId="{A1ABAFFE-169D-4748-83A7-A1D8B7870615}" destId="{D24FC8D5-06DF-4A30-A656-B897B64E0691}" srcOrd="4" destOrd="0" presId="urn:microsoft.com/office/officeart/2005/8/layout/vProcess5"/>
    <dgm:cxn modelId="{8268BE03-AE98-4E14-9194-F751376756FF}" type="presParOf" srcId="{A1ABAFFE-169D-4748-83A7-A1D8B7870615}" destId="{347B2048-CC95-4BE4-934C-727AE53978A8}" srcOrd="5" destOrd="0" presId="urn:microsoft.com/office/officeart/2005/8/layout/vProcess5"/>
    <dgm:cxn modelId="{81F06B2B-240C-4CB4-A6D8-BD22B30F1F95}" type="presParOf" srcId="{A1ABAFFE-169D-4748-83A7-A1D8B7870615}" destId="{AFBAD620-EA7D-45E0-BCA2-B7666E823960}" srcOrd="6" destOrd="0" presId="urn:microsoft.com/office/officeart/2005/8/layout/vProcess5"/>
    <dgm:cxn modelId="{5E8D2056-3857-4709-A66A-8AC9C19211D4}" type="presParOf" srcId="{A1ABAFFE-169D-4748-83A7-A1D8B7870615}" destId="{D8E7AD0B-B590-4D9F-9FF9-EA9A52E0C2D4}" srcOrd="7" destOrd="0" presId="urn:microsoft.com/office/officeart/2005/8/layout/vProcess5"/>
    <dgm:cxn modelId="{9301AE5E-11FC-43CC-95FE-64928E1E3183}" type="presParOf" srcId="{A1ABAFFE-169D-4748-83A7-A1D8B7870615}" destId="{35821FC5-87B5-471C-AA43-37FBD2FDB0F3}" srcOrd="8" destOrd="0" presId="urn:microsoft.com/office/officeart/2005/8/layout/vProcess5"/>
    <dgm:cxn modelId="{CFAA7944-422B-46DF-AFD6-20A774D58175}" type="presParOf" srcId="{A1ABAFFE-169D-4748-83A7-A1D8B7870615}" destId="{E73B024A-C910-4FC4-A441-1A5500429EC5}" srcOrd="9" destOrd="0" presId="urn:microsoft.com/office/officeart/2005/8/layout/vProcess5"/>
    <dgm:cxn modelId="{7F0C429E-DB5F-4EFF-9CB9-7A658F5FE5C1}" type="presParOf" srcId="{A1ABAFFE-169D-4748-83A7-A1D8B7870615}" destId="{8A59B683-8BE4-472F-B8B9-C20636D4CDD8}" srcOrd="10" destOrd="0" presId="urn:microsoft.com/office/officeart/2005/8/layout/vProcess5"/>
    <dgm:cxn modelId="{EF06DBA0-8083-42EB-ABC5-10820A8200D5}" type="presParOf" srcId="{A1ABAFFE-169D-4748-83A7-A1D8B7870615}" destId="{F7957436-CC06-42F9-A247-96C10BDA4492}" srcOrd="11" destOrd="0" presId="urn:microsoft.com/office/officeart/2005/8/layout/vProcess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D775FD14-F5FA-4ED2-B598-D234A7730319}" type="presOf" srcId="{43157ED2-F950-497C-9847-E7E7C258E927}" destId="{EBA8B8BB-8B80-463D-B5C0-9886029E31EB}" srcOrd="0" destOrd="0" presId="urn:microsoft.com/office/officeart/2005/8/layout/process1"/>
    <dgm:cxn modelId="{CA12A425-B394-4836-AA8E-DB442F37B807}" type="presOf" srcId="{43157ED2-F950-497C-9847-E7E7C258E927}" destId="{B0DBBBA9-28F6-41E3-9EAE-867A084ADCC9}" srcOrd="1" destOrd="0" presId="urn:microsoft.com/office/officeart/2005/8/layout/process1"/>
    <dgm:cxn modelId="{2D458E2A-1BD5-47D6-ABDF-BB29447B40E7}" type="presOf" srcId="{864DE107-B989-48AF-AB66-C74CF83D30CD}" destId="{599C6788-14AC-4886-BE98-CFABBA2B6CBC}" srcOrd="0" destOrd="0" presId="urn:microsoft.com/office/officeart/2005/8/layout/process1"/>
    <dgm:cxn modelId="{F2438D32-FDF7-44CB-8933-C70F8F861EDB}" type="presOf" srcId="{FF69A2E3-845E-46C4-A44D-095FCDBB9884}" destId="{83AD4C98-81CD-4554-959F-68EE175480AA}" srcOrd="0" destOrd="0" presId="urn:microsoft.com/office/officeart/2005/8/layout/process1"/>
    <dgm:cxn modelId="{24F73038-57A5-4997-9515-392C157D43BC}" type="presOf" srcId="{FCB8ADF2-9891-4EC4-9F8D-3C62A4E3570B}" destId="{D0F3583B-5D16-45E2-90F3-D5928E8BAEEB}" srcOrd="0" destOrd="0" presId="urn:microsoft.com/office/officeart/2005/8/layout/process1"/>
    <dgm:cxn modelId="{41534549-390D-4BD0-8180-4279E1AB3EE1}" type="presOf" srcId="{307DC733-853C-4BE3-A615-177512EFCA37}" destId="{5D437852-1E36-4551-AE22-3D21BF486FA9}" srcOrd="0" destOrd="0" presId="urn:microsoft.com/office/officeart/2005/8/layout/process1"/>
    <dgm:cxn modelId="{A87C0852-F6C0-49CC-9FFF-75D3204E600C}" type="presOf" srcId="{BFAE7B18-CC4C-4882-92CD-CB1C42AA85E2}" destId="{1B57603F-6D14-4EC3-B4E3-8B8E29F0AF82}"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06991F92-9B45-4F99-AD7D-97E6C4E86C77}" type="presOf" srcId="{2B811016-D430-4B4D-A4B9-C427EBB8C39C}" destId="{9632C60F-56BA-4ECD-9874-3EA13072391A}" srcOrd="1" destOrd="0" presId="urn:microsoft.com/office/officeart/2005/8/layout/process1"/>
    <dgm:cxn modelId="{BD8C5796-A9C2-402E-996C-0A5F9EE835C5}" type="presOf" srcId="{BFAE7B18-CC4C-4882-92CD-CB1C42AA85E2}" destId="{B75A6145-30F1-4A02-8241-CAFBD7613773}"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D10175E1-B753-451A-ABB9-1A294B9DB5B1}" type="presOf" srcId="{8512C525-B3B9-4BFC-8B81-ABE692BCA9B8}" destId="{DCDE361F-6528-4B2D-AA1C-75A98D9CF19B}" srcOrd="0" destOrd="0" presId="urn:microsoft.com/office/officeart/2005/8/layout/process1"/>
    <dgm:cxn modelId="{CA0359FE-7867-4724-BEE8-11C4E6752ACF}" type="presOf" srcId="{2B811016-D430-4B4D-A4B9-C427EBB8C39C}" destId="{CD543A52-B769-4817-BCDB-9E04D3B82E2C}" srcOrd="0" destOrd="0" presId="urn:microsoft.com/office/officeart/2005/8/layout/process1"/>
    <dgm:cxn modelId="{9243FE9A-CF3B-4358-A9C7-F80123EA9654}" type="presParOf" srcId="{DCDE361F-6528-4B2D-AA1C-75A98D9CF19B}" destId="{D0F3583B-5D16-45E2-90F3-D5928E8BAEEB}" srcOrd="0" destOrd="0" presId="urn:microsoft.com/office/officeart/2005/8/layout/process1"/>
    <dgm:cxn modelId="{5C3BC698-4CC0-419C-9AE6-28F22EA5AD1B}" type="presParOf" srcId="{DCDE361F-6528-4B2D-AA1C-75A98D9CF19B}" destId="{1B57603F-6D14-4EC3-B4E3-8B8E29F0AF82}" srcOrd="1" destOrd="0" presId="urn:microsoft.com/office/officeart/2005/8/layout/process1"/>
    <dgm:cxn modelId="{3715A405-A2C8-426E-97E7-8CF306A499F9}" type="presParOf" srcId="{1B57603F-6D14-4EC3-B4E3-8B8E29F0AF82}" destId="{B75A6145-30F1-4A02-8241-CAFBD7613773}" srcOrd="0" destOrd="0" presId="urn:microsoft.com/office/officeart/2005/8/layout/process1"/>
    <dgm:cxn modelId="{815B06BE-C660-406F-B2B8-04F47482B192}" type="presParOf" srcId="{DCDE361F-6528-4B2D-AA1C-75A98D9CF19B}" destId="{5D437852-1E36-4551-AE22-3D21BF486FA9}" srcOrd="2" destOrd="0" presId="urn:microsoft.com/office/officeart/2005/8/layout/process1"/>
    <dgm:cxn modelId="{4E6B7EAD-4088-4965-983F-1DD9804BD109}" type="presParOf" srcId="{DCDE361F-6528-4B2D-AA1C-75A98D9CF19B}" destId="{CD543A52-B769-4817-BCDB-9E04D3B82E2C}" srcOrd="3" destOrd="0" presId="urn:microsoft.com/office/officeart/2005/8/layout/process1"/>
    <dgm:cxn modelId="{BD16A48E-56D1-4145-883C-C8A6D4E76A03}" type="presParOf" srcId="{CD543A52-B769-4817-BCDB-9E04D3B82E2C}" destId="{9632C60F-56BA-4ECD-9874-3EA13072391A}" srcOrd="0" destOrd="0" presId="urn:microsoft.com/office/officeart/2005/8/layout/process1"/>
    <dgm:cxn modelId="{F9A0AF0C-9F1C-4BBD-833F-0BC98C2D3777}" type="presParOf" srcId="{DCDE361F-6528-4B2D-AA1C-75A98D9CF19B}" destId="{599C6788-14AC-4886-BE98-CFABBA2B6CBC}" srcOrd="4" destOrd="0" presId="urn:microsoft.com/office/officeart/2005/8/layout/process1"/>
    <dgm:cxn modelId="{40EF95E2-AAA2-4D5E-8526-5D35E3895B0B}" type="presParOf" srcId="{DCDE361F-6528-4B2D-AA1C-75A98D9CF19B}" destId="{EBA8B8BB-8B80-463D-B5C0-9886029E31EB}" srcOrd="5" destOrd="0" presId="urn:microsoft.com/office/officeart/2005/8/layout/process1"/>
    <dgm:cxn modelId="{989D196A-F80F-475D-B202-82C8F7941546}" type="presParOf" srcId="{EBA8B8BB-8B80-463D-B5C0-9886029E31EB}" destId="{B0DBBBA9-28F6-41E3-9EAE-867A084ADCC9}" srcOrd="0" destOrd="0" presId="urn:microsoft.com/office/officeart/2005/8/layout/process1"/>
    <dgm:cxn modelId="{792AAD26-1F0F-4FCE-8B2F-1FB256642CF4}"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8" minVer="http://schemas.openxmlformats.org/drawingml/2006/diagram"/>
    </a:ext>
    <a:ext uri="{C62137D5-CB1D-491B-B009-E17868A290BF}">
      <dgm14:recolorImg xmlns:dgm14="http://schemas.microsoft.com/office/drawing/2010/diagram" val="1"/>
    </a:ext>
  </dgm:extLst>
</dgm:dataModel>
</file>

<file path=ppt/diagrams/data27.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5E02B068-67DF-476D-8247-A902B5467C71}" type="presOf" srcId="{2B811016-D430-4B4D-A4B9-C427EBB8C39C}" destId="{9632C60F-56BA-4ECD-9874-3EA13072391A}" srcOrd="1" destOrd="0" presId="urn:microsoft.com/office/officeart/2005/8/layout/process1"/>
    <dgm:cxn modelId="{86D03C4A-8A22-41B5-8E47-FF85009B793C}" type="presOf" srcId="{307DC733-853C-4BE3-A615-177512EFCA37}" destId="{5D437852-1E36-4551-AE22-3D21BF486FA9}" srcOrd="0" destOrd="0" presId="urn:microsoft.com/office/officeart/2005/8/layout/process1"/>
    <dgm:cxn modelId="{CA4D8B71-9A96-4FDA-AA51-565C8779D5DE}" type="presOf" srcId="{8512C525-B3B9-4BFC-8B81-ABE692BCA9B8}" destId="{DCDE361F-6528-4B2D-AA1C-75A98D9CF19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CE8CFC54-999B-489C-B93C-1E5FB90A9423}" type="presOf" srcId="{BFAE7B18-CC4C-4882-92CD-CB1C42AA85E2}" destId="{1B57603F-6D14-4EC3-B4E3-8B8E29F0AF82}" srcOrd="0" destOrd="0" presId="urn:microsoft.com/office/officeart/2005/8/layout/process1"/>
    <dgm:cxn modelId="{F72C7B7F-DDB7-437E-9B43-1B01BE2BE2C4}" type="presOf" srcId="{43157ED2-F950-497C-9847-E7E7C258E927}" destId="{EBA8B8BB-8B80-463D-B5C0-9886029E31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FAED5DA8-15EC-4AC5-8D18-F1673CB5FC1C}" type="presOf" srcId="{43157ED2-F950-497C-9847-E7E7C258E927}" destId="{B0DBBBA9-28F6-41E3-9EAE-867A084ADCC9}" srcOrd="1" destOrd="0" presId="urn:microsoft.com/office/officeart/2005/8/layout/process1"/>
    <dgm:cxn modelId="{4A11A7AF-76A8-4F7B-9C63-45627C7A1404}" type="presOf" srcId="{864DE107-B989-48AF-AB66-C74CF83D30CD}" destId="{599C6788-14AC-4886-BE98-CFABBA2B6CBC}" srcOrd="0" destOrd="0" presId="urn:microsoft.com/office/officeart/2005/8/layout/process1"/>
    <dgm:cxn modelId="{CA9E3BC0-6465-4222-A36B-5EB375AD0406}" type="presOf" srcId="{BFAE7B18-CC4C-4882-92CD-CB1C42AA85E2}" destId="{B75A6145-30F1-4A02-8241-CAFBD7613773}" srcOrd="1" destOrd="0" presId="urn:microsoft.com/office/officeart/2005/8/layout/process1"/>
    <dgm:cxn modelId="{ECB686CD-0B2D-4BE2-9938-C681E256CEBF}" type="presOf" srcId="{2B811016-D430-4B4D-A4B9-C427EBB8C39C}" destId="{CD543A52-B769-4817-BCDB-9E04D3B82E2C}" srcOrd="0" destOrd="0" presId="urn:microsoft.com/office/officeart/2005/8/layout/process1"/>
    <dgm:cxn modelId="{D8B2D5DD-300F-4D25-9B74-A142797C6899}" type="presOf" srcId="{FF69A2E3-845E-46C4-A44D-095FCDBB9884}" destId="{83AD4C98-81CD-4554-959F-68EE175480AA}"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462296EA-D50A-4E4C-A092-573841329AB8}" type="presOf" srcId="{FCB8ADF2-9891-4EC4-9F8D-3C62A4E3570B}" destId="{D0F3583B-5D16-45E2-90F3-D5928E8BAEEB}" srcOrd="0" destOrd="0" presId="urn:microsoft.com/office/officeart/2005/8/layout/process1"/>
    <dgm:cxn modelId="{D8EA3C79-1A19-4021-B2BF-B34F6AEB13D1}" type="presParOf" srcId="{DCDE361F-6528-4B2D-AA1C-75A98D9CF19B}" destId="{D0F3583B-5D16-45E2-90F3-D5928E8BAEEB}" srcOrd="0" destOrd="0" presId="urn:microsoft.com/office/officeart/2005/8/layout/process1"/>
    <dgm:cxn modelId="{45428281-285D-4DEF-91FE-CB02C2C6E441}" type="presParOf" srcId="{DCDE361F-6528-4B2D-AA1C-75A98D9CF19B}" destId="{1B57603F-6D14-4EC3-B4E3-8B8E29F0AF82}" srcOrd="1" destOrd="0" presId="urn:microsoft.com/office/officeart/2005/8/layout/process1"/>
    <dgm:cxn modelId="{E8B8DB84-1611-4812-B547-3F390D4782C0}" type="presParOf" srcId="{1B57603F-6D14-4EC3-B4E3-8B8E29F0AF82}" destId="{B75A6145-30F1-4A02-8241-CAFBD7613773}" srcOrd="0" destOrd="0" presId="urn:microsoft.com/office/officeart/2005/8/layout/process1"/>
    <dgm:cxn modelId="{51B0C661-B15C-47F5-852D-329F6FAEA02E}" type="presParOf" srcId="{DCDE361F-6528-4B2D-AA1C-75A98D9CF19B}" destId="{5D437852-1E36-4551-AE22-3D21BF486FA9}" srcOrd="2" destOrd="0" presId="urn:microsoft.com/office/officeart/2005/8/layout/process1"/>
    <dgm:cxn modelId="{FD501EE6-CFB4-40B6-8D02-367BEDD6B48B}" type="presParOf" srcId="{DCDE361F-6528-4B2D-AA1C-75A98D9CF19B}" destId="{CD543A52-B769-4817-BCDB-9E04D3B82E2C}" srcOrd="3" destOrd="0" presId="urn:microsoft.com/office/officeart/2005/8/layout/process1"/>
    <dgm:cxn modelId="{B2616A81-1D27-472B-BA0F-55F48041CAE2}" type="presParOf" srcId="{CD543A52-B769-4817-BCDB-9E04D3B82E2C}" destId="{9632C60F-56BA-4ECD-9874-3EA13072391A}" srcOrd="0" destOrd="0" presId="urn:microsoft.com/office/officeart/2005/8/layout/process1"/>
    <dgm:cxn modelId="{0EF473D0-8E83-468B-B012-DC146FA5ADDF}" type="presParOf" srcId="{DCDE361F-6528-4B2D-AA1C-75A98D9CF19B}" destId="{599C6788-14AC-4886-BE98-CFABBA2B6CBC}" srcOrd="4" destOrd="0" presId="urn:microsoft.com/office/officeart/2005/8/layout/process1"/>
    <dgm:cxn modelId="{DE1BAB7F-0688-4929-92DB-BBBB30CFE8E5}" type="presParOf" srcId="{DCDE361F-6528-4B2D-AA1C-75A98D9CF19B}" destId="{EBA8B8BB-8B80-463D-B5C0-9886029E31EB}" srcOrd="5" destOrd="0" presId="urn:microsoft.com/office/officeart/2005/8/layout/process1"/>
    <dgm:cxn modelId="{117469C0-818E-4FB3-B53E-0AAC0B9FE0F3}" type="presParOf" srcId="{EBA8B8BB-8B80-463D-B5C0-9886029E31EB}" destId="{B0DBBBA9-28F6-41E3-9EAE-867A084ADCC9}" srcOrd="0" destOrd="0" presId="urn:microsoft.com/office/officeart/2005/8/layout/process1"/>
    <dgm:cxn modelId="{E3BE2BA1-31B2-42DA-BBCC-D06229C48D9A}"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8.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91F76904-A5BF-4B9D-ABC5-908EBD648B25}" type="presOf" srcId="{BFAE7B18-CC4C-4882-92CD-CB1C42AA85E2}" destId="{B75A6145-30F1-4A02-8241-CAFBD7613773}" srcOrd="1"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685C3736-A1D8-49B0-BEB7-22C087246B92}" type="presOf" srcId="{43157ED2-F950-497C-9847-E7E7C258E927}" destId="{B0DBBBA9-28F6-41E3-9EAE-867A084ADCC9}"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1801EF77-B5D9-4F67-9E53-84D2DCB9E7C2}" type="presOf" srcId="{FF69A2E3-845E-46C4-A44D-095FCDBB9884}" destId="{83AD4C98-81CD-4554-959F-68EE175480AA}" srcOrd="0" destOrd="0" presId="urn:microsoft.com/office/officeart/2005/8/layout/process1"/>
    <dgm:cxn modelId="{2955747B-0DDE-4806-BEE6-5A90FB112018}" type="presOf" srcId="{8512C525-B3B9-4BFC-8B81-ABE692BCA9B8}" destId="{DCDE361F-6528-4B2D-AA1C-75A98D9CF19B}" srcOrd="0" destOrd="0" presId="urn:microsoft.com/office/officeart/2005/8/layout/process1"/>
    <dgm:cxn modelId="{1157A67D-856A-4139-8E31-C1CB5864CB75}" type="presOf" srcId="{2B811016-D430-4B4D-A4B9-C427EBB8C39C}" destId="{CD543A52-B769-4817-BCDB-9E04D3B82E2C}" srcOrd="0" destOrd="0" presId="urn:microsoft.com/office/officeart/2005/8/layout/process1"/>
    <dgm:cxn modelId="{EE86938A-429A-4E8E-9CF2-38E72DC5126D}" type="presOf" srcId="{BFAE7B18-CC4C-4882-92CD-CB1C42AA85E2}" destId="{1B57603F-6D14-4EC3-B4E3-8B8E29F0AF82}"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CE54E290-7C34-4EE8-9DE7-DCC9F0031025}" type="presOf" srcId="{307DC733-853C-4BE3-A615-177512EFCA37}" destId="{5D437852-1E36-4551-AE22-3D21BF486FA9}" srcOrd="0" destOrd="0" presId="urn:microsoft.com/office/officeart/2005/8/layout/process1"/>
    <dgm:cxn modelId="{584C30A6-ACBB-49F2-8141-EEBA4A735EDD}" type="presOf" srcId="{FCB8ADF2-9891-4EC4-9F8D-3C62A4E3570B}" destId="{D0F3583B-5D16-45E2-90F3-D5928E8BAEEB}" srcOrd="0" destOrd="0" presId="urn:microsoft.com/office/officeart/2005/8/layout/process1"/>
    <dgm:cxn modelId="{953C27AB-D25A-4817-BDA8-622C60B2141B}" type="presOf" srcId="{43157ED2-F950-497C-9847-E7E7C258E927}" destId="{EBA8B8BB-8B80-463D-B5C0-9886029E31EB}" srcOrd="0" destOrd="0" presId="urn:microsoft.com/office/officeart/2005/8/layout/process1"/>
    <dgm:cxn modelId="{57C6FAB5-C3CB-49C7-9083-EF9413017844}" type="presOf" srcId="{2B811016-D430-4B4D-A4B9-C427EBB8C39C}" destId="{9632C60F-56BA-4ECD-9874-3EA13072391A}"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7ADA00E9-1669-4842-BF09-66220C4F1D8A}" type="presOf" srcId="{864DE107-B989-48AF-AB66-C74CF83D30CD}" destId="{599C6788-14AC-4886-BE98-CFABBA2B6CBC}" srcOrd="0" destOrd="0" presId="urn:microsoft.com/office/officeart/2005/8/layout/process1"/>
    <dgm:cxn modelId="{B50D2D71-3CCE-4CF5-8EAB-4D721E7349F8}" type="presParOf" srcId="{DCDE361F-6528-4B2D-AA1C-75A98D9CF19B}" destId="{D0F3583B-5D16-45E2-90F3-D5928E8BAEEB}" srcOrd="0" destOrd="0" presId="urn:microsoft.com/office/officeart/2005/8/layout/process1"/>
    <dgm:cxn modelId="{36661F91-A171-4976-8652-82C56B6B2F9D}" type="presParOf" srcId="{DCDE361F-6528-4B2D-AA1C-75A98D9CF19B}" destId="{1B57603F-6D14-4EC3-B4E3-8B8E29F0AF82}" srcOrd="1" destOrd="0" presId="urn:microsoft.com/office/officeart/2005/8/layout/process1"/>
    <dgm:cxn modelId="{BADE0252-ED42-426B-A1B2-CE67A57A8CB3}" type="presParOf" srcId="{1B57603F-6D14-4EC3-B4E3-8B8E29F0AF82}" destId="{B75A6145-30F1-4A02-8241-CAFBD7613773}" srcOrd="0" destOrd="0" presId="urn:microsoft.com/office/officeart/2005/8/layout/process1"/>
    <dgm:cxn modelId="{4F2A2EDB-3EDC-4746-913D-DE607F5242C7}" type="presParOf" srcId="{DCDE361F-6528-4B2D-AA1C-75A98D9CF19B}" destId="{5D437852-1E36-4551-AE22-3D21BF486FA9}" srcOrd="2" destOrd="0" presId="urn:microsoft.com/office/officeart/2005/8/layout/process1"/>
    <dgm:cxn modelId="{46B2E675-A4E0-4CC6-B485-E947B56862D1}" type="presParOf" srcId="{DCDE361F-6528-4B2D-AA1C-75A98D9CF19B}" destId="{CD543A52-B769-4817-BCDB-9E04D3B82E2C}" srcOrd="3" destOrd="0" presId="urn:microsoft.com/office/officeart/2005/8/layout/process1"/>
    <dgm:cxn modelId="{E991FA8C-5F90-4580-B80E-D0652FD6B25E}" type="presParOf" srcId="{CD543A52-B769-4817-BCDB-9E04D3B82E2C}" destId="{9632C60F-56BA-4ECD-9874-3EA13072391A}" srcOrd="0" destOrd="0" presId="urn:microsoft.com/office/officeart/2005/8/layout/process1"/>
    <dgm:cxn modelId="{44A2482F-24E4-4F68-92D1-CAA70E7082F4}" type="presParOf" srcId="{DCDE361F-6528-4B2D-AA1C-75A98D9CF19B}" destId="{599C6788-14AC-4886-BE98-CFABBA2B6CBC}" srcOrd="4" destOrd="0" presId="urn:microsoft.com/office/officeart/2005/8/layout/process1"/>
    <dgm:cxn modelId="{9A9FBD21-7513-4807-A33A-8D1C56B6E14F}" type="presParOf" srcId="{DCDE361F-6528-4B2D-AA1C-75A98D9CF19B}" destId="{EBA8B8BB-8B80-463D-B5C0-9886029E31EB}" srcOrd="5" destOrd="0" presId="urn:microsoft.com/office/officeart/2005/8/layout/process1"/>
    <dgm:cxn modelId="{8A9CEF7A-698D-4A61-A0BF-BE18036011F8}" type="presParOf" srcId="{EBA8B8BB-8B80-463D-B5C0-9886029E31EB}" destId="{B0DBBBA9-28F6-41E3-9EAE-867A084ADCC9}" srcOrd="0" destOrd="0" presId="urn:microsoft.com/office/officeart/2005/8/layout/process1"/>
    <dgm:cxn modelId="{0C09060D-BF65-49AF-983F-A541C348A1BC}"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9.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E6902D07-1898-48B4-8517-3CB3CD093ED5}" type="presOf" srcId="{FF69A2E3-845E-46C4-A44D-095FCDBB9884}" destId="{83AD4C98-81CD-4554-959F-68EE175480AA}" srcOrd="0" destOrd="0" presId="urn:microsoft.com/office/officeart/2005/8/layout/process1"/>
    <dgm:cxn modelId="{7BA6AB09-A678-4074-AC84-8297B141FBCB}" type="presOf" srcId="{8512C525-B3B9-4BFC-8B81-ABE692BCA9B8}" destId="{DCDE361F-6528-4B2D-AA1C-75A98D9CF19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EC45B612-951F-4FB7-87D8-507100AC7573}" type="presOf" srcId="{43157ED2-F950-497C-9847-E7E7C258E927}" destId="{B0DBBBA9-28F6-41E3-9EAE-867A084ADCC9}" srcOrd="1" destOrd="0" presId="urn:microsoft.com/office/officeart/2005/8/layout/process1"/>
    <dgm:cxn modelId="{D73CAD6C-9F4F-44B9-B8F8-96D708B78B7B}" type="presOf" srcId="{FCB8ADF2-9891-4EC4-9F8D-3C62A4E3570B}" destId="{D0F3583B-5D16-45E2-90F3-D5928E8BAEEB}" srcOrd="0" destOrd="0" presId="urn:microsoft.com/office/officeart/2005/8/layout/process1"/>
    <dgm:cxn modelId="{BA1C244E-8E62-4F3E-A906-C5564F807AF4}"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DC1F0CA1-F33A-4044-BE13-96EE55267E96}" type="presOf" srcId="{307DC733-853C-4BE3-A615-177512EFCA37}" destId="{5D437852-1E36-4551-AE22-3D21BF486FA9}" srcOrd="0" destOrd="0" presId="urn:microsoft.com/office/officeart/2005/8/layout/process1"/>
    <dgm:cxn modelId="{BEBA8CB2-50AC-408E-9814-D25F5BA52349}" type="presOf" srcId="{2B811016-D430-4B4D-A4B9-C427EBB8C39C}" destId="{9632C60F-56BA-4ECD-9874-3EA13072391A}" srcOrd="1" destOrd="0" presId="urn:microsoft.com/office/officeart/2005/8/layout/process1"/>
    <dgm:cxn modelId="{214CD1D4-D0C1-4C87-AE87-028D5DEDDFD2}" type="presOf" srcId="{43157ED2-F950-497C-9847-E7E7C258E927}" destId="{EBA8B8BB-8B80-463D-B5C0-9886029E31E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D9C0B0F5-08F7-4ECA-A6D2-42DDB6DBC81A}" type="presOf" srcId="{2B811016-D430-4B4D-A4B9-C427EBB8C39C}" destId="{CD543A52-B769-4817-BCDB-9E04D3B82E2C}" srcOrd="0" destOrd="0" presId="urn:microsoft.com/office/officeart/2005/8/layout/process1"/>
    <dgm:cxn modelId="{C8F5E3F7-B0F5-4B20-8DD8-B88FAD29B891}" type="presOf" srcId="{BFAE7B18-CC4C-4882-92CD-CB1C42AA85E2}" destId="{1B57603F-6D14-4EC3-B4E3-8B8E29F0AF82}" srcOrd="0" destOrd="0" presId="urn:microsoft.com/office/officeart/2005/8/layout/process1"/>
    <dgm:cxn modelId="{E8189AFA-D68C-4427-92B2-68C52D0F85B4}" type="presOf" srcId="{864DE107-B989-48AF-AB66-C74CF83D30CD}" destId="{599C6788-14AC-4886-BE98-CFABBA2B6CBC}" srcOrd="0" destOrd="0" presId="urn:microsoft.com/office/officeart/2005/8/layout/process1"/>
    <dgm:cxn modelId="{BC035D03-63BA-4D5B-A8BE-9840EFD7D55F}" type="presParOf" srcId="{DCDE361F-6528-4B2D-AA1C-75A98D9CF19B}" destId="{D0F3583B-5D16-45E2-90F3-D5928E8BAEEB}" srcOrd="0" destOrd="0" presId="urn:microsoft.com/office/officeart/2005/8/layout/process1"/>
    <dgm:cxn modelId="{E0E62F24-D608-4C7A-8141-53E6FD42FF9B}" type="presParOf" srcId="{DCDE361F-6528-4B2D-AA1C-75A98D9CF19B}" destId="{1B57603F-6D14-4EC3-B4E3-8B8E29F0AF82}" srcOrd="1" destOrd="0" presId="urn:microsoft.com/office/officeart/2005/8/layout/process1"/>
    <dgm:cxn modelId="{D0D17F63-6C47-45F6-86F6-160EC3C3D1E6}" type="presParOf" srcId="{1B57603F-6D14-4EC3-B4E3-8B8E29F0AF82}" destId="{B75A6145-30F1-4A02-8241-CAFBD7613773}" srcOrd="0" destOrd="0" presId="urn:microsoft.com/office/officeart/2005/8/layout/process1"/>
    <dgm:cxn modelId="{9944C58A-9B90-4B48-8CF5-AED5CBBB153A}" type="presParOf" srcId="{DCDE361F-6528-4B2D-AA1C-75A98D9CF19B}" destId="{5D437852-1E36-4551-AE22-3D21BF486FA9}" srcOrd="2" destOrd="0" presId="urn:microsoft.com/office/officeart/2005/8/layout/process1"/>
    <dgm:cxn modelId="{EB179F7B-4212-4593-AB74-A3931EFDB0B9}" type="presParOf" srcId="{DCDE361F-6528-4B2D-AA1C-75A98D9CF19B}" destId="{CD543A52-B769-4817-BCDB-9E04D3B82E2C}" srcOrd="3" destOrd="0" presId="urn:microsoft.com/office/officeart/2005/8/layout/process1"/>
    <dgm:cxn modelId="{5C08E61F-B8AC-4896-B718-B83D24379FED}" type="presParOf" srcId="{CD543A52-B769-4817-BCDB-9E04D3B82E2C}" destId="{9632C60F-56BA-4ECD-9874-3EA13072391A}" srcOrd="0" destOrd="0" presId="urn:microsoft.com/office/officeart/2005/8/layout/process1"/>
    <dgm:cxn modelId="{762F1DC8-702E-42CF-A8C7-B163C30E23C4}" type="presParOf" srcId="{DCDE361F-6528-4B2D-AA1C-75A98D9CF19B}" destId="{599C6788-14AC-4886-BE98-CFABBA2B6CBC}" srcOrd="4" destOrd="0" presId="urn:microsoft.com/office/officeart/2005/8/layout/process1"/>
    <dgm:cxn modelId="{403B175B-2E96-4B3B-A1CF-1D0111181C38}" type="presParOf" srcId="{DCDE361F-6528-4B2D-AA1C-75A98D9CF19B}" destId="{EBA8B8BB-8B80-463D-B5C0-9886029E31EB}" srcOrd="5" destOrd="0" presId="urn:microsoft.com/office/officeart/2005/8/layout/process1"/>
    <dgm:cxn modelId="{1EE669B2-EB79-4170-AEB3-336639EB3A21}" type="presParOf" srcId="{EBA8B8BB-8B80-463D-B5C0-9886029E31EB}" destId="{B0DBBBA9-28F6-41E3-9EAE-867A084ADCC9}" srcOrd="0" destOrd="0" presId="urn:microsoft.com/office/officeart/2005/8/layout/process1"/>
    <dgm:cxn modelId="{F928374E-FEE5-4402-8590-22AD351DB5E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a:blipFill rotWithShape="0">
          <a:blip xmlns:r="http://schemas.openxmlformats.org/officeDocument/2006/relationships" r:embed="rId1">
            <a:duotone>
              <a:schemeClr val="lt1">
                <a:hueOff val="0"/>
                <a:satOff val="0"/>
                <a:lumOff val="0"/>
                <a:alphaOff val="0"/>
                <a:shade val="20000"/>
                <a:satMod val="200000"/>
              </a:schemeClr>
              <a:schemeClr val="lt1">
                <a:hueOff val="0"/>
                <a:satOff val="0"/>
                <a:lumOff val="0"/>
                <a:alphaOff val="0"/>
                <a:tint val="12000"/>
                <a:satMod val="190000"/>
              </a:schemeClr>
            </a:duotone>
          </a:blip>
          <a:stretch>
            <a:fillRect/>
          </a:stretch>
        </a:blipFill>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4627D013-F8C1-40B1-9850-1160102B021F}" type="presOf" srcId="{2B811016-D430-4B4D-A4B9-C427EBB8C39C}" destId="{9632C60F-56BA-4ECD-9874-3EA13072391A}" srcOrd="1" destOrd="0" presId="urn:microsoft.com/office/officeart/2005/8/layout/process1"/>
    <dgm:cxn modelId="{FAF23B15-0FD0-42C0-A110-1907FF29C581}" type="presOf" srcId="{307DC733-853C-4BE3-A615-177512EFCA37}" destId="{5D437852-1E36-4551-AE22-3D21BF486FA9}" srcOrd="0" destOrd="0" presId="urn:microsoft.com/office/officeart/2005/8/layout/process1"/>
    <dgm:cxn modelId="{FB5A3918-AFA2-4908-B610-66BD9A3DEFBA}" type="presOf" srcId="{BFAE7B18-CC4C-4882-92CD-CB1C42AA85E2}" destId="{B75A6145-30F1-4A02-8241-CAFBD7613773}" srcOrd="1" destOrd="0" presId="urn:microsoft.com/office/officeart/2005/8/layout/process1"/>
    <dgm:cxn modelId="{0DD17D37-9846-4A6A-8183-810A3D222FDE}" type="presOf" srcId="{FCB8ADF2-9891-4EC4-9F8D-3C62A4E3570B}" destId="{D0F3583B-5D16-45E2-90F3-D5928E8BAEE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8BC2528D-10A5-4A3C-85CE-E53BE6BEF075}" type="presOf" srcId="{43157ED2-F950-497C-9847-E7E7C258E927}" destId="{EBA8B8BB-8B80-463D-B5C0-9886029E31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F19D6896-D5E7-410E-88C4-37489DDC680C}" type="presOf" srcId="{864DE107-B989-48AF-AB66-C74CF83D30CD}" destId="{599C6788-14AC-4886-BE98-CFABBA2B6CBC}" srcOrd="0" destOrd="0" presId="urn:microsoft.com/office/officeart/2005/8/layout/process1"/>
    <dgm:cxn modelId="{E4CD94BB-3F5F-4F9C-97B9-DF09843C677D}" type="presOf" srcId="{FF69A2E3-845E-46C4-A44D-095FCDBB9884}" destId="{83AD4C98-81CD-4554-959F-68EE175480AA}" srcOrd="0" destOrd="0" presId="urn:microsoft.com/office/officeart/2005/8/layout/process1"/>
    <dgm:cxn modelId="{F48E6BCB-E2E8-4C4D-8DBC-654FA9200AF1}" type="presOf" srcId="{8512C525-B3B9-4BFC-8B81-ABE692BCA9B8}" destId="{DCDE361F-6528-4B2D-AA1C-75A98D9CF19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3DAEE8E9-C47E-4BFE-8385-33125308DB97}" type="presOf" srcId="{BFAE7B18-CC4C-4882-92CD-CB1C42AA85E2}" destId="{1B57603F-6D14-4EC3-B4E3-8B8E29F0AF82}" srcOrd="0" destOrd="0" presId="urn:microsoft.com/office/officeart/2005/8/layout/process1"/>
    <dgm:cxn modelId="{E57A06F9-3008-41B3-9A1F-5F76316F3B6C}" type="presOf" srcId="{43157ED2-F950-497C-9847-E7E7C258E927}" destId="{B0DBBBA9-28F6-41E3-9EAE-867A084ADCC9}" srcOrd="1" destOrd="0" presId="urn:microsoft.com/office/officeart/2005/8/layout/process1"/>
    <dgm:cxn modelId="{D56AC0FF-5F9E-42C8-A93D-BF46EC1E4312}" type="presOf" srcId="{2B811016-D430-4B4D-A4B9-C427EBB8C39C}" destId="{CD543A52-B769-4817-BCDB-9E04D3B82E2C}" srcOrd="0" destOrd="0" presId="urn:microsoft.com/office/officeart/2005/8/layout/process1"/>
    <dgm:cxn modelId="{A456132C-8896-4007-9115-3D6A55A79A8C}" type="presParOf" srcId="{DCDE361F-6528-4B2D-AA1C-75A98D9CF19B}" destId="{D0F3583B-5D16-45E2-90F3-D5928E8BAEEB}" srcOrd="0" destOrd="0" presId="urn:microsoft.com/office/officeart/2005/8/layout/process1"/>
    <dgm:cxn modelId="{0C0E0388-3571-4CE4-B9D2-CB85A81A120C}" type="presParOf" srcId="{DCDE361F-6528-4B2D-AA1C-75A98D9CF19B}" destId="{1B57603F-6D14-4EC3-B4E3-8B8E29F0AF82}" srcOrd="1" destOrd="0" presId="urn:microsoft.com/office/officeart/2005/8/layout/process1"/>
    <dgm:cxn modelId="{B67F8E91-5D5E-4AE4-8EBE-790340D47954}" type="presParOf" srcId="{1B57603F-6D14-4EC3-B4E3-8B8E29F0AF82}" destId="{B75A6145-30F1-4A02-8241-CAFBD7613773}" srcOrd="0" destOrd="0" presId="urn:microsoft.com/office/officeart/2005/8/layout/process1"/>
    <dgm:cxn modelId="{0AA3638A-7725-4211-9E75-75270FD9CD11}" type="presParOf" srcId="{DCDE361F-6528-4B2D-AA1C-75A98D9CF19B}" destId="{5D437852-1E36-4551-AE22-3D21BF486FA9}" srcOrd="2" destOrd="0" presId="urn:microsoft.com/office/officeart/2005/8/layout/process1"/>
    <dgm:cxn modelId="{45C98A9F-93F2-4EA2-AB4B-5CE428014391}" type="presParOf" srcId="{DCDE361F-6528-4B2D-AA1C-75A98D9CF19B}" destId="{CD543A52-B769-4817-BCDB-9E04D3B82E2C}" srcOrd="3" destOrd="0" presId="urn:microsoft.com/office/officeart/2005/8/layout/process1"/>
    <dgm:cxn modelId="{4507D478-8CB0-4C2E-BE46-51EE5F144A44}" type="presParOf" srcId="{CD543A52-B769-4817-BCDB-9E04D3B82E2C}" destId="{9632C60F-56BA-4ECD-9874-3EA13072391A}" srcOrd="0" destOrd="0" presId="urn:microsoft.com/office/officeart/2005/8/layout/process1"/>
    <dgm:cxn modelId="{90E14714-AE89-4830-B320-72CA2DDB0E1D}" type="presParOf" srcId="{DCDE361F-6528-4B2D-AA1C-75A98D9CF19B}" destId="{599C6788-14AC-4886-BE98-CFABBA2B6CBC}" srcOrd="4" destOrd="0" presId="urn:microsoft.com/office/officeart/2005/8/layout/process1"/>
    <dgm:cxn modelId="{ACE98796-A9CF-4227-9F45-CB62CEEE4627}" type="presParOf" srcId="{DCDE361F-6528-4B2D-AA1C-75A98D9CF19B}" destId="{EBA8B8BB-8B80-463D-B5C0-9886029E31EB}" srcOrd="5" destOrd="0" presId="urn:microsoft.com/office/officeart/2005/8/layout/process1"/>
    <dgm:cxn modelId="{9E82E7A2-66DC-4DDB-8287-2A9D372E121F}" type="presParOf" srcId="{EBA8B8BB-8B80-463D-B5C0-9886029E31EB}" destId="{B0DBBBA9-28F6-41E3-9EAE-867A084ADCC9}" srcOrd="0" destOrd="0" presId="urn:microsoft.com/office/officeart/2005/8/layout/process1"/>
    <dgm:cxn modelId="{1DAD1CA2-8100-409A-9EC3-1D25527DEDF5}"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30.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80A2D835-9869-4779-9BD4-0712875E12C9}" type="presOf" srcId="{8512C525-B3B9-4BFC-8B81-ABE692BCA9B8}" destId="{DCDE361F-6528-4B2D-AA1C-75A98D9CF19B}" srcOrd="0" destOrd="0" presId="urn:microsoft.com/office/officeart/2005/8/layout/process1"/>
    <dgm:cxn modelId="{C1F1DD60-CC70-4BD7-B057-C8362D81C77B}" type="presOf" srcId="{864DE107-B989-48AF-AB66-C74CF83D30CD}" destId="{599C6788-14AC-4886-BE98-CFABBA2B6CBC}" srcOrd="0" destOrd="0" presId="urn:microsoft.com/office/officeart/2005/8/layout/process1"/>
    <dgm:cxn modelId="{18358865-199A-40E8-9D0A-27F99EDB9037}" type="presOf" srcId="{2B811016-D430-4B4D-A4B9-C427EBB8C39C}" destId="{CD543A52-B769-4817-BCDB-9E04D3B82E2C}" srcOrd="0" destOrd="0" presId="urn:microsoft.com/office/officeart/2005/8/layout/process1"/>
    <dgm:cxn modelId="{587AF147-07BA-4397-A3D1-640195B5CCA4}" type="presOf" srcId="{307DC733-853C-4BE3-A615-177512EFCA37}" destId="{5D437852-1E36-4551-AE22-3D21BF486FA9}" srcOrd="0" destOrd="0" presId="urn:microsoft.com/office/officeart/2005/8/layout/process1"/>
    <dgm:cxn modelId="{633F9E4F-8900-4BBE-B603-23C7E753AEFF}" type="presOf" srcId="{FF69A2E3-845E-46C4-A44D-095FCDBB9884}" destId="{83AD4C98-81CD-4554-959F-68EE175480AA}" srcOrd="0" destOrd="0" presId="urn:microsoft.com/office/officeart/2005/8/layout/process1"/>
    <dgm:cxn modelId="{B3A08570-FA1D-423B-A5B9-46FBA5052D57}"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6F9C83B5-7B53-4EF7-B3EC-569571A88C15}" type="presOf" srcId="{FCB8ADF2-9891-4EC4-9F8D-3C62A4E3570B}" destId="{D0F3583B-5D16-45E2-90F3-D5928E8BAEEB}" srcOrd="0" destOrd="0" presId="urn:microsoft.com/office/officeart/2005/8/layout/process1"/>
    <dgm:cxn modelId="{AF27BBB5-48B6-4F4F-8DD2-5C452AD7B5A8}" type="presOf" srcId="{BFAE7B18-CC4C-4882-92CD-CB1C42AA85E2}" destId="{1B57603F-6D14-4EC3-B4E3-8B8E29F0AF82}" srcOrd="0" destOrd="0" presId="urn:microsoft.com/office/officeart/2005/8/layout/process1"/>
    <dgm:cxn modelId="{8C6A75C0-7E36-4918-93A2-25E227F7CE99}" type="presOf" srcId="{43157ED2-F950-497C-9847-E7E7C258E927}" destId="{B0DBBBA9-28F6-41E3-9EAE-867A084ADCC9}" srcOrd="1" destOrd="0" presId="urn:microsoft.com/office/officeart/2005/8/layout/process1"/>
    <dgm:cxn modelId="{CDDE59C0-4AA6-4E4E-AFAF-C2678ED503F7}" type="presOf" srcId="{43157ED2-F950-497C-9847-E7E7C258E927}" destId="{EBA8B8BB-8B80-463D-B5C0-9886029E31E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DC62B1F0-3744-4BD6-8EC9-6EB90485E0CB}" type="presOf" srcId="{2B811016-D430-4B4D-A4B9-C427EBB8C39C}" destId="{9632C60F-56BA-4ECD-9874-3EA13072391A}" srcOrd="1" destOrd="0" presId="urn:microsoft.com/office/officeart/2005/8/layout/process1"/>
    <dgm:cxn modelId="{FCF6C2A2-D842-40A8-A748-13E3EBCDA3F8}" type="presParOf" srcId="{DCDE361F-6528-4B2D-AA1C-75A98D9CF19B}" destId="{D0F3583B-5D16-45E2-90F3-D5928E8BAEEB}" srcOrd="0" destOrd="0" presId="urn:microsoft.com/office/officeart/2005/8/layout/process1"/>
    <dgm:cxn modelId="{A83C2BF8-6EFD-4340-AB28-EE6B8598FA8A}" type="presParOf" srcId="{DCDE361F-6528-4B2D-AA1C-75A98D9CF19B}" destId="{1B57603F-6D14-4EC3-B4E3-8B8E29F0AF82}" srcOrd="1" destOrd="0" presId="urn:microsoft.com/office/officeart/2005/8/layout/process1"/>
    <dgm:cxn modelId="{1AA045B7-B9FA-4739-BF09-AB7828B0F85F}" type="presParOf" srcId="{1B57603F-6D14-4EC3-B4E3-8B8E29F0AF82}" destId="{B75A6145-30F1-4A02-8241-CAFBD7613773}" srcOrd="0" destOrd="0" presId="urn:microsoft.com/office/officeart/2005/8/layout/process1"/>
    <dgm:cxn modelId="{83E12FB6-E460-42C5-A7FB-C1075AC215DA}" type="presParOf" srcId="{DCDE361F-6528-4B2D-AA1C-75A98D9CF19B}" destId="{5D437852-1E36-4551-AE22-3D21BF486FA9}" srcOrd="2" destOrd="0" presId="urn:microsoft.com/office/officeart/2005/8/layout/process1"/>
    <dgm:cxn modelId="{2C005B2D-70AA-4BB6-879E-3A7793C5AABA}" type="presParOf" srcId="{DCDE361F-6528-4B2D-AA1C-75A98D9CF19B}" destId="{CD543A52-B769-4817-BCDB-9E04D3B82E2C}" srcOrd="3" destOrd="0" presId="urn:microsoft.com/office/officeart/2005/8/layout/process1"/>
    <dgm:cxn modelId="{010DD85D-31A8-42DD-A7D1-2108650FAA90}" type="presParOf" srcId="{CD543A52-B769-4817-BCDB-9E04D3B82E2C}" destId="{9632C60F-56BA-4ECD-9874-3EA13072391A}" srcOrd="0" destOrd="0" presId="urn:microsoft.com/office/officeart/2005/8/layout/process1"/>
    <dgm:cxn modelId="{CCCD20CE-79F8-4E06-B914-4D18585B7FF9}" type="presParOf" srcId="{DCDE361F-6528-4B2D-AA1C-75A98D9CF19B}" destId="{599C6788-14AC-4886-BE98-CFABBA2B6CBC}" srcOrd="4" destOrd="0" presId="urn:microsoft.com/office/officeart/2005/8/layout/process1"/>
    <dgm:cxn modelId="{13225B5C-7F95-4182-9813-3D1693525D4A}" type="presParOf" srcId="{DCDE361F-6528-4B2D-AA1C-75A98D9CF19B}" destId="{EBA8B8BB-8B80-463D-B5C0-9886029E31EB}" srcOrd="5" destOrd="0" presId="urn:microsoft.com/office/officeart/2005/8/layout/process1"/>
    <dgm:cxn modelId="{427CC815-ED17-4B64-AC41-1BC30E7DFE17}" type="presParOf" srcId="{EBA8B8BB-8B80-463D-B5C0-9886029E31EB}" destId="{B0DBBBA9-28F6-41E3-9EAE-867A084ADCC9}" srcOrd="0" destOrd="0" presId="urn:microsoft.com/office/officeart/2005/8/layout/process1"/>
    <dgm:cxn modelId="{CB7CFC95-1691-4071-9B50-4E56B96011BB}"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1.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D01F4215-0B7E-4914-8164-42D71E4B5D2B}" type="presOf" srcId="{864DE107-B989-48AF-AB66-C74CF83D30CD}" destId="{599C6788-14AC-4886-BE98-CFABBA2B6CBC}" srcOrd="0" destOrd="0" presId="urn:microsoft.com/office/officeart/2005/8/layout/process1"/>
    <dgm:cxn modelId="{95A81920-F1F0-4284-9F2D-D2FC6FECFA68}" type="presOf" srcId="{BFAE7B18-CC4C-4882-92CD-CB1C42AA85E2}" destId="{B75A6145-30F1-4A02-8241-CAFBD7613773}" srcOrd="1" destOrd="0" presId="urn:microsoft.com/office/officeart/2005/8/layout/process1"/>
    <dgm:cxn modelId="{2ADEE75E-9FF2-42D4-A843-C37FB7B9665C}" type="presOf" srcId="{2B811016-D430-4B4D-A4B9-C427EBB8C39C}" destId="{9632C60F-56BA-4ECD-9874-3EA13072391A}" srcOrd="1" destOrd="0" presId="urn:microsoft.com/office/officeart/2005/8/layout/process1"/>
    <dgm:cxn modelId="{3311204E-BB40-4265-ACC6-BA2463E08B2E}" type="presOf" srcId="{FCB8ADF2-9891-4EC4-9F8D-3C62A4E3570B}" destId="{D0F3583B-5D16-45E2-90F3-D5928E8BAEE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1A2139C4-177C-4708-8522-FDA823958873}" type="presOf" srcId="{2B811016-D430-4B4D-A4B9-C427EBB8C39C}" destId="{CD543A52-B769-4817-BCDB-9E04D3B82E2C}" srcOrd="0" destOrd="0" presId="urn:microsoft.com/office/officeart/2005/8/layout/process1"/>
    <dgm:cxn modelId="{75C8F5C8-1C51-486F-AC12-3EAC59DE4ED2}" type="presOf" srcId="{BFAE7B18-CC4C-4882-92CD-CB1C42AA85E2}" destId="{1B57603F-6D14-4EC3-B4E3-8B8E29F0AF82}" srcOrd="0" destOrd="0" presId="urn:microsoft.com/office/officeart/2005/8/layout/process1"/>
    <dgm:cxn modelId="{59F722CE-75D0-47CF-AD9F-D687705EE933}" type="presOf" srcId="{43157ED2-F950-497C-9847-E7E7C258E927}" destId="{EBA8B8BB-8B80-463D-B5C0-9886029E31EB}" srcOrd="0" destOrd="0" presId="urn:microsoft.com/office/officeart/2005/8/layout/process1"/>
    <dgm:cxn modelId="{04699DCF-86C5-4364-86AF-C18099F78AAC}" type="presOf" srcId="{43157ED2-F950-497C-9847-E7E7C258E927}" destId="{B0DBBBA9-28F6-41E3-9EAE-867A084ADCC9}" srcOrd="1" destOrd="0" presId="urn:microsoft.com/office/officeart/2005/8/layout/process1"/>
    <dgm:cxn modelId="{5BFECADC-C010-44D0-B230-598BAB5CAAB7}" type="presOf" srcId="{8512C525-B3B9-4BFC-8B81-ABE692BCA9B8}" destId="{DCDE361F-6528-4B2D-AA1C-75A98D9CF19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C4F1A8EC-6FBB-4B9A-AFD3-F61CECEB9916}" type="presOf" srcId="{FF69A2E3-845E-46C4-A44D-095FCDBB9884}" destId="{83AD4C98-81CD-4554-959F-68EE175480AA}" srcOrd="0" destOrd="0" presId="urn:microsoft.com/office/officeart/2005/8/layout/process1"/>
    <dgm:cxn modelId="{D29ED7FE-9850-4AAC-B768-1CE643858B0A}" type="presOf" srcId="{307DC733-853C-4BE3-A615-177512EFCA37}" destId="{5D437852-1E36-4551-AE22-3D21BF486FA9}" srcOrd="0" destOrd="0" presId="urn:microsoft.com/office/officeart/2005/8/layout/process1"/>
    <dgm:cxn modelId="{65A5531F-928C-47F6-AC34-41375604DBD6}" type="presParOf" srcId="{DCDE361F-6528-4B2D-AA1C-75A98D9CF19B}" destId="{D0F3583B-5D16-45E2-90F3-D5928E8BAEEB}" srcOrd="0" destOrd="0" presId="urn:microsoft.com/office/officeart/2005/8/layout/process1"/>
    <dgm:cxn modelId="{108E6790-1841-4148-B7EF-8F90E04758C4}" type="presParOf" srcId="{DCDE361F-6528-4B2D-AA1C-75A98D9CF19B}" destId="{1B57603F-6D14-4EC3-B4E3-8B8E29F0AF82}" srcOrd="1" destOrd="0" presId="urn:microsoft.com/office/officeart/2005/8/layout/process1"/>
    <dgm:cxn modelId="{F05743C7-B6D5-4746-B17F-981C689F96FE}" type="presParOf" srcId="{1B57603F-6D14-4EC3-B4E3-8B8E29F0AF82}" destId="{B75A6145-30F1-4A02-8241-CAFBD7613773}" srcOrd="0" destOrd="0" presId="urn:microsoft.com/office/officeart/2005/8/layout/process1"/>
    <dgm:cxn modelId="{C1F9457A-8B91-4127-98D9-DD5CB33475E6}" type="presParOf" srcId="{DCDE361F-6528-4B2D-AA1C-75A98D9CF19B}" destId="{5D437852-1E36-4551-AE22-3D21BF486FA9}" srcOrd="2" destOrd="0" presId="urn:microsoft.com/office/officeart/2005/8/layout/process1"/>
    <dgm:cxn modelId="{78E45550-8A7E-44A3-A635-6F108CCADB46}" type="presParOf" srcId="{DCDE361F-6528-4B2D-AA1C-75A98D9CF19B}" destId="{CD543A52-B769-4817-BCDB-9E04D3B82E2C}" srcOrd="3" destOrd="0" presId="urn:microsoft.com/office/officeart/2005/8/layout/process1"/>
    <dgm:cxn modelId="{90343EFC-98B9-479A-AF68-A5013D719F39}" type="presParOf" srcId="{CD543A52-B769-4817-BCDB-9E04D3B82E2C}" destId="{9632C60F-56BA-4ECD-9874-3EA13072391A}" srcOrd="0" destOrd="0" presId="urn:microsoft.com/office/officeart/2005/8/layout/process1"/>
    <dgm:cxn modelId="{03908EE1-9634-43A5-829E-B2C1F9C0D4DF}" type="presParOf" srcId="{DCDE361F-6528-4B2D-AA1C-75A98D9CF19B}" destId="{599C6788-14AC-4886-BE98-CFABBA2B6CBC}" srcOrd="4" destOrd="0" presId="urn:microsoft.com/office/officeart/2005/8/layout/process1"/>
    <dgm:cxn modelId="{1D48E765-AE9C-42F8-BD50-AA08A2C9D72C}" type="presParOf" srcId="{DCDE361F-6528-4B2D-AA1C-75A98D9CF19B}" destId="{EBA8B8BB-8B80-463D-B5C0-9886029E31EB}" srcOrd="5" destOrd="0" presId="urn:microsoft.com/office/officeart/2005/8/layout/process1"/>
    <dgm:cxn modelId="{92FAA7F8-E658-4553-9608-C4AFD75E1F73}" type="presParOf" srcId="{EBA8B8BB-8B80-463D-B5C0-9886029E31EB}" destId="{B0DBBBA9-28F6-41E3-9EAE-867A084ADCC9}" srcOrd="0" destOrd="0" presId="urn:microsoft.com/office/officeart/2005/8/layout/process1"/>
    <dgm:cxn modelId="{BD865690-9185-4638-AC13-CF3A8B5FC3C9}"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32.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30AEDA03-2FF4-4FD0-A507-986FA7890359}" type="presOf" srcId="{2B811016-D430-4B4D-A4B9-C427EBB8C39C}" destId="{9632C60F-56BA-4ECD-9874-3EA13072391A}" srcOrd="1"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284FEA1B-5F89-41A8-8F3A-2D8C85B58DA2}" type="presOf" srcId="{FCB8ADF2-9891-4EC4-9F8D-3C62A4E3570B}" destId="{D0F3583B-5D16-45E2-90F3-D5928E8BAEEB}" srcOrd="0" destOrd="0" presId="urn:microsoft.com/office/officeart/2005/8/layout/process1"/>
    <dgm:cxn modelId="{BB99F045-2E28-4C9B-B71B-7D3A73C97784}" type="presOf" srcId="{307DC733-853C-4BE3-A615-177512EFCA37}" destId="{5D437852-1E36-4551-AE22-3D21BF486FA9}" srcOrd="0" destOrd="0" presId="urn:microsoft.com/office/officeart/2005/8/layout/process1"/>
    <dgm:cxn modelId="{C9409850-95AF-4676-80BC-267C18FC0C6C}" type="presOf" srcId="{43157ED2-F950-497C-9847-E7E7C258E927}" destId="{B0DBBBA9-28F6-41E3-9EAE-867A084ADCC9}" srcOrd="1" destOrd="0" presId="urn:microsoft.com/office/officeart/2005/8/layout/process1"/>
    <dgm:cxn modelId="{4A2A6E52-956A-4336-984D-A164F24C1610}" type="presOf" srcId="{BFAE7B18-CC4C-4882-92CD-CB1C42AA85E2}" destId="{1B57603F-6D14-4EC3-B4E3-8B8E29F0AF82}"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0645F890-10E4-4210-91F8-CF4D5CEB57AC}" type="presOf" srcId="{8512C525-B3B9-4BFC-8B81-ABE692BCA9B8}" destId="{DCDE361F-6528-4B2D-AA1C-75A98D9CF19B}" srcOrd="0" destOrd="0" presId="urn:microsoft.com/office/officeart/2005/8/layout/process1"/>
    <dgm:cxn modelId="{D28A7296-0064-4DFF-9830-E65B695E5279}" type="presOf" srcId="{864DE107-B989-48AF-AB66-C74CF83D30CD}" destId="{599C6788-14AC-4886-BE98-CFABBA2B6CBC}" srcOrd="0" destOrd="0" presId="urn:microsoft.com/office/officeart/2005/8/layout/process1"/>
    <dgm:cxn modelId="{17D0ADDE-7595-45F9-BCD2-3242258A5DF0}" type="presOf" srcId="{BFAE7B18-CC4C-4882-92CD-CB1C42AA85E2}" destId="{B75A6145-30F1-4A02-8241-CAFBD7613773}"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4488E0E3-A3C8-4BAF-8867-1B0E5AA8FE2A}" type="presOf" srcId="{43157ED2-F950-497C-9847-E7E7C258E927}" destId="{EBA8B8BB-8B80-463D-B5C0-9886029E31EB}" srcOrd="0" destOrd="0" presId="urn:microsoft.com/office/officeart/2005/8/layout/process1"/>
    <dgm:cxn modelId="{1C0652F2-6ECF-451A-92C1-EF611B589DC9}" type="presOf" srcId="{FF69A2E3-845E-46C4-A44D-095FCDBB9884}" destId="{83AD4C98-81CD-4554-959F-68EE175480AA}" srcOrd="0" destOrd="0" presId="urn:microsoft.com/office/officeart/2005/8/layout/process1"/>
    <dgm:cxn modelId="{C157E6FA-2D16-4B38-9035-0350393A2FA4}" type="presOf" srcId="{2B811016-D430-4B4D-A4B9-C427EBB8C39C}" destId="{CD543A52-B769-4817-BCDB-9E04D3B82E2C}" srcOrd="0" destOrd="0" presId="urn:microsoft.com/office/officeart/2005/8/layout/process1"/>
    <dgm:cxn modelId="{21993919-F4AC-4390-86D6-17149135B620}" type="presParOf" srcId="{DCDE361F-6528-4B2D-AA1C-75A98D9CF19B}" destId="{D0F3583B-5D16-45E2-90F3-D5928E8BAEEB}" srcOrd="0" destOrd="0" presId="urn:microsoft.com/office/officeart/2005/8/layout/process1"/>
    <dgm:cxn modelId="{B2A75AAB-F0C0-4008-AF89-177F9264AAB9}" type="presParOf" srcId="{DCDE361F-6528-4B2D-AA1C-75A98D9CF19B}" destId="{1B57603F-6D14-4EC3-B4E3-8B8E29F0AF82}" srcOrd="1" destOrd="0" presId="urn:microsoft.com/office/officeart/2005/8/layout/process1"/>
    <dgm:cxn modelId="{C00AB072-A49D-49BE-893E-AE7F22FC93C0}" type="presParOf" srcId="{1B57603F-6D14-4EC3-B4E3-8B8E29F0AF82}" destId="{B75A6145-30F1-4A02-8241-CAFBD7613773}" srcOrd="0" destOrd="0" presId="urn:microsoft.com/office/officeart/2005/8/layout/process1"/>
    <dgm:cxn modelId="{A6BF0308-3C01-4E26-96DA-3A8A4F6A6B63}" type="presParOf" srcId="{DCDE361F-6528-4B2D-AA1C-75A98D9CF19B}" destId="{5D437852-1E36-4551-AE22-3D21BF486FA9}" srcOrd="2" destOrd="0" presId="urn:microsoft.com/office/officeart/2005/8/layout/process1"/>
    <dgm:cxn modelId="{C4816164-58C2-4BBA-B9B1-1FCB8A4AD6BC}" type="presParOf" srcId="{DCDE361F-6528-4B2D-AA1C-75A98D9CF19B}" destId="{CD543A52-B769-4817-BCDB-9E04D3B82E2C}" srcOrd="3" destOrd="0" presId="urn:microsoft.com/office/officeart/2005/8/layout/process1"/>
    <dgm:cxn modelId="{9B9EDCF2-AE8C-4751-AB28-45A26738D667}" type="presParOf" srcId="{CD543A52-B769-4817-BCDB-9E04D3B82E2C}" destId="{9632C60F-56BA-4ECD-9874-3EA13072391A}" srcOrd="0" destOrd="0" presId="urn:microsoft.com/office/officeart/2005/8/layout/process1"/>
    <dgm:cxn modelId="{E1DC6C46-962D-4A99-B677-CCA3B6083942}" type="presParOf" srcId="{DCDE361F-6528-4B2D-AA1C-75A98D9CF19B}" destId="{599C6788-14AC-4886-BE98-CFABBA2B6CBC}" srcOrd="4" destOrd="0" presId="urn:microsoft.com/office/officeart/2005/8/layout/process1"/>
    <dgm:cxn modelId="{FA9D825E-66AD-4F93-A00C-80BAF4E8169C}" type="presParOf" srcId="{DCDE361F-6528-4B2D-AA1C-75A98D9CF19B}" destId="{EBA8B8BB-8B80-463D-B5C0-9886029E31EB}" srcOrd="5" destOrd="0" presId="urn:microsoft.com/office/officeart/2005/8/layout/process1"/>
    <dgm:cxn modelId="{F52B80A3-3461-49B2-B65B-351D8998FFE9}" type="presParOf" srcId="{EBA8B8BB-8B80-463D-B5C0-9886029E31EB}" destId="{B0DBBBA9-28F6-41E3-9EAE-867A084ADCC9}" srcOrd="0" destOrd="0" presId="urn:microsoft.com/office/officeart/2005/8/layout/process1"/>
    <dgm:cxn modelId="{865F7423-87A1-481E-BD7C-563EF2395877}"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3.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89254004-7E4C-45B6-8C44-ABCDA43560C0}" type="presOf" srcId="{307DC733-853C-4BE3-A615-177512EFCA37}" destId="{5D437852-1E36-4551-AE22-3D21BF486FA9}"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68685B13-C22F-4C1A-9294-B92A02D64A85}" type="presOf" srcId="{BFAE7B18-CC4C-4882-92CD-CB1C42AA85E2}" destId="{1B57603F-6D14-4EC3-B4E3-8B8E29F0AF82}" srcOrd="0" destOrd="0" presId="urn:microsoft.com/office/officeart/2005/8/layout/process1"/>
    <dgm:cxn modelId="{8508B01C-198D-4AA1-A9D1-2936DB15CFF2}" type="presOf" srcId="{43157ED2-F950-497C-9847-E7E7C258E927}" destId="{EBA8B8BB-8B80-463D-B5C0-9886029E31EB}" srcOrd="0" destOrd="0" presId="urn:microsoft.com/office/officeart/2005/8/layout/process1"/>
    <dgm:cxn modelId="{E894ED22-F1AE-45CC-AC7A-534BC5E5D7CB}" type="presOf" srcId="{43157ED2-F950-497C-9847-E7E7C258E927}" destId="{B0DBBBA9-28F6-41E3-9EAE-867A084ADCC9}" srcOrd="1" destOrd="0" presId="urn:microsoft.com/office/officeart/2005/8/layout/process1"/>
    <dgm:cxn modelId="{F0A0F734-9B4C-45D6-8FE0-6E2FA15B19A3}" type="presOf" srcId="{FF69A2E3-845E-46C4-A44D-095FCDBB9884}" destId="{83AD4C98-81CD-4554-959F-68EE175480AA}"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D4134B75-FAC0-435A-8FF4-49FE145D6E3C}" type="presOf" srcId="{2B811016-D430-4B4D-A4B9-C427EBB8C39C}" destId="{9632C60F-56BA-4ECD-9874-3EA13072391A}" srcOrd="1" destOrd="0" presId="urn:microsoft.com/office/officeart/2005/8/layout/process1"/>
    <dgm:cxn modelId="{C3395D83-0E3D-415C-BAD9-BE7AEC7B5F6C}" type="presOf" srcId="{864DE107-B989-48AF-AB66-C74CF83D30CD}" destId="{599C6788-14AC-4886-BE98-CFABBA2B6CBC}"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AB80388E-A702-42BF-A543-932E18FEB109}" type="presOf" srcId="{8512C525-B3B9-4BFC-8B81-ABE692BCA9B8}" destId="{DCDE361F-6528-4B2D-AA1C-75A98D9CF19B}" srcOrd="0" destOrd="0" presId="urn:microsoft.com/office/officeart/2005/8/layout/process1"/>
    <dgm:cxn modelId="{A2895996-C4DD-41A3-881B-09C1457A0742}" type="presOf" srcId="{BFAE7B18-CC4C-4882-92CD-CB1C42AA85E2}" destId="{B75A6145-30F1-4A02-8241-CAFBD7613773}"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8AF326EE-896F-40B9-9E4D-2C65C1D17755}" type="presOf" srcId="{2B811016-D430-4B4D-A4B9-C427EBB8C39C}" destId="{CD543A52-B769-4817-BCDB-9E04D3B82E2C}" srcOrd="0" destOrd="0" presId="urn:microsoft.com/office/officeart/2005/8/layout/process1"/>
    <dgm:cxn modelId="{6A2641FC-F223-42EB-A223-4D640373BEF9}" type="presOf" srcId="{FCB8ADF2-9891-4EC4-9F8D-3C62A4E3570B}" destId="{D0F3583B-5D16-45E2-90F3-D5928E8BAEEB}" srcOrd="0" destOrd="0" presId="urn:microsoft.com/office/officeart/2005/8/layout/process1"/>
    <dgm:cxn modelId="{F895D663-8ECE-4D31-8C29-E110CD8ACB41}" type="presParOf" srcId="{DCDE361F-6528-4B2D-AA1C-75A98D9CF19B}" destId="{D0F3583B-5D16-45E2-90F3-D5928E8BAEEB}" srcOrd="0" destOrd="0" presId="urn:microsoft.com/office/officeart/2005/8/layout/process1"/>
    <dgm:cxn modelId="{6657F31B-A53B-4C09-A681-C507A989BCF2}" type="presParOf" srcId="{DCDE361F-6528-4B2D-AA1C-75A98D9CF19B}" destId="{1B57603F-6D14-4EC3-B4E3-8B8E29F0AF82}" srcOrd="1" destOrd="0" presId="urn:microsoft.com/office/officeart/2005/8/layout/process1"/>
    <dgm:cxn modelId="{5BF75237-1015-42FA-B372-D72745795903}" type="presParOf" srcId="{1B57603F-6D14-4EC3-B4E3-8B8E29F0AF82}" destId="{B75A6145-30F1-4A02-8241-CAFBD7613773}" srcOrd="0" destOrd="0" presId="urn:microsoft.com/office/officeart/2005/8/layout/process1"/>
    <dgm:cxn modelId="{C9752C18-4FD7-47DA-A7D4-AB355FF37ED3}" type="presParOf" srcId="{DCDE361F-6528-4B2D-AA1C-75A98D9CF19B}" destId="{5D437852-1E36-4551-AE22-3D21BF486FA9}" srcOrd="2" destOrd="0" presId="urn:microsoft.com/office/officeart/2005/8/layout/process1"/>
    <dgm:cxn modelId="{CDF31F83-B45D-4425-8C33-A4987B84E874}" type="presParOf" srcId="{DCDE361F-6528-4B2D-AA1C-75A98D9CF19B}" destId="{CD543A52-B769-4817-BCDB-9E04D3B82E2C}" srcOrd="3" destOrd="0" presId="urn:microsoft.com/office/officeart/2005/8/layout/process1"/>
    <dgm:cxn modelId="{0B0E1E79-7683-488B-B9E7-8FAAFF7CAD8B}" type="presParOf" srcId="{CD543A52-B769-4817-BCDB-9E04D3B82E2C}" destId="{9632C60F-56BA-4ECD-9874-3EA13072391A}" srcOrd="0" destOrd="0" presId="urn:microsoft.com/office/officeart/2005/8/layout/process1"/>
    <dgm:cxn modelId="{195D2EC7-BEFA-40DD-8570-F847D4759FBD}" type="presParOf" srcId="{DCDE361F-6528-4B2D-AA1C-75A98D9CF19B}" destId="{599C6788-14AC-4886-BE98-CFABBA2B6CBC}" srcOrd="4" destOrd="0" presId="urn:microsoft.com/office/officeart/2005/8/layout/process1"/>
    <dgm:cxn modelId="{D66FDF6F-E691-41F6-B72B-9B762B6B422B}" type="presParOf" srcId="{DCDE361F-6528-4B2D-AA1C-75A98D9CF19B}" destId="{EBA8B8BB-8B80-463D-B5C0-9886029E31EB}" srcOrd="5" destOrd="0" presId="urn:microsoft.com/office/officeart/2005/8/layout/process1"/>
    <dgm:cxn modelId="{BCEBFA72-D01B-4BE3-9786-694FA32C3357}" type="presParOf" srcId="{EBA8B8BB-8B80-463D-B5C0-9886029E31EB}" destId="{B0DBBBA9-28F6-41E3-9EAE-867A084ADCC9}" srcOrd="0" destOrd="0" presId="urn:microsoft.com/office/officeart/2005/8/layout/process1"/>
    <dgm:cxn modelId="{8B7183C3-3E65-4503-819A-082AB8ACCF58}"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4.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C1863C0B-A3E8-47C0-81AB-CD0C94444254}" type="presOf" srcId="{BFAE7B18-CC4C-4882-92CD-CB1C42AA85E2}" destId="{B75A6145-30F1-4A02-8241-CAFBD7613773}" srcOrd="1" destOrd="0" presId="urn:microsoft.com/office/officeart/2005/8/layout/process1"/>
    <dgm:cxn modelId="{40A7E50D-B2AD-472D-8515-DB5440C6BE89}" type="presOf" srcId="{FF69A2E3-845E-46C4-A44D-095FCDBB9884}" destId="{83AD4C98-81CD-4554-959F-68EE175480AA}"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C38BDF74-4B05-4648-BEFF-EFAB05B48102}" srcId="{8512C525-B3B9-4BFC-8B81-ABE692BCA9B8}" destId="{864DE107-B989-48AF-AB66-C74CF83D30CD}" srcOrd="2" destOrd="0" parTransId="{8E058906-4EC3-42F3-A9BE-B9F2E696B351}" sibTransId="{43157ED2-F950-497C-9847-E7E7C258E927}"/>
    <dgm:cxn modelId="{6928C58C-79D4-4EAB-99E2-70D9B9CABC16}" type="presOf" srcId="{43157ED2-F950-497C-9847-E7E7C258E927}" destId="{B0DBBBA9-28F6-41E3-9EAE-867A084ADCC9}"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7F017A99-15B7-425E-8A54-0ABE3BF60F79}" type="presOf" srcId="{2B811016-D430-4B4D-A4B9-C427EBB8C39C}" destId="{9632C60F-56BA-4ECD-9874-3EA13072391A}" srcOrd="1" destOrd="0" presId="urn:microsoft.com/office/officeart/2005/8/layout/process1"/>
    <dgm:cxn modelId="{AE8F14A3-5AAF-47B7-A742-ACB4612C013F}" type="presOf" srcId="{864DE107-B989-48AF-AB66-C74CF83D30CD}" destId="{599C6788-14AC-4886-BE98-CFABBA2B6CBC}" srcOrd="0" destOrd="0" presId="urn:microsoft.com/office/officeart/2005/8/layout/process1"/>
    <dgm:cxn modelId="{9EBAA5A3-4F7F-43C3-A576-A3616F7A432D}" type="presOf" srcId="{8512C525-B3B9-4BFC-8B81-ABE692BCA9B8}" destId="{DCDE361F-6528-4B2D-AA1C-75A98D9CF19B}" srcOrd="0" destOrd="0" presId="urn:microsoft.com/office/officeart/2005/8/layout/process1"/>
    <dgm:cxn modelId="{9B8CDDA8-9308-44B2-9D1B-2ABB80283A4E}" type="presOf" srcId="{FCB8ADF2-9891-4EC4-9F8D-3C62A4E3570B}" destId="{D0F3583B-5D16-45E2-90F3-D5928E8BAEEB}" srcOrd="0" destOrd="0" presId="urn:microsoft.com/office/officeart/2005/8/layout/process1"/>
    <dgm:cxn modelId="{FB58E1B0-8602-4067-A18C-571984F67374}" type="presOf" srcId="{307DC733-853C-4BE3-A615-177512EFCA37}" destId="{5D437852-1E36-4551-AE22-3D21BF486FA9}" srcOrd="0" destOrd="0" presId="urn:microsoft.com/office/officeart/2005/8/layout/process1"/>
    <dgm:cxn modelId="{53EA1EDF-994A-4CBB-ACC3-C227FF697160}" type="presOf" srcId="{2B811016-D430-4B4D-A4B9-C427EBB8C39C}" destId="{CD543A52-B769-4817-BCDB-9E04D3B82E2C}" srcOrd="0" destOrd="0" presId="urn:microsoft.com/office/officeart/2005/8/layout/process1"/>
    <dgm:cxn modelId="{E5CC60DF-1542-4446-805E-369256B1A738}" type="presOf" srcId="{BFAE7B18-CC4C-4882-92CD-CB1C42AA85E2}" destId="{1B57603F-6D14-4EC3-B4E3-8B8E29F0AF82}"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5E77D7FD-19F0-4B3A-B444-A0812C4B9327}" type="presOf" srcId="{43157ED2-F950-497C-9847-E7E7C258E927}" destId="{EBA8B8BB-8B80-463D-B5C0-9886029E31EB}" srcOrd="0" destOrd="0" presId="urn:microsoft.com/office/officeart/2005/8/layout/process1"/>
    <dgm:cxn modelId="{401C41F2-90F3-4B9A-9255-AAA8141B1D99}" type="presParOf" srcId="{DCDE361F-6528-4B2D-AA1C-75A98D9CF19B}" destId="{D0F3583B-5D16-45E2-90F3-D5928E8BAEEB}" srcOrd="0" destOrd="0" presId="urn:microsoft.com/office/officeart/2005/8/layout/process1"/>
    <dgm:cxn modelId="{9D5071E8-DD4F-4EB4-B282-45810EFC4D3B}" type="presParOf" srcId="{DCDE361F-6528-4B2D-AA1C-75A98D9CF19B}" destId="{1B57603F-6D14-4EC3-B4E3-8B8E29F0AF82}" srcOrd="1" destOrd="0" presId="urn:microsoft.com/office/officeart/2005/8/layout/process1"/>
    <dgm:cxn modelId="{AA03DA3B-5C67-4162-BD4D-A8F44C6C790E}" type="presParOf" srcId="{1B57603F-6D14-4EC3-B4E3-8B8E29F0AF82}" destId="{B75A6145-30F1-4A02-8241-CAFBD7613773}" srcOrd="0" destOrd="0" presId="urn:microsoft.com/office/officeart/2005/8/layout/process1"/>
    <dgm:cxn modelId="{0D4F4FC3-10C0-488F-ABD2-A9776B05372A}" type="presParOf" srcId="{DCDE361F-6528-4B2D-AA1C-75A98D9CF19B}" destId="{5D437852-1E36-4551-AE22-3D21BF486FA9}" srcOrd="2" destOrd="0" presId="urn:microsoft.com/office/officeart/2005/8/layout/process1"/>
    <dgm:cxn modelId="{F97F1EBC-D550-4738-8CEA-8B32E8ED7875}" type="presParOf" srcId="{DCDE361F-6528-4B2D-AA1C-75A98D9CF19B}" destId="{CD543A52-B769-4817-BCDB-9E04D3B82E2C}" srcOrd="3" destOrd="0" presId="urn:microsoft.com/office/officeart/2005/8/layout/process1"/>
    <dgm:cxn modelId="{0938D83D-1513-490E-BCA8-0E8B08B9E82B}" type="presParOf" srcId="{CD543A52-B769-4817-BCDB-9E04D3B82E2C}" destId="{9632C60F-56BA-4ECD-9874-3EA13072391A}" srcOrd="0" destOrd="0" presId="urn:microsoft.com/office/officeart/2005/8/layout/process1"/>
    <dgm:cxn modelId="{5AB0E135-7ACA-4245-90C8-7705E4CCC24B}" type="presParOf" srcId="{DCDE361F-6528-4B2D-AA1C-75A98D9CF19B}" destId="{599C6788-14AC-4886-BE98-CFABBA2B6CBC}" srcOrd="4" destOrd="0" presId="urn:microsoft.com/office/officeart/2005/8/layout/process1"/>
    <dgm:cxn modelId="{571DD9AD-7246-4538-B09D-A5110F39BDF0}" type="presParOf" srcId="{DCDE361F-6528-4B2D-AA1C-75A98D9CF19B}" destId="{EBA8B8BB-8B80-463D-B5C0-9886029E31EB}" srcOrd="5" destOrd="0" presId="urn:microsoft.com/office/officeart/2005/8/layout/process1"/>
    <dgm:cxn modelId="{078EC0D2-833D-44FD-9EF1-A6DA7CB314C2}" type="presParOf" srcId="{EBA8B8BB-8B80-463D-B5C0-9886029E31EB}" destId="{B0DBBBA9-28F6-41E3-9EAE-867A084ADCC9}" srcOrd="0" destOrd="0" presId="urn:microsoft.com/office/officeart/2005/8/layout/process1"/>
    <dgm:cxn modelId="{CD96A5E3-81D9-4933-9BC6-EB2481CAC3B7}"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5.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529F4A47-0612-45D0-945C-45F02B963BAB}" type="presOf" srcId="{FF69A2E3-845E-46C4-A44D-095FCDBB9884}" destId="{83AD4C98-81CD-4554-959F-68EE175480AA}" srcOrd="0" destOrd="0" presId="urn:microsoft.com/office/officeart/2005/8/layout/process1"/>
    <dgm:cxn modelId="{3CCEA752-AFD9-469D-9366-EB7E486EF5E4}" type="presOf" srcId="{2B811016-D430-4B4D-A4B9-C427EBB8C39C}" destId="{9632C60F-56BA-4ECD-9874-3EA13072391A}"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1E7DE156-CECA-4A31-9B95-12FC11F02F5E}" type="presOf" srcId="{BFAE7B18-CC4C-4882-92CD-CB1C42AA85E2}" destId="{1B57603F-6D14-4EC3-B4E3-8B8E29F0AF82}" srcOrd="0" destOrd="0" presId="urn:microsoft.com/office/officeart/2005/8/layout/process1"/>
    <dgm:cxn modelId="{446E3688-2EB5-49C7-8376-1DDB1A399BF9}" type="presOf" srcId="{307DC733-853C-4BE3-A615-177512EFCA37}" destId="{5D437852-1E36-4551-AE22-3D21BF486FA9}"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2CE198A8-C85A-42C8-8674-1FD500116211}" type="presOf" srcId="{FCB8ADF2-9891-4EC4-9F8D-3C62A4E3570B}" destId="{D0F3583B-5D16-45E2-90F3-D5928E8BAEEB}" srcOrd="0" destOrd="0" presId="urn:microsoft.com/office/officeart/2005/8/layout/process1"/>
    <dgm:cxn modelId="{7F20CFCA-3E3F-478B-8EB9-97EB8C0C981D}" type="presOf" srcId="{BFAE7B18-CC4C-4882-92CD-CB1C42AA85E2}" destId="{B75A6145-30F1-4A02-8241-CAFBD7613773}" srcOrd="1" destOrd="0" presId="urn:microsoft.com/office/officeart/2005/8/layout/process1"/>
    <dgm:cxn modelId="{08EB76D1-D11D-4D6D-92EE-0BA4185728A0}" type="presOf" srcId="{2B811016-D430-4B4D-A4B9-C427EBB8C39C}" destId="{CD543A52-B769-4817-BCDB-9E04D3B82E2C}" srcOrd="0" destOrd="0" presId="urn:microsoft.com/office/officeart/2005/8/layout/process1"/>
    <dgm:cxn modelId="{143836DA-7BF3-44CC-996F-E477EBA44D9B}" type="presOf" srcId="{43157ED2-F950-497C-9847-E7E7C258E927}" destId="{EBA8B8BB-8B80-463D-B5C0-9886029E31EB}" srcOrd="0" destOrd="0" presId="urn:microsoft.com/office/officeart/2005/8/layout/process1"/>
    <dgm:cxn modelId="{F59D20DE-ACC1-4349-9B04-642375287536}" type="presOf" srcId="{8512C525-B3B9-4BFC-8B81-ABE692BCA9B8}" destId="{DCDE361F-6528-4B2D-AA1C-75A98D9CF19B}" srcOrd="0" destOrd="0" presId="urn:microsoft.com/office/officeart/2005/8/layout/process1"/>
    <dgm:cxn modelId="{10235DDF-A1B4-4BF8-8557-8E96A32001C0}" type="presOf" srcId="{864DE107-B989-48AF-AB66-C74CF83D30CD}" destId="{599C6788-14AC-4886-BE98-CFABBA2B6CBC}"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10B304F2-F226-4CA6-B10E-D4D2F9076985}" type="presOf" srcId="{43157ED2-F950-497C-9847-E7E7C258E927}" destId="{B0DBBBA9-28F6-41E3-9EAE-867A084ADCC9}" srcOrd="1" destOrd="0" presId="urn:microsoft.com/office/officeart/2005/8/layout/process1"/>
    <dgm:cxn modelId="{175EB8CB-28C1-4F66-9D1D-B5565A06E4AA}" type="presParOf" srcId="{DCDE361F-6528-4B2D-AA1C-75A98D9CF19B}" destId="{D0F3583B-5D16-45E2-90F3-D5928E8BAEEB}" srcOrd="0" destOrd="0" presId="urn:microsoft.com/office/officeart/2005/8/layout/process1"/>
    <dgm:cxn modelId="{C2A51BBC-0C00-4D69-8908-61A1536BB3DD}" type="presParOf" srcId="{DCDE361F-6528-4B2D-AA1C-75A98D9CF19B}" destId="{1B57603F-6D14-4EC3-B4E3-8B8E29F0AF82}" srcOrd="1" destOrd="0" presId="urn:microsoft.com/office/officeart/2005/8/layout/process1"/>
    <dgm:cxn modelId="{FD778CF1-52CB-494B-A857-F023078605B0}" type="presParOf" srcId="{1B57603F-6D14-4EC3-B4E3-8B8E29F0AF82}" destId="{B75A6145-30F1-4A02-8241-CAFBD7613773}" srcOrd="0" destOrd="0" presId="urn:microsoft.com/office/officeart/2005/8/layout/process1"/>
    <dgm:cxn modelId="{A07303C7-DDD1-4371-8627-67332831BC04}" type="presParOf" srcId="{DCDE361F-6528-4B2D-AA1C-75A98D9CF19B}" destId="{5D437852-1E36-4551-AE22-3D21BF486FA9}" srcOrd="2" destOrd="0" presId="urn:microsoft.com/office/officeart/2005/8/layout/process1"/>
    <dgm:cxn modelId="{1B64D6CA-FB68-4216-AC31-225B0F2386FF}" type="presParOf" srcId="{DCDE361F-6528-4B2D-AA1C-75A98D9CF19B}" destId="{CD543A52-B769-4817-BCDB-9E04D3B82E2C}" srcOrd="3" destOrd="0" presId="urn:microsoft.com/office/officeart/2005/8/layout/process1"/>
    <dgm:cxn modelId="{D4A5BF31-0F0C-475B-908D-5CCAFBD27A30}" type="presParOf" srcId="{CD543A52-B769-4817-BCDB-9E04D3B82E2C}" destId="{9632C60F-56BA-4ECD-9874-3EA13072391A}" srcOrd="0" destOrd="0" presId="urn:microsoft.com/office/officeart/2005/8/layout/process1"/>
    <dgm:cxn modelId="{F850132F-6BF6-42F0-AB08-173402DE8BAB}" type="presParOf" srcId="{DCDE361F-6528-4B2D-AA1C-75A98D9CF19B}" destId="{599C6788-14AC-4886-BE98-CFABBA2B6CBC}" srcOrd="4" destOrd="0" presId="urn:microsoft.com/office/officeart/2005/8/layout/process1"/>
    <dgm:cxn modelId="{FE201CE4-5123-4B9F-819B-4FB25E543144}" type="presParOf" srcId="{DCDE361F-6528-4B2D-AA1C-75A98D9CF19B}" destId="{EBA8B8BB-8B80-463D-B5C0-9886029E31EB}" srcOrd="5" destOrd="0" presId="urn:microsoft.com/office/officeart/2005/8/layout/process1"/>
    <dgm:cxn modelId="{E0B40CEF-BAC7-4D27-BF12-291497D33A83}" type="presParOf" srcId="{EBA8B8BB-8B80-463D-B5C0-9886029E31EB}" destId="{B0DBBBA9-28F6-41E3-9EAE-867A084ADCC9}" srcOrd="0" destOrd="0" presId="urn:microsoft.com/office/officeart/2005/8/layout/process1"/>
    <dgm:cxn modelId="{7BB44AA2-B628-44A4-A777-1706C52E69F5}"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36.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7CECAA1B-89FB-4D78-8F1F-C1CC2403D9D2}" type="presOf" srcId="{2B811016-D430-4B4D-A4B9-C427EBB8C39C}" destId="{9632C60F-56BA-4ECD-9874-3EA13072391A}" srcOrd="1" destOrd="0" presId="urn:microsoft.com/office/officeart/2005/8/layout/process1"/>
    <dgm:cxn modelId="{31BE3E28-BDF5-47F6-960E-D01CC76F14AB}" type="presOf" srcId="{BFAE7B18-CC4C-4882-92CD-CB1C42AA85E2}" destId="{1B57603F-6D14-4EC3-B4E3-8B8E29F0AF82}" srcOrd="0" destOrd="0" presId="urn:microsoft.com/office/officeart/2005/8/layout/process1"/>
    <dgm:cxn modelId="{F6A6A32A-7EE5-4580-9D74-C2F2CF1BECBD}" type="presOf" srcId="{8512C525-B3B9-4BFC-8B81-ABE692BCA9B8}" destId="{DCDE361F-6528-4B2D-AA1C-75A98D9CF19B}" srcOrd="0" destOrd="0" presId="urn:microsoft.com/office/officeart/2005/8/layout/process1"/>
    <dgm:cxn modelId="{AB8EBB2F-5412-441F-B0EC-152CAA497F98}" type="presOf" srcId="{FF69A2E3-845E-46C4-A44D-095FCDBB9884}" destId="{83AD4C98-81CD-4554-959F-68EE175480AA}" srcOrd="0" destOrd="0" presId="urn:microsoft.com/office/officeart/2005/8/layout/process1"/>
    <dgm:cxn modelId="{5A526673-8C98-45B1-9637-9017AE2539D8}" type="presOf" srcId="{FCB8ADF2-9891-4EC4-9F8D-3C62A4E3570B}" destId="{D0F3583B-5D16-45E2-90F3-D5928E8BAEEB}"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CAFC0D59-2731-4981-9D97-6FCF5FCE03EC}" type="presOf" srcId="{2B811016-D430-4B4D-A4B9-C427EBB8C39C}" destId="{CD543A52-B769-4817-BCDB-9E04D3B82E2C}"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33A848B5-BD12-407C-BADE-C5FB7255E49A}" type="presOf" srcId="{43157ED2-F950-497C-9847-E7E7C258E927}" destId="{B0DBBBA9-28F6-41E3-9EAE-867A084ADCC9}" srcOrd="1" destOrd="0" presId="urn:microsoft.com/office/officeart/2005/8/layout/process1"/>
    <dgm:cxn modelId="{D50D42B9-FC51-4A46-8835-76DDFCEB299A}" type="presOf" srcId="{BFAE7B18-CC4C-4882-92CD-CB1C42AA85E2}" destId="{B75A6145-30F1-4A02-8241-CAFBD7613773}" srcOrd="1" destOrd="0" presId="urn:microsoft.com/office/officeart/2005/8/layout/process1"/>
    <dgm:cxn modelId="{8E2D55D1-55A6-4349-BD50-B73B7C6AA750}" type="presOf" srcId="{43157ED2-F950-497C-9847-E7E7C258E927}" destId="{EBA8B8BB-8B80-463D-B5C0-9886029E31EB}" srcOrd="0" destOrd="0" presId="urn:microsoft.com/office/officeart/2005/8/layout/process1"/>
    <dgm:cxn modelId="{B0C05CDD-90D7-46F8-888B-129124BEE0A7}" type="presOf" srcId="{307DC733-853C-4BE3-A615-177512EFCA37}" destId="{5D437852-1E36-4551-AE22-3D21BF486FA9}"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FE114FF7-7CF3-46BD-A0C7-65E01967C645}" type="presOf" srcId="{864DE107-B989-48AF-AB66-C74CF83D30CD}" destId="{599C6788-14AC-4886-BE98-CFABBA2B6CBC}" srcOrd="0" destOrd="0" presId="urn:microsoft.com/office/officeart/2005/8/layout/process1"/>
    <dgm:cxn modelId="{58966228-ED7C-44EC-929A-F1FB709649BD}" type="presParOf" srcId="{DCDE361F-6528-4B2D-AA1C-75A98D9CF19B}" destId="{D0F3583B-5D16-45E2-90F3-D5928E8BAEEB}" srcOrd="0" destOrd="0" presId="urn:microsoft.com/office/officeart/2005/8/layout/process1"/>
    <dgm:cxn modelId="{D5AC798C-AD7E-4229-9AF1-CEA231E0D0E7}" type="presParOf" srcId="{DCDE361F-6528-4B2D-AA1C-75A98D9CF19B}" destId="{1B57603F-6D14-4EC3-B4E3-8B8E29F0AF82}" srcOrd="1" destOrd="0" presId="urn:microsoft.com/office/officeart/2005/8/layout/process1"/>
    <dgm:cxn modelId="{EB24DC67-3015-4861-B158-2D7CEC4662D6}" type="presParOf" srcId="{1B57603F-6D14-4EC3-B4E3-8B8E29F0AF82}" destId="{B75A6145-30F1-4A02-8241-CAFBD7613773}" srcOrd="0" destOrd="0" presId="urn:microsoft.com/office/officeart/2005/8/layout/process1"/>
    <dgm:cxn modelId="{A9A047E5-C697-486B-9037-E8BE0F2C4194}" type="presParOf" srcId="{DCDE361F-6528-4B2D-AA1C-75A98D9CF19B}" destId="{5D437852-1E36-4551-AE22-3D21BF486FA9}" srcOrd="2" destOrd="0" presId="urn:microsoft.com/office/officeart/2005/8/layout/process1"/>
    <dgm:cxn modelId="{84F169E7-2CF4-4BDF-AF2F-A8C1A5CEEFFB}" type="presParOf" srcId="{DCDE361F-6528-4B2D-AA1C-75A98D9CF19B}" destId="{CD543A52-B769-4817-BCDB-9E04D3B82E2C}" srcOrd="3" destOrd="0" presId="urn:microsoft.com/office/officeart/2005/8/layout/process1"/>
    <dgm:cxn modelId="{1890FFFE-A315-47A1-9229-51451DC7B68C}" type="presParOf" srcId="{CD543A52-B769-4817-BCDB-9E04D3B82E2C}" destId="{9632C60F-56BA-4ECD-9874-3EA13072391A}" srcOrd="0" destOrd="0" presId="urn:microsoft.com/office/officeart/2005/8/layout/process1"/>
    <dgm:cxn modelId="{C71ED083-DC13-4269-BF45-7A1F59CFF21A}" type="presParOf" srcId="{DCDE361F-6528-4B2D-AA1C-75A98D9CF19B}" destId="{599C6788-14AC-4886-BE98-CFABBA2B6CBC}" srcOrd="4" destOrd="0" presId="urn:microsoft.com/office/officeart/2005/8/layout/process1"/>
    <dgm:cxn modelId="{757D6F38-99AD-45F2-A7A3-FB0388EC38A3}" type="presParOf" srcId="{DCDE361F-6528-4B2D-AA1C-75A98D9CF19B}" destId="{EBA8B8BB-8B80-463D-B5C0-9886029E31EB}" srcOrd="5" destOrd="0" presId="urn:microsoft.com/office/officeart/2005/8/layout/process1"/>
    <dgm:cxn modelId="{8957AEAA-64C8-4690-A6D2-F8AA042D682E}" type="presParOf" srcId="{EBA8B8BB-8B80-463D-B5C0-9886029E31EB}" destId="{B0DBBBA9-28F6-41E3-9EAE-867A084ADCC9}" srcOrd="0" destOrd="0" presId="urn:microsoft.com/office/officeart/2005/8/layout/process1"/>
    <dgm:cxn modelId="{384976B2-2D6B-4FA5-9892-099D3FCFBC3D}"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7.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8E909701-5D5F-4061-B8BD-AA5C8DB0A75F}" type="presOf" srcId="{8512C525-B3B9-4BFC-8B81-ABE692BCA9B8}" destId="{DCDE361F-6528-4B2D-AA1C-75A98D9CF19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7796361A-3268-4BD1-AF9D-78B680A81D92}" type="presOf" srcId="{864DE107-B989-48AF-AB66-C74CF83D30CD}" destId="{599C6788-14AC-4886-BE98-CFABBA2B6CBC}" srcOrd="0" destOrd="0" presId="urn:microsoft.com/office/officeart/2005/8/layout/process1"/>
    <dgm:cxn modelId="{1B303E1C-8E11-4B31-8DD7-A61C88A85ADE}"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EFE4AA77-8531-4BD6-B6AD-0D10A629452E}" type="presOf" srcId="{FF69A2E3-845E-46C4-A44D-095FCDBB9884}" destId="{83AD4C98-81CD-4554-959F-68EE175480AA}" srcOrd="0" destOrd="0" presId="urn:microsoft.com/office/officeart/2005/8/layout/process1"/>
    <dgm:cxn modelId="{F87F127C-FE34-4817-8905-43D22F4A359F}" type="presOf" srcId="{307DC733-853C-4BE3-A615-177512EFCA37}" destId="{5D437852-1E36-4551-AE22-3D21BF486FA9}"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FB065F9A-D1ED-4D38-91B1-572569FDB0D9}" type="presOf" srcId="{43157ED2-F950-497C-9847-E7E7C258E927}" destId="{B0DBBBA9-28F6-41E3-9EAE-867A084ADCC9}" srcOrd="1" destOrd="0" presId="urn:microsoft.com/office/officeart/2005/8/layout/process1"/>
    <dgm:cxn modelId="{76686FB3-FAEF-48A7-9673-171D171837BD}" type="presOf" srcId="{2B811016-D430-4B4D-A4B9-C427EBB8C39C}" destId="{CD543A52-B769-4817-BCDB-9E04D3B82E2C}" srcOrd="0" destOrd="0" presId="urn:microsoft.com/office/officeart/2005/8/layout/process1"/>
    <dgm:cxn modelId="{E3C9EDC2-7302-43AA-A043-BB35E2B2FF94}" type="presOf" srcId="{2B811016-D430-4B4D-A4B9-C427EBB8C39C}" destId="{9632C60F-56BA-4ECD-9874-3EA13072391A}" srcOrd="1" destOrd="0" presId="urn:microsoft.com/office/officeart/2005/8/layout/process1"/>
    <dgm:cxn modelId="{B4D834DC-3128-4CB8-8C71-22A476FDB38B}" type="presOf" srcId="{43157ED2-F950-497C-9847-E7E7C258E927}" destId="{EBA8B8BB-8B80-463D-B5C0-9886029E31EB}" srcOrd="0" destOrd="0" presId="urn:microsoft.com/office/officeart/2005/8/layout/process1"/>
    <dgm:cxn modelId="{524761DC-17E0-4E5B-ABD8-397136323F57}" type="presOf" srcId="{BFAE7B18-CC4C-4882-92CD-CB1C42AA85E2}" destId="{1B57603F-6D14-4EC3-B4E3-8B8E29F0AF82}"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139A09E3-B320-4D10-8B9D-C60C5BB901D6}" type="presOf" srcId="{FCB8ADF2-9891-4EC4-9F8D-3C62A4E3570B}" destId="{D0F3583B-5D16-45E2-90F3-D5928E8BAEEB}" srcOrd="0" destOrd="0" presId="urn:microsoft.com/office/officeart/2005/8/layout/process1"/>
    <dgm:cxn modelId="{6DE0BA06-EB68-4FAA-BB7B-75AFF2084A6E}" type="presParOf" srcId="{DCDE361F-6528-4B2D-AA1C-75A98D9CF19B}" destId="{D0F3583B-5D16-45E2-90F3-D5928E8BAEEB}" srcOrd="0" destOrd="0" presId="urn:microsoft.com/office/officeart/2005/8/layout/process1"/>
    <dgm:cxn modelId="{BD9804B9-1C4C-4590-81BE-5EB943D3AE6B}" type="presParOf" srcId="{DCDE361F-6528-4B2D-AA1C-75A98D9CF19B}" destId="{1B57603F-6D14-4EC3-B4E3-8B8E29F0AF82}" srcOrd="1" destOrd="0" presId="urn:microsoft.com/office/officeart/2005/8/layout/process1"/>
    <dgm:cxn modelId="{6066EC63-EB76-4A8C-9845-23667AC65D80}" type="presParOf" srcId="{1B57603F-6D14-4EC3-B4E3-8B8E29F0AF82}" destId="{B75A6145-30F1-4A02-8241-CAFBD7613773}" srcOrd="0" destOrd="0" presId="urn:microsoft.com/office/officeart/2005/8/layout/process1"/>
    <dgm:cxn modelId="{1111D2D5-502E-486B-B7AF-38934FA4E0F2}" type="presParOf" srcId="{DCDE361F-6528-4B2D-AA1C-75A98D9CF19B}" destId="{5D437852-1E36-4551-AE22-3D21BF486FA9}" srcOrd="2" destOrd="0" presId="urn:microsoft.com/office/officeart/2005/8/layout/process1"/>
    <dgm:cxn modelId="{1A15E3E5-70BD-4A2E-8269-841D24E5A72F}" type="presParOf" srcId="{DCDE361F-6528-4B2D-AA1C-75A98D9CF19B}" destId="{CD543A52-B769-4817-BCDB-9E04D3B82E2C}" srcOrd="3" destOrd="0" presId="urn:microsoft.com/office/officeart/2005/8/layout/process1"/>
    <dgm:cxn modelId="{AE3DFAF5-47C8-43B0-B053-786633323495}" type="presParOf" srcId="{CD543A52-B769-4817-BCDB-9E04D3B82E2C}" destId="{9632C60F-56BA-4ECD-9874-3EA13072391A}" srcOrd="0" destOrd="0" presId="urn:microsoft.com/office/officeart/2005/8/layout/process1"/>
    <dgm:cxn modelId="{D644D55D-5318-4BA3-878A-EE9CEC94195A}" type="presParOf" srcId="{DCDE361F-6528-4B2D-AA1C-75A98D9CF19B}" destId="{599C6788-14AC-4886-BE98-CFABBA2B6CBC}" srcOrd="4" destOrd="0" presId="urn:microsoft.com/office/officeart/2005/8/layout/process1"/>
    <dgm:cxn modelId="{EC27EA70-AAE3-4D52-8099-1D69CD79A5B9}" type="presParOf" srcId="{DCDE361F-6528-4B2D-AA1C-75A98D9CF19B}" destId="{EBA8B8BB-8B80-463D-B5C0-9886029E31EB}" srcOrd="5" destOrd="0" presId="urn:microsoft.com/office/officeart/2005/8/layout/process1"/>
    <dgm:cxn modelId="{20CA98D9-6955-4773-B035-78CBF787FED1}" type="presParOf" srcId="{EBA8B8BB-8B80-463D-B5C0-9886029E31EB}" destId="{B0DBBBA9-28F6-41E3-9EAE-867A084ADCC9}" srcOrd="0" destOrd="0" presId="urn:microsoft.com/office/officeart/2005/8/layout/process1"/>
    <dgm:cxn modelId="{2A4DFA31-45B4-42C5-8A9A-953E8AE6CB95}"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8.xml><?xml version="1.0" encoding="utf-8"?>
<dgm:dataModel xmlns:dgm="http://schemas.openxmlformats.org/drawingml/2006/diagram" xmlns:a="http://schemas.openxmlformats.org/drawingml/2006/main">
  <dgm:ptLst>
    <dgm:pt modelId="{24438A0C-BADA-414B-8C0E-1CE6EEB7139E}" type="doc">
      <dgm:prSet loTypeId="urn:microsoft.com/office/officeart/2009/3/layout/StepUpProcess" loCatId="process" qsTypeId="urn:microsoft.com/office/officeart/2005/8/quickstyle/simple1" qsCatId="simple" csTypeId="urn:microsoft.com/office/officeart/2005/8/colors/accent3_2" csCatId="accent3" phldr="1"/>
      <dgm:spPr/>
      <dgm:t>
        <a:bodyPr/>
        <a:lstStyle/>
        <a:p>
          <a:endParaRPr lang="fr-FR"/>
        </a:p>
      </dgm:t>
    </dgm:pt>
    <dgm:pt modelId="{D328085B-6785-4BFE-BF25-F5538C580190}">
      <dgm:prSet phldrT="[Texte]" custT="1"/>
      <dgm:spPr/>
      <dgm:t>
        <a:bodyPr/>
        <a:lstStyle/>
        <a:p>
          <a:pPr algn="l">
            <a:lnSpc>
              <a:spcPct val="150000"/>
            </a:lnSpc>
          </a:pPr>
          <a:r>
            <a:rPr lang="fr-FR" sz="1200" b="1" kern="1200" dirty="0">
              <a:solidFill>
                <a:schemeClr val="tx1"/>
              </a:solidFill>
            </a:rPr>
            <a:t>-</a:t>
          </a:r>
          <a:r>
            <a:rPr lang="fr-FR" sz="1200" b="1" kern="1200" dirty="0">
              <a:solidFill>
                <a:prstClr val="black">
                  <a:hueOff val="0"/>
                  <a:satOff val="0"/>
                  <a:lumOff val="0"/>
                  <a:alphaOff val="0"/>
                </a:prstClr>
              </a:solidFill>
              <a:latin typeface="Open Sans"/>
              <a:ea typeface="+mn-ea"/>
              <a:cs typeface="+mn-cs"/>
            </a:rPr>
            <a:t>Fiche d’évaluation de la performance  fournisseur</a:t>
          </a:r>
        </a:p>
        <a:p>
          <a:pPr algn="l">
            <a:lnSpc>
              <a:spcPct val="150000"/>
            </a:lnSpc>
          </a:pPr>
          <a:r>
            <a:rPr lang="fr-FR" sz="1200" b="1" kern="1200" dirty="0">
              <a:solidFill>
                <a:prstClr val="black">
                  <a:hueOff val="0"/>
                  <a:satOff val="0"/>
                  <a:lumOff val="0"/>
                  <a:alphaOff val="0"/>
                </a:prstClr>
              </a:solidFill>
              <a:latin typeface="Open Sans"/>
              <a:ea typeface="+mn-ea"/>
              <a:cs typeface="+mn-cs"/>
            </a:rPr>
            <a:t>- </a:t>
          </a:r>
          <a:r>
            <a:rPr lang="fr-FR" sz="1200" b="1" kern="1200" dirty="0" err="1">
              <a:solidFill>
                <a:prstClr val="black">
                  <a:hueOff val="0"/>
                  <a:satOff val="0"/>
                  <a:lumOff val="0"/>
                  <a:alphaOff val="0"/>
                </a:prstClr>
              </a:solidFill>
              <a:latin typeface="Open Sans"/>
              <a:ea typeface="+mn-ea"/>
              <a:cs typeface="+mn-cs"/>
            </a:rPr>
            <a:t>Vendor</a:t>
          </a:r>
          <a:r>
            <a:rPr lang="fr-FR" sz="1200" b="1" kern="1200" dirty="0">
              <a:solidFill>
                <a:prstClr val="black">
                  <a:hueOff val="0"/>
                  <a:satOff val="0"/>
                  <a:lumOff val="0"/>
                  <a:alphaOff val="0"/>
                </a:prstClr>
              </a:solidFill>
              <a:latin typeface="Open Sans"/>
              <a:ea typeface="+mn-ea"/>
              <a:cs typeface="+mn-cs"/>
            </a:rPr>
            <a:t> site /BL </a:t>
          </a:r>
        </a:p>
        <a:p>
          <a:pPr algn="l">
            <a:lnSpc>
              <a:spcPct val="150000"/>
            </a:lnSpc>
          </a:pPr>
          <a:r>
            <a:rPr lang="fr-FR" sz="1400" b="1" kern="1200" dirty="0">
              <a:solidFill>
                <a:prstClr val="black">
                  <a:hueOff val="0"/>
                  <a:satOff val="0"/>
                  <a:lumOff val="0"/>
                  <a:alphaOff val="0"/>
                </a:prstClr>
              </a:solidFill>
              <a:latin typeface="Open Sans"/>
              <a:ea typeface="+mn-ea"/>
              <a:cs typeface="+mn-cs"/>
            </a:rPr>
            <a:t>- Gérer au mieux notre panel fournisseurs</a:t>
          </a:r>
        </a:p>
        <a:p>
          <a:pPr algn="l">
            <a:lnSpc>
              <a:spcPct val="150000"/>
            </a:lnSpc>
          </a:pPr>
          <a:endParaRPr lang="fr-FR" sz="1400" b="1" kern="1200" dirty="0">
            <a:solidFill>
              <a:prstClr val="black">
                <a:hueOff val="0"/>
                <a:satOff val="0"/>
                <a:lumOff val="0"/>
                <a:alphaOff val="0"/>
              </a:prstClr>
            </a:solidFill>
            <a:latin typeface="Open Sans"/>
            <a:ea typeface="+mn-ea"/>
            <a:cs typeface="+mn-cs"/>
          </a:endParaRPr>
        </a:p>
      </dgm:t>
    </dgm:pt>
    <dgm:pt modelId="{B84D37CF-7A45-4EA7-A7C5-2FFB8524E2F8}" type="parTrans" cxnId="{76BF0DC6-C341-4890-A53F-8C673F8208A8}">
      <dgm:prSet/>
      <dgm:spPr/>
      <dgm:t>
        <a:bodyPr/>
        <a:lstStyle/>
        <a:p>
          <a:endParaRPr lang="fr-FR"/>
        </a:p>
      </dgm:t>
    </dgm:pt>
    <dgm:pt modelId="{1E1B8F02-6E5E-46B7-8E94-0102204BD562}" type="sibTrans" cxnId="{76BF0DC6-C341-4890-A53F-8C673F8208A8}">
      <dgm:prSet/>
      <dgm:spPr/>
      <dgm:t>
        <a:bodyPr/>
        <a:lstStyle/>
        <a:p>
          <a:endParaRPr lang="fr-FR"/>
        </a:p>
      </dgm:t>
    </dgm:pt>
    <dgm:pt modelId="{B902BFF2-CBDF-4A82-9246-E694FB81752C}">
      <dgm:prSet phldrT="[Texte]" custT="1"/>
      <dgm:spPr/>
      <dgm:t>
        <a:bodyPr/>
        <a:lstStyle/>
        <a:p>
          <a:pPr marL="0" lvl="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Travail en équipe </a:t>
          </a:r>
        </a:p>
        <a:p>
          <a:pPr marL="0" lvl="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Esprit de professionnalisme </a:t>
          </a:r>
        </a:p>
        <a:p>
          <a:pPr marL="0" lvl="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Amélioration </a:t>
          </a:r>
        </a:p>
      </dgm:t>
    </dgm:pt>
    <dgm:pt modelId="{9B1334C2-447C-42C0-91AF-4B03B263D1EA}" type="parTrans" cxnId="{55116A7B-2A61-4A64-8F01-A426F449F0A2}">
      <dgm:prSet/>
      <dgm:spPr/>
      <dgm:t>
        <a:bodyPr/>
        <a:lstStyle/>
        <a:p>
          <a:endParaRPr lang="fr-FR"/>
        </a:p>
      </dgm:t>
    </dgm:pt>
    <dgm:pt modelId="{DAD8BBF1-3EF2-40A8-B78A-3D15D7993F60}" type="sibTrans" cxnId="{55116A7B-2A61-4A64-8F01-A426F449F0A2}">
      <dgm:prSet/>
      <dgm:spPr/>
      <dgm:t>
        <a:bodyPr/>
        <a:lstStyle/>
        <a:p>
          <a:endParaRPr lang="fr-FR"/>
        </a:p>
      </dgm:t>
    </dgm:pt>
    <dgm:pt modelId="{560BD89D-636D-42EF-A0F9-7DF27421EF10}">
      <dgm:prSet phldrT="[Texte]" custT="1"/>
      <dgm:spPr/>
      <dgm:t>
        <a:bodyPr/>
        <a:lstStyle/>
        <a:p>
          <a:pPr algn="l"/>
          <a:r>
            <a:rPr lang="fr-FR" sz="1400" b="1" kern="1200" dirty="0">
              <a:solidFill>
                <a:prstClr val="black">
                  <a:hueOff val="0"/>
                  <a:satOff val="0"/>
                  <a:lumOff val="0"/>
                  <a:alphaOff val="0"/>
                </a:prstClr>
              </a:solidFill>
              <a:latin typeface="Open Sans"/>
              <a:ea typeface="+mn-ea"/>
              <a:cs typeface="+mn-cs"/>
            </a:rPr>
            <a:t>- Respect de la politique Nestlé </a:t>
          </a:r>
        </a:p>
        <a:p>
          <a:pPr algn="l"/>
          <a:r>
            <a:rPr lang="fr-FR" sz="1400" b="1" kern="1200" dirty="0">
              <a:solidFill>
                <a:prstClr val="black">
                  <a:hueOff val="0"/>
                  <a:satOff val="0"/>
                  <a:lumOff val="0"/>
                  <a:alphaOff val="0"/>
                </a:prstClr>
              </a:solidFill>
              <a:latin typeface="Open Sans"/>
              <a:ea typeface="+mn-ea"/>
              <a:cs typeface="+mn-cs"/>
            </a:rPr>
            <a:t>- Adaptation des bonnes pratiques</a:t>
          </a:r>
        </a:p>
        <a:p>
          <a:pPr algn="l"/>
          <a:r>
            <a:rPr lang="fr-FR" sz="1400" b="1" kern="1200" dirty="0">
              <a:solidFill>
                <a:prstClr val="black">
                  <a:hueOff val="0"/>
                  <a:satOff val="0"/>
                  <a:lumOff val="0"/>
                  <a:alphaOff val="0"/>
                </a:prstClr>
              </a:solidFill>
              <a:latin typeface="Open Sans"/>
              <a:ea typeface="+mn-ea"/>
              <a:cs typeface="+mn-cs"/>
            </a:rPr>
            <a:t>-  Amélioration de la satisfaction du client interne</a:t>
          </a:r>
        </a:p>
        <a:p>
          <a:pPr algn="l"/>
          <a:r>
            <a:rPr lang="fr-FR" sz="1400" b="1" kern="1200" dirty="0">
              <a:solidFill>
                <a:prstClr val="black">
                  <a:hueOff val="0"/>
                  <a:satOff val="0"/>
                  <a:lumOff val="0"/>
                  <a:alphaOff val="0"/>
                </a:prstClr>
              </a:solidFill>
              <a:latin typeface="Open Sans"/>
              <a:ea typeface="+mn-ea"/>
              <a:cs typeface="+mn-cs"/>
            </a:rPr>
            <a:t> </a:t>
          </a:r>
        </a:p>
      </dgm:t>
    </dgm:pt>
    <dgm:pt modelId="{B4A886FB-153C-4C4F-9628-2B705F73A977}" type="parTrans" cxnId="{F6AA1D22-2088-4128-8405-D58D18DAE751}">
      <dgm:prSet/>
      <dgm:spPr/>
      <dgm:t>
        <a:bodyPr/>
        <a:lstStyle/>
        <a:p>
          <a:endParaRPr lang="fr-FR"/>
        </a:p>
      </dgm:t>
    </dgm:pt>
    <dgm:pt modelId="{1DE4CF5C-4DFC-4D72-8ABE-CDA3E276D29D}" type="sibTrans" cxnId="{F6AA1D22-2088-4128-8405-D58D18DAE751}">
      <dgm:prSet/>
      <dgm:spPr/>
      <dgm:t>
        <a:bodyPr/>
        <a:lstStyle/>
        <a:p>
          <a:endParaRPr lang="fr-FR"/>
        </a:p>
      </dgm:t>
    </dgm:pt>
    <dgm:pt modelId="{DC63875A-193D-4799-9ECA-385992C7DA8F}" type="pres">
      <dgm:prSet presAssocID="{24438A0C-BADA-414B-8C0E-1CE6EEB7139E}" presName="rootnode" presStyleCnt="0">
        <dgm:presLayoutVars>
          <dgm:chMax/>
          <dgm:chPref/>
          <dgm:dir/>
          <dgm:animLvl val="lvl"/>
        </dgm:presLayoutVars>
      </dgm:prSet>
      <dgm:spPr/>
    </dgm:pt>
    <dgm:pt modelId="{EC8EBC43-7203-4505-BA34-B6C0AADDEEAA}" type="pres">
      <dgm:prSet presAssocID="{D328085B-6785-4BFE-BF25-F5538C580190}" presName="composite" presStyleCnt="0"/>
      <dgm:spPr/>
    </dgm:pt>
    <dgm:pt modelId="{21B311C3-70C6-4792-B70A-601B5F22FCE0}" type="pres">
      <dgm:prSet presAssocID="{D328085B-6785-4BFE-BF25-F5538C580190}" presName="LShape" presStyleLbl="alignNode1" presStyleIdx="0" presStyleCnt="5"/>
      <dgm:spPr/>
    </dgm:pt>
    <dgm:pt modelId="{943D97BD-79C4-4734-9A3B-FA80DAD5B869}" type="pres">
      <dgm:prSet presAssocID="{D328085B-6785-4BFE-BF25-F5538C580190}" presName="ParentText" presStyleLbl="revTx" presStyleIdx="0" presStyleCnt="3" custScaleX="97242" custScaleY="98745">
        <dgm:presLayoutVars>
          <dgm:chMax val="0"/>
          <dgm:chPref val="0"/>
          <dgm:bulletEnabled val="1"/>
        </dgm:presLayoutVars>
      </dgm:prSet>
      <dgm:spPr/>
    </dgm:pt>
    <dgm:pt modelId="{20D36B8C-4BBA-40C7-A1AC-51081465B03A}" type="pres">
      <dgm:prSet presAssocID="{D328085B-6785-4BFE-BF25-F5538C580190}" presName="Triangle" presStyleLbl="alignNode1" presStyleIdx="1" presStyleCnt="5"/>
      <dgm:spPr/>
    </dgm:pt>
    <dgm:pt modelId="{B48AC058-36B5-4633-A4CF-08C420DA2D27}" type="pres">
      <dgm:prSet presAssocID="{1E1B8F02-6E5E-46B7-8E94-0102204BD562}" presName="sibTrans" presStyleCnt="0"/>
      <dgm:spPr/>
    </dgm:pt>
    <dgm:pt modelId="{F168A144-87BA-48D8-BA05-BF57276C6C34}" type="pres">
      <dgm:prSet presAssocID="{1E1B8F02-6E5E-46B7-8E94-0102204BD562}" presName="space" presStyleCnt="0"/>
      <dgm:spPr/>
    </dgm:pt>
    <dgm:pt modelId="{749DCC69-0363-46DD-A760-1B295A1B4BEB}" type="pres">
      <dgm:prSet presAssocID="{560BD89D-636D-42EF-A0F9-7DF27421EF10}" presName="composite" presStyleCnt="0"/>
      <dgm:spPr/>
    </dgm:pt>
    <dgm:pt modelId="{594DBD82-055C-4DAD-BEF9-9F44671B8969}" type="pres">
      <dgm:prSet presAssocID="{560BD89D-636D-42EF-A0F9-7DF27421EF10}" presName="LShape" presStyleLbl="alignNode1" presStyleIdx="2" presStyleCnt="5"/>
      <dgm:spPr/>
    </dgm:pt>
    <dgm:pt modelId="{62FFEA91-D2A0-4538-9B45-EE7325FB669F}" type="pres">
      <dgm:prSet presAssocID="{560BD89D-636D-42EF-A0F9-7DF27421EF10}" presName="ParentText" presStyleLbl="revTx" presStyleIdx="1" presStyleCnt="3" custScaleY="84979" custLinFactNeighborX="6462" custLinFactNeighborY="1440">
        <dgm:presLayoutVars>
          <dgm:chMax val="0"/>
          <dgm:chPref val="0"/>
          <dgm:bulletEnabled val="1"/>
        </dgm:presLayoutVars>
      </dgm:prSet>
      <dgm:spPr/>
    </dgm:pt>
    <dgm:pt modelId="{B4A91A21-B1F6-4264-8B22-EFB6D584292F}" type="pres">
      <dgm:prSet presAssocID="{560BD89D-636D-42EF-A0F9-7DF27421EF10}" presName="Triangle" presStyleLbl="alignNode1" presStyleIdx="3" presStyleCnt="5"/>
      <dgm:spPr/>
    </dgm:pt>
    <dgm:pt modelId="{E114EC32-CE47-46A7-B1AD-628202CE55F9}" type="pres">
      <dgm:prSet presAssocID="{1DE4CF5C-4DFC-4D72-8ABE-CDA3E276D29D}" presName="sibTrans" presStyleCnt="0"/>
      <dgm:spPr/>
    </dgm:pt>
    <dgm:pt modelId="{5E569F35-BF53-4A82-B071-CC6393525D97}" type="pres">
      <dgm:prSet presAssocID="{1DE4CF5C-4DFC-4D72-8ABE-CDA3E276D29D}" presName="space" presStyleCnt="0"/>
      <dgm:spPr/>
    </dgm:pt>
    <dgm:pt modelId="{3A0DD1A8-9B45-4275-A553-E64209F58AB2}" type="pres">
      <dgm:prSet presAssocID="{B902BFF2-CBDF-4A82-9246-E694FB81752C}" presName="composite" presStyleCnt="0"/>
      <dgm:spPr/>
    </dgm:pt>
    <dgm:pt modelId="{2DC1E081-6CB5-4151-9E63-A3E436FEFFED}" type="pres">
      <dgm:prSet presAssocID="{B902BFF2-CBDF-4A82-9246-E694FB81752C}" presName="LShape" presStyleLbl="alignNode1" presStyleIdx="4" presStyleCnt="5"/>
      <dgm:spPr/>
    </dgm:pt>
    <dgm:pt modelId="{9D44EFA4-575F-4345-B1CC-8BEE3CEC7A2C}" type="pres">
      <dgm:prSet presAssocID="{B902BFF2-CBDF-4A82-9246-E694FB81752C}" presName="ParentText" presStyleLbl="revTx" presStyleIdx="2" presStyleCnt="3">
        <dgm:presLayoutVars>
          <dgm:chMax val="0"/>
          <dgm:chPref val="0"/>
          <dgm:bulletEnabled val="1"/>
        </dgm:presLayoutVars>
      </dgm:prSet>
      <dgm:spPr/>
    </dgm:pt>
  </dgm:ptLst>
  <dgm:cxnLst>
    <dgm:cxn modelId="{F6AA1D22-2088-4128-8405-D58D18DAE751}" srcId="{24438A0C-BADA-414B-8C0E-1CE6EEB7139E}" destId="{560BD89D-636D-42EF-A0F9-7DF27421EF10}" srcOrd="1" destOrd="0" parTransId="{B4A886FB-153C-4C4F-9628-2B705F73A977}" sibTransId="{1DE4CF5C-4DFC-4D72-8ABE-CDA3E276D29D}"/>
    <dgm:cxn modelId="{CCA22634-9E31-42D5-8AAE-F2DD83653E4D}" type="presOf" srcId="{D328085B-6785-4BFE-BF25-F5538C580190}" destId="{943D97BD-79C4-4734-9A3B-FA80DAD5B869}" srcOrd="0" destOrd="0" presId="urn:microsoft.com/office/officeart/2009/3/layout/StepUpProcess"/>
    <dgm:cxn modelId="{55116A7B-2A61-4A64-8F01-A426F449F0A2}" srcId="{24438A0C-BADA-414B-8C0E-1CE6EEB7139E}" destId="{B902BFF2-CBDF-4A82-9246-E694FB81752C}" srcOrd="2" destOrd="0" parTransId="{9B1334C2-447C-42C0-91AF-4B03B263D1EA}" sibTransId="{DAD8BBF1-3EF2-40A8-B78A-3D15D7993F60}"/>
    <dgm:cxn modelId="{6E94277D-0040-40E3-A286-A5733FABB96B}" type="presOf" srcId="{B902BFF2-CBDF-4A82-9246-E694FB81752C}" destId="{9D44EFA4-575F-4345-B1CC-8BEE3CEC7A2C}" srcOrd="0" destOrd="0" presId="urn:microsoft.com/office/officeart/2009/3/layout/StepUpProcess"/>
    <dgm:cxn modelId="{0A91FDB5-4FDB-4480-8074-8E50763BB8F6}" type="presOf" srcId="{24438A0C-BADA-414B-8C0E-1CE6EEB7139E}" destId="{DC63875A-193D-4799-9ECA-385992C7DA8F}" srcOrd="0" destOrd="0" presId="urn:microsoft.com/office/officeart/2009/3/layout/StepUpProcess"/>
    <dgm:cxn modelId="{76BF0DC6-C341-4890-A53F-8C673F8208A8}" srcId="{24438A0C-BADA-414B-8C0E-1CE6EEB7139E}" destId="{D328085B-6785-4BFE-BF25-F5538C580190}" srcOrd="0" destOrd="0" parTransId="{B84D37CF-7A45-4EA7-A7C5-2FFB8524E2F8}" sibTransId="{1E1B8F02-6E5E-46B7-8E94-0102204BD562}"/>
    <dgm:cxn modelId="{088A82DC-A412-44CE-BD62-A2EF9CFA5A09}" type="presOf" srcId="{560BD89D-636D-42EF-A0F9-7DF27421EF10}" destId="{62FFEA91-D2A0-4538-9B45-EE7325FB669F}" srcOrd="0" destOrd="0" presId="urn:microsoft.com/office/officeart/2009/3/layout/StepUpProcess"/>
    <dgm:cxn modelId="{74E0AFDA-6A37-49DF-B89E-8A1D7ECBB886}" type="presParOf" srcId="{DC63875A-193D-4799-9ECA-385992C7DA8F}" destId="{EC8EBC43-7203-4505-BA34-B6C0AADDEEAA}" srcOrd="0" destOrd="0" presId="urn:microsoft.com/office/officeart/2009/3/layout/StepUpProcess"/>
    <dgm:cxn modelId="{50E13E9E-F670-4D1F-ABA2-863C0E32E31B}" type="presParOf" srcId="{EC8EBC43-7203-4505-BA34-B6C0AADDEEAA}" destId="{21B311C3-70C6-4792-B70A-601B5F22FCE0}" srcOrd="0" destOrd="0" presId="urn:microsoft.com/office/officeart/2009/3/layout/StepUpProcess"/>
    <dgm:cxn modelId="{B8AB099B-90B3-4A6A-9C56-C339D7AAEE7C}" type="presParOf" srcId="{EC8EBC43-7203-4505-BA34-B6C0AADDEEAA}" destId="{943D97BD-79C4-4734-9A3B-FA80DAD5B869}" srcOrd="1" destOrd="0" presId="urn:microsoft.com/office/officeart/2009/3/layout/StepUpProcess"/>
    <dgm:cxn modelId="{21E608D4-9C4A-4C2B-86B2-5925B87EF6F0}" type="presParOf" srcId="{EC8EBC43-7203-4505-BA34-B6C0AADDEEAA}" destId="{20D36B8C-4BBA-40C7-A1AC-51081465B03A}" srcOrd="2" destOrd="0" presId="urn:microsoft.com/office/officeart/2009/3/layout/StepUpProcess"/>
    <dgm:cxn modelId="{E39C244B-A075-4F01-8157-8214EECB635D}" type="presParOf" srcId="{DC63875A-193D-4799-9ECA-385992C7DA8F}" destId="{B48AC058-36B5-4633-A4CF-08C420DA2D27}" srcOrd="1" destOrd="0" presId="urn:microsoft.com/office/officeart/2009/3/layout/StepUpProcess"/>
    <dgm:cxn modelId="{DFA4817E-F952-47DE-8477-40C649C0B2C2}" type="presParOf" srcId="{B48AC058-36B5-4633-A4CF-08C420DA2D27}" destId="{F168A144-87BA-48D8-BA05-BF57276C6C34}" srcOrd="0" destOrd="0" presId="urn:microsoft.com/office/officeart/2009/3/layout/StepUpProcess"/>
    <dgm:cxn modelId="{A33CBA28-E937-427B-BDAD-1A6E5E5BFFBD}" type="presParOf" srcId="{DC63875A-193D-4799-9ECA-385992C7DA8F}" destId="{749DCC69-0363-46DD-A760-1B295A1B4BEB}" srcOrd="2" destOrd="0" presId="urn:microsoft.com/office/officeart/2009/3/layout/StepUpProcess"/>
    <dgm:cxn modelId="{3CDDBACC-7EA9-4E15-89B9-FFAFAA90DE07}" type="presParOf" srcId="{749DCC69-0363-46DD-A760-1B295A1B4BEB}" destId="{594DBD82-055C-4DAD-BEF9-9F44671B8969}" srcOrd="0" destOrd="0" presId="urn:microsoft.com/office/officeart/2009/3/layout/StepUpProcess"/>
    <dgm:cxn modelId="{6B984213-6286-4E95-BC23-2DF516266E7C}" type="presParOf" srcId="{749DCC69-0363-46DD-A760-1B295A1B4BEB}" destId="{62FFEA91-D2A0-4538-9B45-EE7325FB669F}" srcOrd="1" destOrd="0" presId="urn:microsoft.com/office/officeart/2009/3/layout/StepUpProcess"/>
    <dgm:cxn modelId="{3AA06ED3-79D0-444F-B002-5C5CB64A671C}" type="presParOf" srcId="{749DCC69-0363-46DD-A760-1B295A1B4BEB}" destId="{B4A91A21-B1F6-4264-8B22-EFB6D584292F}" srcOrd="2" destOrd="0" presId="urn:microsoft.com/office/officeart/2009/3/layout/StepUpProcess"/>
    <dgm:cxn modelId="{C92F7089-2570-46F5-A60E-FB35F9131841}" type="presParOf" srcId="{DC63875A-193D-4799-9ECA-385992C7DA8F}" destId="{E114EC32-CE47-46A7-B1AD-628202CE55F9}" srcOrd="3" destOrd="0" presId="urn:microsoft.com/office/officeart/2009/3/layout/StepUpProcess"/>
    <dgm:cxn modelId="{FD26D541-4868-46F4-B5BD-A5CC1A8F4B75}" type="presParOf" srcId="{E114EC32-CE47-46A7-B1AD-628202CE55F9}" destId="{5E569F35-BF53-4A82-B071-CC6393525D97}" srcOrd="0" destOrd="0" presId="urn:microsoft.com/office/officeart/2009/3/layout/StepUpProcess"/>
    <dgm:cxn modelId="{622DA428-7417-404C-AEA9-7B5F3D19E786}" type="presParOf" srcId="{DC63875A-193D-4799-9ECA-385992C7DA8F}" destId="{3A0DD1A8-9B45-4275-A553-E64209F58AB2}" srcOrd="4" destOrd="0" presId="urn:microsoft.com/office/officeart/2009/3/layout/StepUpProcess"/>
    <dgm:cxn modelId="{FE032CAB-BBBF-41EF-AC25-5CA9336CA742}" type="presParOf" srcId="{3A0DD1A8-9B45-4275-A553-E64209F58AB2}" destId="{2DC1E081-6CB5-4151-9E63-A3E436FEFFED}" srcOrd="0" destOrd="0" presId="urn:microsoft.com/office/officeart/2009/3/layout/StepUpProcess"/>
    <dgm:cxn modelId="{5483C69C-6E17-4A8C-AA46-D3C3782FF8DD}" type="presParOf" srcId="{3A0DD1A8-9B45-4275-A553-E64209F58AB2}" destId="{9D44EFA4-575F-4345-B1CC-8BEE3CEC7A2C}"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C09F1703-AE3A-42DE-9612-B3C0F5344310}" type="presOf" srcId="{864DE107-B989-48AF-AB66-C74CF83D30CD}" destId="{599C6788-14AC-4886-BE98-CFABBA2B6CBC}"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528F773B-E840-416D-B002-E6AD1113995B}" type="presOf" srcId="{BFAE7B18-CC4C-4882-92CD-CB1C42AA85E2}" destId="{1B57603F-6D14-4EC3-B4E3-8B8E29F0AF82}" srcOrd="0" destOrd="0" presId="urn:microsoft.com/office/officeart/2005/8/layout/process1"/>
    <dgm:cxn modelId="{0CB7BD45-336A-4A34-A526-1EF0A9F219D6}" type="presOf" srcId="{FF69A2E3-845E-46C4-A44D-095FCDBB9884}" destId="{83AD4C98-81CD-4554-959F-68EE175480AA}" srcOrd="0" destOrd="0" presId="urn:microsoft.com/office/officeart/2005/8/layout/process1"/>
    <dgm:cxn modelId="{73E6DA67-D156-4AFE-BA92-DDC8936CD5EA}" type="presOf" srcId="{2B811016-D430-4B4D-A4B9-C427EBB8C39C}" destId="{9632C60F-56BA-4ECD-9874-3EA13072391A}" srcOrd="1" destOrd="0" presId="urn:microsoft.com/office/officeart/2005/8/layout/process1"/>
    <dgm:cxn modelId="{112EC748-AABE-4B59-AE45-76534283F2AD}" type="presOf" srcId="{43157ED2-F950-497C-9847-E7E7C258E927}" destId="{B0DBBBA9-28F6-41E3-9EAE-867A084ADCC9}" srcOrd="1" destOrd="0" presId="urn:microsoft.com/office/officeart/2005/8/layout/process1"/>
    <dgm:cxn modelId="{5A976A4C-C5CB-4229-96B0-A8FBADF30183}" type="presOf" srcId="{43157ED2-F950-497C-9847-E7E7C258E927}" destId="{EBA8B8BB-8B80-463D-B5C0-9886029E31EB}" srcOrd="0" destOrd="0" presId="urn:microsoft.com/office/officeart/2005/8/layout/process1"/>
    <dgm:cxn modelId="{AEBB0F6F-E2CD-4B77-BAB1-CFECDA29C678}" type="presOf" srcId="{8512C525-B3B9-4BFC-8B81-ABE692BCA9B8}" destId="{DCDE361F-6528-4B2D-AA1C-75A98D9CF19B}" srcOrd="0" destOrd="0" presId="urn:microsoft.com/office/officeart/2005/8/layout/process1"/>
    <dgm:cxn modelId="{319B2D71-5F23-4A78-A867-1F362658864C}" type="presOf" srcId="{BFAE7B18-CC4C-4882-92CD-CB1C42AA85E2}" destId="{B75A6145-30F1-4A02-8241-CAFBD7613773}" srcOrd="1"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9808228E-1EF3-4600-992F-7853DD276620}" srcId="{8512C525-B3B9-4BFC-8B81-ABE692BCA9B8}" destId="{FCB8ADF2-9891-4EC4-9F8D-3C62A4E3570B}" srcOrd="0" destOrd="0" parTransId="{47D00E17-D93D-4617-80D8-C4806D076A65}" sibTransId="{BFAE7B18-CC4C-4882-92CD-CB1C42AA85E2}"/>
    <dgm:cxn modelId="{E60271BE-1080-465C-8361-4C40D0F56228}" type="presOf" srcId="{2B811016-D430-4B4D-A4B9-C427EBB8C39C}" destId="{CD543A52-B769-4817-BCDB-9E04D3B82E2C}" srcOrd="0" destOrd="0" presId="urn:microsoft.com/office/officeart/2005/8/layout/process1"/>
    <dgm:cxn modelId="{695C78D5-94B2-41FD-ABE3-D3AE83A20B5F}" type="presOf" srcId="{307DC733-853C-4BE3-A615-177512EFCA37}" destId="{5D437852-1E36-4551-AE22-3D21BF486FA9}" srcOrd="0" destOrd="0" presId="urn:microsoft.com/office/officeart/2005/8/layout/process1"/>
    <dgm:cxn modelId="{CA8151DF-70F8-4E53-AF80-69FA1CD95A8D}" type="presOf" srcId="{FCB8ADF2-9891-4EC4-9F8D-3C62A4E3570B}" destId="{D0F3583B-5D16-45E2-90F3-D5928E8BAEE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624323BE-91A4-4F8B-9551-F7A6082162AD}" type="presParOf" srcId="{DCDE361F-6528-4B2D-AA1C-75A98D9CF19B}" destId="{D0F3583B-5D16-45E2-90F3-D5928E8BAEEB}" srcOrd="0" destOrd="0" presId="urn:microsoft.com/office/officeart/2005/8/layout/process1"/>
    <dgm:cxn modelId="{2CAD7F01-6771-4CE7-A98A-41E79B31ACAF}" type="presParOf" srcId="{DCDE361F-6528-4B2D-AA1C-75A98D9CF19B}" destId="{1B57603F-6D14-4EC3-B4E3-8B8E29F0AF82}" srcOrd="1" destOrd="0" presId="urn:microsoft.com/office/officeart/2005/8/layout/process1"/>
    <dgm:cxn modelId="{48192E56-FD1C-4A89-834D-A7DDC815A34D}" type="presParOf" srcId="{1B57603F-6D14-4EC3-B4E3-8B8E29F0AF82}" destId="{B75A6145-30F1-4A02-8241-CAFBD7613773}" srcOrd="0" destOrd="0" presId="urn:microsoft.com/office/officeart/2005/8/layout/process1"/>
    <dgm:cxn modelId="{67209140-7559-4188-A69D-33549718EA15}" type="presParOf" srcId="{DCDE361F-6528-4B2D-AA1C-75A98D9CF19B}" destId="{5D437852-1E36-4551-AE22-3D21BF486FA9}" srcOrd="2" destOrd="0" presId="urn:microsoft.com/office/officeart/2005/8/layout/process1"/>
    <dgm:cxn modelId="{879D969C-755E-40B8-84BE-68215CD0ED7C}" type="presParOf" srcId="{DCDE361F-6528-4B2D-AA1C-75A98D9CF19B}" destId="{CD543A52-B769-4817-BCDB-9E04D3B82E2C}" srcOrd="3" destOrd="0" presId="urn:microsoft.com/office/officeart/2005/8/layout/process1"/>
    <dgm:cxn modelId="{3109CF14-FE6F-4915-93E2-DADFDA662B60}" type="presParOf" srcId="{CD543A52-B769-4817-BCDB-9E04D3B82E2C}" destId="{9632C60F-56BA-4ECD-9874-3EA13072391A}" srcOrd="0" destOrd="0" presId="urn:microsoft.com/office/officeart/2005/8/layout/process1"/>
    <dgm:cxn modelId="{9B7B20AE-A126-4BF6-A824-F622065799B0}" type="presParOf" srcId="{DCDE361F-6528-4B2D-AA1C-75A98D9CF19B}" destId="{599C6788-14AC-4886-BE98-CFABBA2B6CBC}" srcOrd="4" destOrd="0" presId="urn:microsoft.com/office/officeart/2005/8/layout/process1"/>
    <dgm:cxn modelId="{6138F97D-1671-4B98-9E18-D653BC879D75}" type="presParOf" srcId="{DCDE361F-6528-4B2D-AA1C-75A98D9CF19B}" destId="{EBA8B8BB-8B80-463D-B5C0-9886029E31EB}" srcOrd="5" destOrd="0" presId="urn:microsoft.com/office/officeart/2005/8/layout/process1"/>
    <dgm:cxn modelId="{2C086BF1-1D19-4F32-A49B-BBF30DE24287}" type="presParOf" srcId="{EBA8B8BB-8B80-463D-B5C0-9886029E31EB}" destId="{B0DBBBA9-28F6-41E3-9EAE-867A084ADCC9}" srcOrd="0" destOrd="0" presId="urn:microsoft.com/office/officeart/2005/8/layout/process1"/>
    <dgm:cxn modelId="{E52DC471-92B9-4D07-970E-6898504FCC05}"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21EA750C-2F4A-499D-8191-E92F7AC4F2CF}" type="presOf" srcId="{BFAE7B18-CC4C-4882-92CD-CB1C42AA85E2}" destId="{1B57603F-6D14-4EC3-B4E3-8B8E29F0AF82}" srcOrd="0" destOrd="0" presId="urn:microsoft.com/office/officeart/2005/8/layout/process1"/>
    <dgm:cxn modelId="{8E8F840F-4D2A-4ACC-9AEF-562901FEC0B7}" type="presOf" srcId="{FF69A2E3-845E-46C4-A44D-095FCDBB9884}" destId="{83AD4C98-81CD-4554-959F-68EE175480AA}"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E9A4EA1A-9A59-46B9-AFCE-F5A723E6038F}" type="presOf" srcId="{8512C525-B3B9-4BFC-8B81-ABE692BCA9B8}" destId="{DCDE361F-6528-4B2D-AA1C-75A98D9CF19B}" srcOrd="0" destOrd="0" presId="urn:microsoft.com/office/officeart/2005/8/layout/process1"/>
    <dgm:cxn modelId="{796E8F4A-5DC4-46A7-83A1-4021CFE75789}" type="presOf" srcId="{2B811016-D430-4B4D-A4B9-C427EBB8C39C}" destId="{CD543A52-B769-4817-BCDB-9E04D3B82E2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FEC5DB8D-F3D9-4CFF-8229-1DDD191F397C}" type="presOf" srcId="{43157ED2-F950-497C-9847-E7E7C258E927}" destId="{EBA8B8BB-8B80-463D-B5C0-9886029E31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530DE09A-8BC1-4A89-ADF5-3BC9851199B6}" type="presOf" srcId="{FCB8ADF2-9891-4EC4-9F8D-3C62A4E3570B}" destId="{D0F3583B-5D16-45E2-90F3-D5928E8BAEEB}" srcOrd="0" destOrd="0" presId="urn:microsoft.com/office/officeart/2005/8/layout/process1"/>
    <dgm:cxn modelId="{D0EEFE9E-1DF3-4B5D-B34C-E38766756A49}" type="presOf" srcId="{2B811016-D430-4B4D-A4B9-C427EBB8C39C}" destId="{9632C60F-56BA-4ECD-9874-3EA13072391A}" srcOrd="1" destOrd="0" presId="urn:microsoft.com/office/officeart/2005/8/layout/process1"/>
    <dgm:cxn modelId="{5C94BDAA-9807-473B-9647-5ECBD5A159F4}" type="presOf" srcId="{43157ED2-F950-497C-9847-E7E7C258E927}" destId="{B0DBBBA9-28F6-41E3-9EAE-867A084ADCC9}" srcOrd="1" destOrd="0" presId="urn:microsoft.com/office/officeart/2005/8/layout/process1"/>
    <dgm:cxn modelId="{491989C9-271D-4FC0-B646-858133ABB2D1}" type="presOf" srcId="{BFAE7B18-CC4C-4882-92CD-CB1C42AA85E2}" destId="{B75A6145-30F1-4A02-8241-CAFBD7613773}" srcOrd="1" destOrd="0" presId="urn:microsoft.com/office/officeart/2005/8/layout/process1"/>
    <dgm:cxn modelId="{627FA7D7-EB0A-49AE-B82B-29E4BEE89AED}" type="presOf" srcId="{307DC733-853C-4BE3-A615-177512EFCA37}" destId="{5D437852-1E36-4551-AE22-3D21BF486FA9}"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BED3A8E3-4225-42DA-8F90-C1F8170FBEC0}" type="presOf" srcId="{864DE107-B989-48AF-AB66-C74CF83D30CD}" destId="{599C6788-14AC-4886-BE98-CFABBA2B6CBC}" srcOrd="0" destOrd="0" presId="urn:microsoft.com/office/officeart/2005/8/layout/process1"/>
    <dgm:cxn modelId="{685ACAEA-2633-48D6-B6F5-4FDAB6188324}" type="presParOf" srcId="{DCDE361F-6528-4B2D-AA1C-75A98D9CF19B}" destId="{D0F3583B-5D16-45E2-90F3-D5928E8BAEEB}" srcOrd="0" destOrd="0" presId="urn:microsoft.com/office/officeart/2005/8/layout/process1"/>
    <dgm:cxn modelId="{B35B1AE7-5447-470E-87FF-53E6FF195991}" type="presParOf" srcId="{DCDE361F-6528-4B2D-AA1C-75A98D9CF19B}" destId="{1B57603F-6D14-4EC3-B4E3-8B8E29F0AF82}" srcOrd="1" destOrd="0" presId="urn:microsoft.com/office/officeart/2005/8/layout/process1"/>
    <dgm:cxn modelId="{79C778CD-399D-405B-9377-E62755DC08B0}" type="presParOf" srcId="{1B57603F-6D14-4EC3-B4E3-8B8E29F0AF82}" destId="{B75A6145-30F1-4A02-8241-CAFBD7613773}" srcOrd="0" destOrd="0" presId="urn:microsoft.com/office/officeart/2005/8/layout/process1"/>
    <dgm:cxn modelId="{5491EC53-F89D-407D-8009-6A6AA28FCF11}" type="presParOf" srcId="{DCDE361F-6528-4B2D-AA1C-75A98D9CF19B}" destId="{5D437852-1E36-4551-AE22-3D21BF486FA9}" srcOrd="2" destOrd="0" presId="urn:microsoft.com/office/officeart/2005/8/layout/process1"/>
    <dgm:cxn modelId="{6106C266-D424-432D-A76C-B680C72DF3FA}" type="presParOf" srcId="{DCDE361F-6528-4B2D-AA1C-75A98D9CF19B}" destId="{CD543A52-B769-4817-BCDB-9E04D3B82E2C}" srcOrd="3" destOrd="0" presId="urn:microsoft.com/office/officeart/2005/8/layout/process1"/>
    <dgm:cxn modelId="{97933DD8-4D85-41D2-9C2B-9667B627A978}" type="presParOf" srcId="{CD543A52-B769-4817-BCDB-9E04D3B82E2C}" destId="{9632C60F-56BA-4ECD-9874-3EA13072391A}" srcOrd="0" destOrd="0" presId="urn:microsoft.com/office/officeart/2005/8/layout/process1"/>
    <dgm:cxn modelId="{E09D6135-38EC-4571-BF80-43C0EE260AE7}" type="presParOf" srcId="{DCDE361F-6528-4B2D-AA1C-75A98D9CF19B}" destId="{599C6788-14AC-4886-BE98-CFABBA2B6CBC}" srcOrd="4" destOrd="0" presId="urn:microsoft.com/office/officeart/2005/8/layout/process1"/>
    <dgm:cxn modelId="{4060B807-79CB-4925-AFC3-BC7D55D9425A}" type="presParOf" srcId="{DCDE361F-6528-4B2D-AA1C-75A98D9CF19B}" destId="{EBA8B8BB-8B80-463D-B5C0-9886029E31EB}" srcOrd="5" destOrd="0" presId="urn:microsoft.com/office/officeart/2005/8/layout/process1"/>
    <dgm:cxn modelId="{058D10E1-8DD4-4534-95AD-78D36F95E1EC}" type="presParOf" srcId="{EBA8B8BB-8B80-463D-B5C0-9886029E31EB}" destId="{B0DBBBA9-28F6-41E3-9EAE-867A084ADCC9}" srcOrd="0" destOrd="0" presId="urn:microsoft.com/office/officeart/2005/8/layout/process1"/>
    <dgm:cxn modelId="{9323EC5B-2DA3-4DFE-8E96-4E836CD1639A}"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40.xml><?xml version="1.0" encoding="utf-8"?>
<dgm:dataModel xmlns:dgm="http://schemas.openxmlformats.org/drawingml/2006/diagram" xmlns:a="http://schemas.openxmlformats.org/drawingml/2006/main">
  <dgm:ptLst>
    <dgm:pt modelId="{3EC96DC3-345E-408B-B7E0-117F8C1DC01B}" type="doc">
      <dgm:prSet loTypeId="urn:microsoft.com/office/officeart/2008/layout/TitledPictureBlocks" loCatId="picture" qsTypeId="urn:microsoft.com/office/officeart/2005/8/quickstyle/simple1" qsCatId="simple" csTypeId="urn:microsoft.com/office/officeart/2005/8/colors/accent1_2" csCatId="accent1" phldr="1"/>
      <dgm:spPr/>
      <dgm:t>
        <a:bodyPr/>
        <a:lstStyle/>
        <a:p>
          <a:endParaRPr lang="fr-FR"/>
        </a:p>
      </dgm:t>
    </dgm:pt>
    <dgm:pt modelId="{BA4E16AE-21B3-4FF4-AE31-F8EF6EE34854}">
      <dgm:prSet phldrT="[Texte]" custT="1"/>
      <dgm:spPr/>
      <dgm:t>
        <a:bodyPr/>
        <a:lstStyle/>
        <a:p>
          <a:r>
            <a:rPr lang="fr-FR" sz="2400" dirty="0"/>
            <a:t>Quantité</a:t>
          </a:r>
        </a:p>
      </dgm:t>
    </dgm:pt>
    <dgm:pt modelId="{E997085D-4147-411B-88CD-B1259CB20E14}" type="parTrans" cxnId="{325D254B-E0C2-4C49-881E-0F257BF49AE1}">
      <dgm:prSet/>
      <dgm:spPr/>
      <dgm:t>
        <a:bodyPr/>
        <a:lstStyle/>
        <a:p>
          <a:endParaRPr lang="fr-FR"/>
        </a:p>
      </dgm:t>
    </dgm:pt>
    <dgm:pt modelId="{1FA02526-4853-4F8C-8482-326594B3211E}" type="sibTrans" cxnId="{325D254B-E0C2-4C49-881E-0F257BF49AE1}">
      <dgm:prSet/>
      <dgm:spPr/>
      <dgm:t>
        <a:bodyPr/>
        <a:lstStyle/>
        <a:p>
          <a:endParaRPr lang="fr-FR"/>
        </a:p>
      </dgm:t>
    </dgm:pt>
    <dgm:pt modelId="{33BB48BF-3152-4171-ABBE-0E144A663465}">
      <dgm:prSet phldrT="[Texte]" custT="1"/>
      <dgm:spPr/>
      <dgm:t>
        <a:bodyPr/>
        <a:lstStyle/>
        <a:p>
          <a:r>
            <a:rPr lang="fr-FR" sz="1200" dirty="0"/>
            <a:t>Taux de conformité </a:t>
          </a:r>
        </a:p>
      </dgm:t>
    </dgm:pt>
    <dgm:pt modelId="{872CA8E8-CDDB-404F-A843-F5E6310184E2}" type="parTrans" cxnId="{33002E0B-7202-4508-88D3-2FCB00997528}">
      <dgm:prSet/>
      <dgm:spPr/>
      <dgm:t>
        <a:bodyPr/>
        <a:lstStyle/>
        <a:p>
          <a:endParaRPr lang="fr-FR"/>
        </a:p>
      </dgm:t>
    </dgm:pt>
    <dgm:pt modelId="{F7619646-EC68-47CE-A302-9EA10E4150B9}" type="sibTrans" cxnId="{33002E0B-7202-4508-88D3-2FCB00997528}">
      <dgm:prSet/>
      <dgm:spPr/>
      <dgm:t>
        <a:bodyPr/>
        <a:lstStyle/>
        <a:p>
          <a:endParaRPr lang="fr-FR"/>
        </a:p>
      </dgm:t>
    </dgm:pt>
    <dgm:pt modelId="{BA981600-6BDF-4142-85CF-6C77564DE200}">
      <dgm:prSet phldrT="[Texte]" custT="1"/>
      <dgm:spPr/>
      <dgm:t>
        <a:bodyPr/>
        <a:lstStyle/>
        <a:p>
          <a:r>
            <a:rPr lang="fr-FR" sz="2400" dirty="0"/>
            <a:t>Qualité</a:t>
          </a:r>
        </a:p>
      </dgm:t>
    </dgm:pt>
    <dgm:pt modelId="{81380629-A071-4ED4-A596-D10D31A91E8D}" type="parTrans" cxnId="{60A85AD1-EAB3-455D-85CF-12577A5DAAB5}">
      <dgm:prSet/>
      <dgm:spPr/>
      <dgm:t>
        <a:bodyPr/>
        <a:lstStyle/>
        <a:p>
          <a:endParaRPr lang="fr-FR"/>
        </a:p>
      </dgm:t>
    </dgm:pt>
    <dgm:pt modelId="{209D5169-C8F7-49A4-B551-0C6F70B88066}" type="sibTrans" cxnId="{60A85AD1-EAB3-455D-85CF-12577A5DAAB5}">
      <dgm:prSet/>
      <dgm:spPr/>
      <dgm:t>
        <a:bodyPr/>
        <a:lstStyle/>
        <a:p>
          <a:endParaRPr lang="fr-FR"/>
        </a:p>
      </dgm:t>
    </dgm:pt>
    <dgm:pt modelId="{15BD67A8-006A-4993-921F-CFF6E5B294DE}">
      <dgm:prSet phldrT="[Texte]" custT="1"/>
      <dgm:spPr/>
      <dgm:t>
        <a:bodyPr/>
        <a:lstStyle/>
        <a:p>
          <a:r>
            <a:rPr lang="fr-FR" sz="1200" dirty="0"/>
            <a:t>Taux de conformité</a:t>
          </a:r>
        </a:p>
      </dgm:t>
    </dgm:pt>
    <dgm:pt modelId="{18997F19-C894-4AAF-AD43-346244423FD3}" type="parTrans" cxnId="{78FA28C3-9046-4550-B532-62DB1F912AEB}">
      <dgm:prSet/>
      <dgm:spPr/>
      <dgm:t>
        <a:bodyPr/>
        <a:lstStyle/>
        <a:p>
          <a:endParaRPr lang="fr-FR"/>
        </a:p>
      </dgm:t>
    </dgm:pt>
    <dgm:pt modelId="{D549FF05-C267-4A04-B23E-F7919450D630}" type="sibTrans" cxnId="{78FA28C3-9046-4550-B532-62DB1F912AEB}">
      <dgm:prSet/>
      <dgm:spPr/>
      <dgm:t>
        <a:bodyPr/>
        <a:lstStyle/>
        <a:p>
          <a:endParaRPr lang="fr-FR"/>
        </a:p>
      </dgm:t>
    </dgm:pt>
    <dgm:pt modelId="{88A277A7-E1C1-456D-A01A-60924A9C19F3}">
      <dgm:prSet phldrT="[Texte]" custT="1"/>
      <dgm:spPr/>
      <dgm:t>
        <a:bodyPr/>
        <a:lstStyle/>
        <a:p>
          <a:r>
            <a:rPr lang="fr-FR" sz="2400" dirty="0"/>
            <a:t>Délai</a:t>
          </a:r>
        </a:p>
      </dgm:t>
    </dgm:pt>
    <dgm:pt modelId="{6F5BBF13-FA90-4341-8CAF-7BC1FCFAE04E}" type="parTrans" cxnId="{F9378D64-9B16-4A9C-BCAD-9DF36768D679}">
      <dgm:prSet/>
      <dgm:spPr/>
      <dgm:t>
        <a:bodyPr/>
        <a:lstStyle/>
        <a:p>
          <a:endParaRPr lang="fr-FR"/>
        </a:p>
      </dgm:t>
    </dgm:pt>
    <dgm:pt modelId="{09596D66-3321-46D7-8824-57260D891DEE}" type="sibTrans" cxnId="{F9378D64-9B16-4A9C-BCAD-9DF36768D679}">
      <dgm:prSet/>
      <dgm:spPr/>
      <dgm:t>
        <a:bodyPr/>
        <a:lstStyle/>
        <a:p>
          <a:endParaRPr lang="fr-FR"/>
        </a:p>
      </dgm:t>
    </dgm:pt>
    <dgm:pt modelId="{12B611F3-4353-43F5-B0BD-E35D724F52D2}">
      <dgm:prSet phldrT="[Texte]" custT="1"/>
      <dgm:spPr/>
      <dgm:t>
        <a:bodyPr/>
        <a:lstStyle/>
        <a:p>
          <a:r>
            <a:rPr lang="fr-FR" sz="1200" dirty="0"/>
            <a:t>Livraison à temps</a:t>
          </a:r>
        </a:p>
      </dgm:t>
    </dgm:pt>
    <dgm:pt modelId="{FB33B970-B070-4478-8CBF-34A050568D93}" type="parTrans" cxnId="{786D1B98-3886-4F9F-B867-C37CDBCB5852}">
      <dgm:prSet/>
      <dgm:spPr/>
      <dgm:t>
        <a:bodyPr/>
        <a:lstStyle/>
        <a:p>
          <a:endParaRPr lang="fr-FR"/>
        </a:p>
      </dgm:t>
    </dgm:pt>
    <dgm:pt modelId="{A4076A25-B5FA-40ED-B605-B2C4820FBF10}" type="sibTrans" cxnId="{786D1B98-3886-4F9F-B867-C37CDBCB5852}">
      <dgm:prSet/>
      <dgm:spPr/>
      <dgm:t>
        <a:bodyPr/>
        <a:lstStyle/>
        <a:p>
          <a:endParaRPr lang="fr-FR"/>
        </a:p>
      </dgm:t>
    </dgm:pt>
    <dgm:pt modelId="{969B1E9B-6A8F-499C-ADC6-5A844886CE2F}">
      <dgm:prSet phldrT="[Texte]" custT="1"/>
      <dgm:spPr/>
      <dgm:t>
        <a:bodyPr/>
        <a:lstStyle/>
        <a:p>
          <a:r>
            <a:rPr lang="fr-FR" sz="2400" dirty="0"/>
            <a:t>Innovation </a:t>
          </a:r>
        </a:p>
      </dgm:t>
    </dgm:pt>
    <dgm:pt modelId="{CA55DCBE-6A74-433D-B86B-69293BD4E149}" type="parTrans" cxnId="{ECB29A4D-0B08-46E6-A065-5CC7C631A29B}">
      <dgm:prSet/>
      <dgm:spPr/>
      <dgm:t>
        <a:bodyPr/>
        <a:lstStyle/>
        <a:p>
          <a:endParaRPr lang="fr-FR"/>
        </a:p>
      </dgm:t>
    </dgm:pt>
    <dgm:pt modelId="{52BE1AC5-0D1B-4C07-994A-B951856F1C60}" type="sibTrans" cxnId="{ECB29A4D-0B08-46E6-A065-5CC7C631A29B}">
      <dgm:prSet/>
      <dgm:spPr/>
      <dgm:t>
        <a:bodyPr/>
        <a:lstStyle/>
        <a:p>
          <a:endParaRPr lang="fr-FR"/>
        </a:p>
      </dgm:t>
    </dgm:pt>
    <dgm:pt modelId="{618CE742-C29B-41B8-A178-3CB913911C59}">
      <dgm:prSet phldrT="[Texte]" custT="1"/>
      <dgm:spPr/>
      <dgm:t>
        <a:bodyPr/>
        <a:lstStyle/>
        <a:p>
          <a:r>
            <a:rPr lang="fr-FR" sz="2400" dirty="0"/>
            <a:t>Management</a:t>
          </a:r>
        </a:p>
      </dgm:t>
    </dgm:pt>
    <dgm:pt modelId="{A4D10236-E7EB-4118-81F0-2FBCE9D976D9}" type="parTrans" cxnId="{F06E0626-80F3-489A-9DFA-3572AAEFD691}">
      <dgm:prSet/>
      <dgm:spPr/>
      <dgm:t>
        <a:bodyPr/>
        <a:lstStyle/>
        <a:p>
          <a:endParaRPr lang="fr-FR"/>
        </a:p>
      </dgm:t>
    </dgm:pt>
    <dgm:pt modelId="{0BC5B62F-CDB3-4C1E-9F30-4F0C1165D7FC}" type="sibTrans" cxnId="{F06E0626-80F3-489A-9DFA-3572AAEFD691}">
      <dgm:prSet/>
      <dgm:spPr/>
      <dgm:t>
        <a:bodyPr/>
        <a:lstStyle/>
        <a:p>
          <a:endParaRPr lang="fr-FR"/>
        </a:p>
      </dgm:t>
    </dgm:pt>
    <dgm:pt modelId="{31FE9451-B0AD-4B86-BD2B-E0ADA22E4E04}">
      <dgm:prSet phldrT="[Texte]" custT="1"/>
      <dgm:spPr/>
      <dgm:t>
        <a:bodyPr/>
        <a:lstStyle/>
        <a:p>
          <a:r>
            <a:rPr lang="fr-FR" sz="1200" dirty="0"/>
            <a:t>Nb d’idée d’amélioration</a:t>
          </a:r>
        </a:p>
      </dgm:t>
    </dgm:pt>
    <dgm:pt modelId="{4BB86CD7-0F05-4847-AFF7-7D2EA084BED5}" type="parTrans" cxnId="{8587B655-AD89-4398-A41F-AE9D3243D71E}">
      <dgm:prSet/>
      <dgm:spPr/>
      <dgm:t>
        <a:bodyPr/>
        <a:lstStyle/>
        <a:p>
          <a:endParaRPr lang="fr-FR"/>
        </a:p>
      </dgm:t>
    </dgm:pt>
    <dgm:pt modelId="{2F0100F5-AB4B-46DB-835D-C4C9DE181889}" type="sibTrans" cxnId="{8587B655-AD89-4398-A41F-AE9D3243D71E}">
      <dgm:prSet/>
      <dgm:spPr/>
      <dgm:t>
        <a:bodyPr/>
        <a:lstStyle/>
        <a:p>
          <a:endParaRPr lang="fr-FR"/>
        </a:p>
      </dgm:t>
    </dgm:pt>
    <dgm:pt modelId="{22053D2E-1E8F-4DB0-AF98-620137D207C2}">
      <dgm:prSet phldrT="[Texte]" custT="1"/>
      <dgm:spPr/>
      <dgm:t>
        <a:bodyPr/>
        <a:lstStyle/>
        <a:p>
          <a:r>
            <a:rPr lang="fr-FR" sz="1200" dirty="0"/>
            <a:t>ISO 9001</a:t>
          </a:r>
        </a:p>
      </dgm:t>
    </dgm:pt>
    <dgm:pt modelId="{050CAD71-D1FD-4CF4-AC43-11F65DD532AB}" type="parTrans" cxnId="{60E98DBF-3AF2-48D4-A3F5-69F5734E5772}">
      <dgm:prSet/>
      <dgm:spPr/>
      <dgm:t>
        <a:bodyPr/>
        <a:lstStyle/>
        <a:p>
          <a:endParaRPr lang="fr-FR"/>
        </a:p>
      </dgm:t>
    </dgm:pt>
    <dgm:pt modelId="{1999C93A-0FC5-4F06-B65B-35AE99F11FFE}" type="sibTrans" cxnId="{60E98DBF-3AF2-48D4-A3F5-69F5734E5772}">
      <dgm:prSet/>
      <dgm:spPr/>
      <dgm:t>
        <a:bodyPr/>
        <a:lstStyle/>
        <a:p>
          <a:endParaRPr lang="fr-FR"/>
        </a:p>
      </dgm:t>
    </dgm:pt>
    <dgm:pt modelId="{4019E1A5-E199-4568-A751-6309ED197FEB}">
      <dgm:prSet phldrT="[Texte]" custT="1"/>
      <dgm:spPr/>
      <dgm:t>
        <a:bodyPr/>
        <a:lstStyle/>
        <a:p>
          <a:r>
            <a:rPr lang="fr-FR" sz="1200" dirty="0"/>
            <a:t>Signature des CGA </a:t>
          </a:r>
        </a:p>
      </dgm:t>
    </dgm:pt>
    <dgm:pt modelId="{6F7EC830-6B71-4496-A3C6-061160CBF9A6}" type="parTrans" cxnId="{D900DE9C-797F-490B-AA58-093C273331B0}">
      <dgm:prSet/>
      <dgm:spPr/>
      <dgm:t>
        <a:bodyPr/>
        <a:lstStyle/>
        <a:p>
          <a:endParaRPr lang="fr-FR"/>
        </a:p>
      </dgm:t>
    </dgm:pt>
    <dgm:pt modelId="{8647E132-477A-42D0-8FA8-4C765D19D04F}" type="sibTrans" cxnId="{D900DE9C-797F-490B-AA58-093C273331B0}">
      <dgm:prSet/>
      <dgm:spPr/>
      <dgm:t>
        <a:bodyPr/>
        <a:lstStyle/>
        <a:p>
          <a:endParaRPr lang="fr-FR"/>
        </a:p>
      </dgm:t>
    </dgm:pt>
    <dgm:pt modelId="{CA94FB66-519A-4417-97B6-134823254549}">
      <dgm:prSet phldrT="[Texte]" custT="1"/>
      <dgm:spPr/>
      <dgm:t>
        <a:bodyPr/>
        <a:lstStyle/>
        <a:p>
          <a:r>
            <a:rPr lang="fr-FR" sz="2400" dirty="0"/>
            <a:t>Cout</a:t>
          </a:r>
        </a:p>
      </dgm:t>
    </dgm:pt>
    <dgm:pt modelId="{B8FA9F46-83FD-4070-96E7-9134FB055FFD}" type="parTrans" cxnId="{3920E186-F186-425A-99E2-E745A2AD57E2}">
      <dgm:prSet/>
      <dgm:spPr/>
      <dgm:t>
        <a:bodyPr/>
        <a:lstStyle/>
        <a:p>
          <a:endParaRPr lang="fr-FR"/>
        </a:p>
      </dgm:t>
    </dgm:pt>
    <dgm:pt modelId="{FC2A7542-69F3-492B-A049-E41EEA607C59}" type="sibTrans" cxnId="{3920E186-F186-425A-99E2-E745A2AD57E2}">
      <dgm:prSet/>
      <dgm:spPr/>
      <dgm:t>
        <a:bodyPr/>
        <a:lstStyle/>
        <a:p>
          <a:endParaRPr lang="fr-FR"/>
        </a:p>
      </dgm:t>
    </dgm:pt>
    <dgm:pt modelId="{E5DBDC4C-4395-45F5-BB45-D7B9B015C879}">
      <dgm:prSet phldrT="[Texte]" custT="1"/>
      <dgm:spPr/>
      <dgm:t>
        <a:bodyPr/>
        <a:lstStyle/>
        <a:p>
          <a:r>
            <a:rPr lang="fr-FR" sz="1200" dirty="0"/>
            <a:t>Compétitivité</a:t>
          </a:r>
        </a:p>
      </dgm:t>
    </dgm:pt>
    <dgm:pt modelId="{A8C12F3F-BC9E-4D8C-B19C-F2319097DE3B}" type="parTrans" cxnId="{76FEABDA-0125-4449-A8F3-B9D8007E5059}">
      <dgm:prSet/>
      <dgm:spPr/>
      <dgm:t>
        <a:bodyPr/>
        <a:lstStyle/>
        <a:p>
          <a:endParaRPr lang="fr-FR"/>
        </a:p>
      </dgm:t>
    </dgm:pt>
    <dgm:pt modelId="{7FBABEB4-5523-45D9-869C-2F73FA2D5BDB}" type="sibTrans" cxnId="{76FEABDA-0125-4449-A8F3-B9D8007E5059}">
      <dgm:prSet/>
      <dgm:spPr/>
      <dgm:t>
        <a:bodyPr/>
        <a:lstStyle/>
        <a:p>
          <a:endParaRPr lang="fr-FR"/>
        </a:p>
      </dgm:t>
    </dgm:pt>
    <dgm:pt modelId="{39937C50-AA44-40D6-AB04-A4DEAA0F3101}">
      <dgm:prSet phldrT="[Texte]" custT="1"/>
      <dgm:spPr/>
      <dgm:t>
        <a:bodyPr/>
        <a:lstStyle/>
        <a:p>
          <a:r>
            <a:rPr lang="fr-FR" sz="1200" dirty="0"/>
            <a:t>Réactivité</a:t>
          </a:r>
        </a:p>
      </dgm:t>
    </dgm:pt>
    <dgm:pt modelId="{11F6DD08-7A48-4684-A9EB-48AD8AF15F77}" type="parTrans" cxnId="{58BCB508-0679-4253-AFA0-717B135ECE78}">
      <dgm:prSet/>
      <dgm:spPr/>
      <dgm:t>
        <a:bodyPr/>
        <a:lstStyle/>
        <a:p>
          <a:endParaRPr lang="fr-FR"/>
        </a:p>
      </dgm:t>
    </dgm:pt>
    <dgm:pt modelId="{CFD3C28E-D884-4838-B0BA-2A79B1D417F1}" type="sibTrans" cxnId="{58BCB508-0679-4253-AFA0-717B135ECE78}">
      <dgm:prSet/>
      <dgm:spPr/>
      <dgm:t>
        <a:bodyPr/>
        <a:lstStyle/>
        <a:p>
          <a:endParaRPr lang="fr-FR"/>
        </a:p>
      </dgm:t>
    </dgm:pt>
    <dgm:pt modelId="{6D12F8D5-F414-4146-AB18-AF50E26F77B2}">
      <dgm:prSet phldrT="[Texte]" custT="1"/>
      <dgm:spPr/>
      <dgm:t>
        <a:bodyPr/>
        <a:lstStyle/>
        <a:p>
          <a:r>
            <a:rPr lang="fr-FR" sz="1200" dirty="0"/>
            <a:t>Taux de conformité</a:t>
          </a:r>
        </a:p>
      </dgm:t>
    </dgm:pt>
    <dgm:pt modelId="{F6F12628-F576-4396-83B6-A109BAD2091F}" type="parTrans" cxnId="{0466D085-099F-428E-AFF7-BA503246CB53}">
      <dgm:prSet/>
      <dgm:spPr/>
      <dgm:t>
        <a:bodyPr/>
        <a:lstStyle/>
        <a:p>
          <a:endParaRPr lang="fr-FR"/>
        </a:p>
      </dgm:t>
    </dgm:pt>
    <dgm:pt modelId="{5DBED1C4-C631-41FE-B4B2-71FC1E2EEE57}" type="sibTrans" cxnId="{0466D085-099F-428E-AFF7-BA503246CB53}">
      <dgm:prSet/>
      <dgm:spPr/>
      <dgm:t>
        <a:bodyPr/>
        <a:lstStyle/>
        <a:p>
          <a:endParaRPr lang="fr-FR"/>
        </a:p>
      </dgm:t>
    </dgm:pt>
    <dgm:pt modelId="{2CEEF064-535D-467C-8606-EAC0013B1251}" type="pres">
      <dgm:prSet presAssocID="{3EC96DC3-345E-408B-B7E0-117F8C1DC01B}" presName="rootNode" presStyleCnt="0">
        <dgm:presLayoutVars>
          <dgm:chMax/>
          <dgm:chPref/>
          <dgm:dir/>
          <dgm:animLvl val="lvl"/>
        </dgm:presLayoutVars>
      </dgm:prSet>
      <dgm:spPr/>
    </dgm:pt>
    <dgm:pt modelId="{F184EA65-66B8-45CC-98CA-D437EFC79FAA}" type="pres">
      <dgm:prSet presAssocID="{BA4E16AE-21B3-4FF4-AE31-F8EF6EE34854}" presName="composite" presStyleCnt="0"/>
      <dgm:spPr/>
    </dgm:pt>
    <dgm:pt modelId="{ACB3FD28-AFD9-4914-B5B8-962C57EEA36D}" type="pres">
      <dgm:prSet presAssocID="{BA4E16AE-21B3-4FF4-AE31-F8EF6EE34854}" presName="ParentText" presStyleLbl="node1" presStyleIdx="0" presStyleCnt="6" custScaleX="115988" custScaleY="158924">
        <dgm:presLayoutVars>
          <dgm:chMax val="1"/>
          <dgm:chPref val="1"/>
          <dgm:bulletEnabled val="1"/>
        </dgm:presLayoutVars>
      </dgm:prSet>
      <dgm:spPr/>
    </dgm:pt>
    <dgm:pt modelId="{F02E5510-2EDF-4E90-B980-33761B95AD07}" type="pres">
      <dgm:prSet presAssocID="{BA4E16AE-21B3-4FF4-AE31-F8EF6EE34854}" presName="Image" presStyleLbl="bgImgPlace1" presStyleIdx="0" presStyleCnt="6" custScaleX="62829" custScaleY="65687" custLinFactNeighborX="-12914" custLinFactNeighborY="-4208"/>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9000" b="-9000"/>
          </a:stretch>
        </a:blipFill>
      </dgm:spPr>
    </dgm:pt>
    <dgm:pt modelId="{09E0CABA-6991-40B2-B14B-16332715B9E9}" type="pres">
      <dgm:prSet presAssocID="{BA4E16AE-21B3-4FF4-AE31-F8EF6EE34854}" presName="ChildText" presStyleLbl="fgAcc1" presStyleIdx="0" presStyleCnt="6" custLinFactNeighborX="-37532" custLinFactNeighborY="-1794">
        <dgm:presLayoutVars>
          <dgm:chMax val="0"/>
          <dgm:chPref val="0"/>
          <dgm:bulletEnabled val="1"/>
        </dgm:presLayoutVars>
      </dgm:prSet>
      <dgm:spPr/>
    </dgm:pt>
    <dgm:pt modelId="{E2D5319C-A74B-4F76-9754-D33FF180CF7D}" type="pres">
      <dgm:prSet presAssocID="{1FA02526-4853-4F8C-8482-326594B3211E}" presName="sibTrans" presStyleCnt="0"/>
      <dgm:spPr/>
    </dgm:pt>
    <dgm:pt modelId="{4A41E378-B182-4BA9-AC4D-4C610130EE28}" type="pres">
      <dgm:prSet presAssocID="{BA981600-6BDF-4142-85CF-6C77564DE200}" presName="composite" presStyleCnt="0"/>
      <dgm:spPr/>
    </dgm:pt>
    <dgm:pt modelId="{CA1776B9-50CB-4F7B-864C-5E4AEE90D451}" type="pres">
      <dgm:prSet presAssocID="{BA981600-6BDF-4142-85CF-6C77564DE200}" presName="ParentText" presStyleLbl="node1" presStyleIdx="1" presStyleCnt="6" custScaleX="115988" custScaleY="158924">
        <dgm:presLayoutVars>
          <dgm:chMax val="1"/>
          <dgm:chPref val="1"/>
          <dgm:bulletEnabled val="1"/>
        </dgm:presLayoutVars>
      </dgm:prSet>
      <dgm:spPr/>
    </dgm:pt>
    <dgm:pt modelId="{598232B7-6749-464E-842C-D7E8AB50254B}" type="pres">
      <dgm:prSet presAssocID="{BA981600-6BDF-4142-85CF-6C77564DE200}" presName="Image" presStyleLbl="bgImgPlace1" presStyleIdx="1" presStyleCnt="6" custScaleX="62782" custScaleY="79834" custLinFactNeighborX="-19797" custLinFactNeighborY="-3116"/>
      <dgm:spPr>
        <a:blipFill>
          <a:blip xmlns:r="http://schemas.openxmlformats.org/officeDocument/2006/relationships" r:embed="rId2">
            <a:extLst>
              <a:ext uri="{28A0092B-C50C-407E-A947-70E740481C1C}">
                <a14:useLocalDpi xmlns:a14="http://schemas.microsoft.com/office/drawing/2010/main" val="0"/>
              </a:ext>
            </a:extLst>
          </a:blip>
          <a:srcRect/>
          <a:stretch>
            <a:fillRect l="-4000" r="-4000"/>
          </a:stretch>
        </a:blipFill>
      </dgm:spPr>
    </dgm:pt>
    <dgm:pt modelId="{E9E3A079-C8A5-443D-B33D-6919F10B41F3}" type="pres">
      <dgm:prSet presAssocID="{BA981600-6BDF-4142-85CF-6C77564DE200}" presName="ChildText" presStyleLbl="fgAcc1" presStyleIdx="1" presStyleCnt="6" custScaleX="117096" custLinFactNeighborX="-35013" custLinFactNeighborY="3982">
        <dgm:presLayoutVars>
          <dgm:chMax val="0"/>
          <dgm:chPref val="0"/>
          <dgm:bulletEnabled val="1"/>
        </dgm:presLayoutVars>
      </dgm:prSet>
      <dgm:spPr/>
    </dgm:pt>
    <dgm:pt modelId="{6D566B18-F26E-4105-9C38-1B117F5065EA}" type="pres">
      <dgm:prSet presAssocID="{209D5169-C8F7-49A4-B551-0C6F70B88066}" presName="sibTrans" presStyleCnt="0"/>
      <dgm:spPr/>
    </dgm:pt>
    <dgm:pt modelId="{E8CF3C6F-D96F-4A1D-9072-5765FB3B1D09}" type="pres">
      <dgm:prSet presAssocID="{88A277A7-E1C1-456D-A01A-60924A9C19F3}" presName="composite" presStyleCnt="0"/>
      <dgm:spPr/>
    </dgm:pt>
    <dgm:pt modelId="{CDC218D8-A87B-418A-8F68-3B1711045E6D}" type="pres">
      <dgm:prSet presAssocID="{88A277A7-E1C1-456D-A01A-60924A9C19F3}" presName="ParentText" presStyleLbl="node1" presStyleIdx="2" presStyleCnt="6" custScaleX="115988" custScaleY="158924">
        <dgm:presLayoutVars>
          <dgm:chMax val="1"/>
          <dgm:chPref val="1"/>
          <dgm:bulletEnabled val="1"/>
        </dgm:presLayoutVars>
      </dgm:prSet>
      <dgm:spPr/>
    </dgm:pt>
    <dgm:pt modelId="{D27799FD-63F9-42DC-A2F4-E75E318C5E92}" type="pres">
      <dgm:prSet presAssocID="{88A277A7-E1C1-456D-A01A-60924A9C19F3}" presName="Image" presStyleLbl="bgImgPlace1" presStyleIdx="2" presStyleCnt="6" custScaleX="61317" custScaleY="70070" custLinFactNeighborX="-23757" custLinFactNeighborY="-9220"/>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3453" t="-211054" r="-159310" b="-21134"/>
          </a:stretch>
        </a:blipFill>
      </dgm:spPr>
    </dgm:pt>
    <dgm:pt modelId="{5E9FA218-CAAE-4B1C-BBDA-7DAA20932546}" type="pres">
      <dgm:prSet presAssocID="{88A277A7-E1C1-456D-A01A-60924A9C19F3}" presName="ChildText" presStyleLbl="fgAcc1" presStyleIdx="2" presStyleCnt="6" custScaleX="139086" custLinFactNeighborX="-34137" custLinFactNeighborY="-7571">
        <dgm:presLayoutVars>
          <dgm:chMax val="0"/>
          <dgm:chPref val="0"/>
          <dgm:bulletEnabled val="1"/>
        </dgm:presLayoutVars>
      </dgm:prSet>
      <dgm:spPr/>
    </dgm:pt>
    <dgm:pt modelId="{40EEAF8F-4F2A-4C21-B25F-4ACE1B22D87D}" type="pres">
      <dgm:prSet presAssocID="{09596D66-3321-46D7-8824-57260D891DEE}" presName="sibTrans" presStyleCnt="0"/>
      <dgm:spPr/>
    </dgm:pt>
    <dgm:pt modelId="{571F10E4-70B2-4F0E-B3FC-1AE45B156E49}" type="pres">
      <dgm:prSet presAssocID="{CA94FB66-519A-4417-97B6-134823254549}" presName="composite" presStyleCnt="0"/>
      <dgm:spPr/>
    </dgm:pt>
    <dgm:pt modelId="{29C6E747-201A-44E7-82C9-DAAF74D6A6E6}" type="pres">
      <dgm:prSet presAssocID="{CA94FB66-519A-4417-97B6-134823254549}" presName="ParentText" presStyleLbl="node1" presStyleIdx="3" presStyleCnt="6" custScaleX="115988" custScaleY="158924">
        <dgm:presLayoutVars>
          <dgm:chMax val="1"/>
          <dgm:chPref val="1"/>
          <dgm:bulletEnabled val="1"/>
        </dgm:presLayoutVars>
      </dgm:prSet>
      <dgm:spPr/>
    </dgm:pt>
    <dgm:pt modelId="{1C7DB622-0050-45A9-ADA4-E4A177011ABA}" type="pres">
      <dgm:prSet presAssocID="{CA94FB66-519A-4417-97B6-134823254549}" presName="Image" presStyleLbl="bgImgPlace1" presStyleIdx="3" presStyleCnt="6" custScaleX="85415" custLinFactNeighborX="-13359" custLinFactNeighborY="-1788"/>
      <dgm: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145205" t="18197" r="24706" b="-139356"/>
          </a:stretch>
        </a:blipFill>
      </dgm:spPr>
    </dgm:pt>
    <dgm:pt modelId="{0172B54B-FDC0-4DA9-AAEA-B7D3EE90913B}" type="pres">
      <dgm:prSet presAssocID="{CA94FB66-519A-4417-97B6-134823254549}" presName="ChildText" presStyleLbl="fgAcc1" presStyleIdx="3" presStyleCnt="6" custScaleX="118963" custLinFactNeighborX="-62285" custLinFactNeighborY="12933">
        <dgm:presLayoutVars>
          <dgm:chMax val="0"/>
          <dgm:chPref val="0"/>
          <dgm:bulletEnabled val="1"/>
        </dgm:presLayoutVars>
      </dgm:prSet>
      <dgm:spPr/>
    </dgm:pt>
    <dgm:pt modelId="{400937FD-77B9-42FE-9156-191C270F1B8D}" type="pres">
      <dgm:prSet presAssocID="{FC2A7542-69F3-492B-A049-E41EEA607C59}" presName="sibTrans" presStyleCnt="0"/>
      <dgm:spPr/>
    </dgm:pt>
    <dgm:pt modelId="{CE1E983B-A459-414C-8EF7-6855C11EC17C}" type="pres">
      <dgm:prSet presAssocID="{969B1E9B-6A8F-499C-ADC6-5A844886CE2F}" presName="composite" presStyleCnt="0"/>
      <dgm:spPr/>
    </dgm:pt>
    <dgm:pt modelId="{56756393-D376-4923-8942-167120B2DE5F}" type="pres">
      <dgm:prSet presAssocID="{969B1E9B-6A8F-499C-ADC6-5A844886CE2F}" presName="ParentText" presStyleLbl="node1" presStyleIdx="4" presStyleCnt="6" custScaleX="115988" custScaleY="158924">
        <dgm:presLayoutVars>
          <dgm:chMax val="1"/>
          <dgm:chPref val="1"/>
          <dgm:bulletEnabled val="1"/>
        </dgm:presLayoutVars>
      </dgm:prSet>
      <dgm:spPr/>
    </dgm:pt>
    <dgm:pt modelId="{86CBC5A9-4778-48E2-AA16-794BCC5399B6}" type="pres">
      <dgm:prSet presAssocID="{969B1E9B-6A8F-499C-ADC6-5A844886CE2F}" presName="Image" presStyleLbl="bgImgPlace1" presStyleIdx="4" presStyleCnt="6" custScaleX="54460" custScaleY="64785" custLinFactNeighborX="-11339" custLinFactNeighborY="-3089"/>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12000" r="-12000"/>
          </a:stretch>
        </a:blipFill>
      </dgm:spPr>
    </dgm:pt>
    <dgm:pt modelId="{29B45BB2-3DE8-4953-9CCA-C23C3FB8594E}" type="pres">
      <dgm:prSet presAssocID="{969B1E9B-6A8F-499C-ADC6-5A844886CE2F}" presName="ChildText" presStyleLbl="fgAcc1" presStyleIdx="4" presStyleCnt="6" custScaleX="132897">
        <dgm:presLayoutVars>
          <dgm:chMax val="0"/>
          <dgm:chPref val="0"/>
          <dgm:bulletEnabled val="1"/>
        </dgm:presLayoutVars>
      </dgm:prSet>
      <dgm:spPr/>
    </dgm:pt>
    <dgm:pt modelId="{6F735E25-6FC6-410C-B2DF-DB2013D930A8}" type="pres">
      <dgm:prSet presAssocID="{52BE1AC5-0D1B-4C07-994A-B951856F1C60}" presName="sibTrans" presStyleCnt="0"/>
      <dgm:spPr/>
    </dgm:pt>
    <dgm:pt modelId="{0FF38260-8996-461E-9DF0-D3401760BD16}" type="pres">
      <dgm:prSet presAssocID="{618CE742-C29B-41B8-A178-3CB913911C59}" presName="composite" presStyleCnt="0"/>
      <dgm:spPr/>
    </dgm:pt>
    <dgm:pt modelId="{03D6C984-C4E0-47DE-9A65-1F3E3151003A}" type="pres">
      <dgm:prSet presAssocID="{618CE742-C29B-41B8-A178-3CB913911C59}" presName="ParentText" presStyleLbl="node1" presStyleIdx="5" presStyleCnt="6" custScaleX="115988" custScaleY="158924">
        <dgm:presLayoutVars>
          <dgm:chMax val="1"/>
          <dgm:chPref val="1"/>
          <dgm:bulletEnabled val="1"/>
        </dgm:presLayoutVars>
      </dgm:prSet>
      <dgm:spPr/>
    </dgm:pt>
    <dgm:pt modelId="{38D1B31D-9407-45EF-A432-F520D2637151}" type="pres">
      <dgm:prSet presAssocID="{618CE742-C29B-41B8-A178-3CB913911C59}" presName="Image" presStyleLbl="bgImgPlace1" presStyleIdx="5" presStyleCnt="6" custScaleX="80856" custScaleY="77781"/>
      <dgm:spPr>
        <a:blipFill>
          <a:blip xmlns:r="http://schemas.openxmlformats.org/officeDocument/2006/relationships" r:embed="rId6">
            <a:extLst>
              <a:ext uri="{28A0092B-C50C-407E-A947-70E740481C1C}">
                <a14:useLocalDpi xmlns:a14="http://schemas.microsoft.com/office/drawing/2010/main" val="0"/>
              </a:ext>
            </a:extLst>
          </a:blip>
          <a:srcRect/>
          <a:stretch>
            <a:fillRect l="-8000" r="-8000"/>
          </a:stretch>
        </a:blipFill>
      </dgm:spPr>
    </dgm:pt>
    <dgm:pt modelId="{2F410F72-6EF5-4B57-9EDF-B3711208ABB7}" type="pres">
      <dgm:prSet presAssocID="{618CE742-C29B-41B8-A178-3CB913911C59}" presName="ChildText" presStyleLbl="fgAcc1" presStyleIdx="5" presStyleCnt="6">
        <dgm:presLayoutVars>
          <dgm:chMax val="0"/>
          <dgm:chPref val="0"/>
          <dgm:bulletEnabled val="1"/>
        </dgm:presLayoutVars>
      </dgm:prSet>
      <dgm:spPr/>
    </dgm:pt>
  </dgm:ptLst>
  <dgm:cxnLst>
    <dgm:cxn modelId="{58BCB508-0679-4253-AFA0-717B135ECE78}" srcId="{88A277A7-E1C1-456D-A01A-60924A9C19F3}" destId="{39937C50-AA44-40D6-AB04-A4DEAA0F3101}" srcOrd="2" destOrd="0" parTransId="{11F6DD08-7A48-4684-A9EB-48AD8AF15F77}" sibTransId="{CFD3C28E-D884-4838-B0BA-2A79B1D417F1}"/>
    <dgm:cxn modelId="{33002E0B-7202-4508-88D3-2FCB00997528}" srcId="{BA4E16AE-21B3-4FF4-AE31-F8EF6EE34854}" destId="{33BB48BF-3152-4171-ABBE-0E144A663465}" srcOrd="0" destOrd="0" parTransId="{872CA8E8-CDDB-404F-A843-F5E6310184E2}" sibTransId="{F7619646-EC68-47CE-A302-9EA10E4150B9}"/>
    <dgm:cxn modelId="{BC907E0D-2BBE-481E-984B-7DE14EA70EE9}" type="presOf" srcId="{969B1E9B-6A8F-499C-ADC6-5A844886CE2F}" destId="{56756393-D376-4923-8942-167120B2DE5F}" srcOrd="0" destOrd="0" presId="urn:microsoft.com/office/officeart/2008/layout/TitledPictureBlocks"/>
    <dgm:cxn modelId="{B2C3FA21-3574-4915-BE0E-144FBD5DABE0}" type="presOf" srcId="{BA4E16AE-21B3-4FF4-AE31-F8EF6EE34854}" destId="{ACB3FD28-AFD9-4914-B5B8-962C57EEA36D}" srcOrd="0" destOrd="0" presId="urn:microsoft.com/office/officeart/2008/layout/TitledPictureBlocks"/>
    <dgm:cxn modelId="{F06E0626-80F3-489A-9DFA-3572AAEFD691}" srcId="{3EC96DC3-345E-408B-B7E0-117F8C1DC01B}" destId="{618CE742-C29B-41B8-A178-3CB913911C59}" srcOrd="5" destOrd="0" parTransId="{A4D10236-E7EB-4118-81F0-2FBCE9D976D9}" sibTransId="{0BC5B62F-CDB3-4C1E-9F30-4F0C1165D7FC}"/>
    <dgm:cxn modelId="{9A19A427-0EF4-4BFB-8E84-166409597BC2}" type="presOf" srcId="{15BD67A8-006A-4993-921F-CFF6E5B294DE}" destId="{E9E3A079-C8A5-443D-B33D-6919F10B41F3}" srcOrd="0" destOrd="1" presId="urn:microsoft.com/office/officeart/2008/layout/TitledPictureBlocks"/>
    <dgm:cxn modelId="{D41D992D-3E36-48B4-AD8D-603CC9768087}" type="presOf" srcId="{88A277A7-E1C1-456D-A01A-60924A9C19F3}" destId="{CDC218D8-A87B-418A-8F68-3B1711045E6D}" srcOrd="0" destOrd="0" presId="urn:microsoft.com/office/officeart/2008/layout/TitledPictureBlocks"/>
    <dgm:cxn modelId="{3F55F637-F36C-44D3-9557-B71191FAEB93}" type="presOf" srcId="{22053D2E-1E8F-4DB0-AF98-620137D207C2}" destId="{E9E3A079-C8A5-443D-B33D-6919F10B41F3}" srcOrd="0" destOrd="0" presId="urn:microsoft.com/office/officeart/2008/layout/TitledPictureBlocks"/>
    <dgm:cxn modelId="{B804D242-43E3-4C04-BC43-8E572DFF4503}" type="presOf" srcId="{618CE742-C29B-41B8-A178-3CB913911C59}" destId="{03D6C984-C4E0-47DE-9A65-1F3E3151003A}" srcOrd="0" destOrd="0" presId="urn:microsoft.com/office/officeart/2008/layout/TitledPictureBlocks"/>
    <dgm:cxn modelId="{F9378D64-9B16-4A9C-BCAD-9DF36768D679}" srcId="{3EC96DC3-345E-408B-B7E0-117F8C1DC01B}" destId="{88A277A7-E1C1-456D-A01A-60924A9C19F3}" srcOrd="2" destOrd="0" parTransId="{6F5BBF13-FA90-4341-8CAF-7BC1FCFAE04E}" sibTransId="{09596D66-3321-46D7-8824-57260D891DEE}"/>
    <dgm:cxn modelId="{325D254B-E0C2-4C49-881E-0F257BF49AE1}" srcId="{3EC96DC3-345E-408B-B7E0-117F8C1DC01B}" destId="{BA4E16AE-21B3-4FF4-AE31-F8EF6EE34854}" srcOrd="0" destOrd="0" parTransId="{E997085D-4147-411B-88CD-B1259CB20E14}" sibTransId="{1FA02526-4853-4F8C-8482-326594B3211E}"/>
    <dgm:cxn modelId="{ECB29A4D-0B08-46E6-A065-5CC7C631A29B}" srcId="{3EC96DC3-345E-408B-B7E0-117F8C1DC01B}" destId="{969B1E9B-6A8F-499C-ADC6-5A844886CE2F}" srcOrd="4" destOrd="0" parTransId="{CA55DCBE-6A74-433D-B86B-69293BD4E149}" sibTransId="{52BE1AC5-0D1B-4C07-994A-B951856F1C60}"/>
    <dgm:cxn modelId="{8587B655-AD89-4398-A41F-AE9D3243D71E}" srcId="{969B1E9B-6A8F-499C-ADC6-5A844886CE2F}" destId="{31FE9451-B0AD-4B86-BD2B-E0ADA22E4E04}" srcOrd="0" destOrd="0" parTransId="{4BB86CD7-0F05-4847-AFF7-7D2EA084BED5}" sibTransId="{2F0100F5-AB4B-46DB-835D-C4C9DE181889}"/>
    <dgm:cxn modelId="{E8F20F85-2D39-4A57-9637-F44A50B5F4B8}" type="presOf" srcId="{4019E1A5-E199-4568-A751-6309ED197FEB}" destId="{2F410F72-6EF5-4B57-9EDF-B3711208ABB7}" srcOrd="0" destOrd="0" presId="urn:microsoft.com/office/officeart/2008/layout/TitledPictureBlocks"/>
    <dgm:cxn modelId="{0466D085-099F-428E-AFF7-BA503246CB53}" srcId="{88A277A7-E1C1-456D-A01A-60924A9C19F3}" destId="{6D12F8D5-F414-4146-AB18-AF50E26F77B2}" srcOrd="0" destOrd="0" parTransId="{F6F12628-F576-4396-83B6-A109BAD2091F}" sibTransId="{5DBED1C4-C631-41FE-B4B2-71FC1E2EEE57}"/>
    <dgm:cxn modelId="{3920E186-F186-425A-99E2-E745A2AD57E2}" srcId="{3EC96DC3-345E-408B-B7E0-117F8C1DC01B}" destId="{CA94FB66-519A-4417-97B6-134823254549}" srcOrd="3" destOrd="0" parTransId="{B8FA9F46-83FD-4070-96E7-9134FB055FFD}" sibTransId="{FC2A7542-69F3-492B-A049-E41EEA607C59}"/>
    <dgm:cxn modelId="{52C5F28E-F51F-46CA-B831-B04107BB6592}" type="presOf" srcId="{6D12F8D5-F414-4146-AB18-AF50E26F77B2}" destId="{5E9FA218-CAAE-4B1C-BBDA-7DAA20932546}" srcOrd="0" destOrd="0" presId="urn:microsoft.com/office/officeart/2008/layout/TitledPictureBlocks"/>
    <dgm:cxn modelId="{786D1B98-3886-4F9F-B867-C37CDBCB5852}" srcId="{88A277A7-E1C1-456D-A01A-60924A9C19F3}" destId="{12B611F3-4353-43F5-B0BD-E35D724F52D2}" srcOrd="1" destOrd="0" parTransId="{FB33B970-B070-4478-8CBF-34A050568D93}" sibTransId="{A4076A25-B5FA-40ED-B605-B2C4820FBF10}"/>
    <dgm:cxn modelId="{D900DE9C-797F-490B-AA58-093C273331B0}" srcId="{618CE742-C29B-41B8-A178-3CB913911C59}" destId="{4019E1A5-E199-4568-A751-6309ED197FEB}" srcOrd="0" destOrd="0" parTransId="{6F7EC830-6B71-4496-A3C6-061160CBF9A6}" sibTransId="{8647E132-477A-42D0-8FA8-4C765D19D04F}"/>
    <dgm:cxn modelId="{3E263A9E-A4B0-4D0E-9888-C549693E5ABE}" type="presOf" srcId="{33BB48BF-3152-4171-ABBE-0E144A663465}" destId="{09E0CABA-6991-40B2-B14B-16332715B9E9}" srcOrd="0" destOrd="0" presId="urn:microsoft.com/office/officeart/2008/layout/TitledPictureBlocks"/>
    <dgm:cxn modelId="{3F19D4B3-249E-4AB2-B432-B65F0F9B5DAC}" type="presOf" srcId="{E5DBDC4C-4395-45F5-BB45-D7B9B015C879}" destId="{0172B54B-FDC0-4DA9-AAEA-B7D3EE90913B}" srcOrd="0" destOrd="0" presId="urn:microsoft.com/office/officeart/2008/layout/TitledPictureBlocks"/>
    <dgm:cxn modelId="{60E98DBF-3AF2-48D4-A3F5-69F5734E5772}" srcId="{BA981600-6BDF-4142-85CF-6C77564DE200}" destId="{22053D2E-1E8F-4DB0-AF98-620137D207C2}" srcOrd="0" destOrd="0" parTransId="{050CAD71-D1FD-4CF4-AC43-11F65DD532AB}" sibTransId="{1999C93A-0FC5-4F06-B65B-35AE99F11FFE}"/>
    <dgm:cxn modelId="{B6A126C1-2FB8-47D9-AAFE-D743EA84EBD7}" type="presOf" srcId="{CA94FB66-519A-4417-97B6-134823254549}" destId="{29C6E747-201A-44E7-82C9-DAAF74D6A6E6}" srcOrd="0" destOrd="0" presId="urn:microsoft.com/office/officeart/2008/layout/TitledPictureBlocks"/>
    <dgm:cxn modelId="{78FA28C3-9046-4550-B532-62DB1F912AEB}" srcId="{BA981600-6BDF-4142-85CF-6C77564DE200}" destId="{15BD67A8-006A-4993-921F-CFF6E5B294DE}" srcOrd="1" destOrd="0" parTransId="{18997F19-C894-4AAF-AD43-346244423FD3}" sibTransId="{D549FF05-C267-4A04-B23E-F7919450D630}"/>
    <dgm:cxn modelId="{7B3598CA-622E-44CC-A807-69A6546BC535}" type="presOf" srcId="{31FE9451-B0AD-4B86-BD2B-E0ADA22E4E04}" destId="{29B45BB2-3DE8-4953-9CCA-C23C3FB8594E}" srcOrd="0" destOrd="0" presId="urn:microsoft.com/office/officeart/2008/layout/TitledPictureBlocks"/>
    <dgm:cxn modelId="{60A85AD1-EAB3-455D-85CF-12577A5DAAB5}" srcId="{3EC96DC3-345E-408B-B7E0-117F8C1DC01B}" destId="{BA981600-6BDF-4142-85CF-6C77564DE200}" srcOrd="1" destOrd="0" parTransId="{81380629-A071-4ED4-A596-D10D31A91E8D}" sibTransId="{209D5169-C8F7-49A4-B551-0C6F70B88066}"/>
    <dgm:cxn modelId="{C90980D1-3996-462F-B940-A441338FA5D9}" type="presOf" srcId="{3EC96DC3-345E-408B-B7E0-117F8C1DC01B}" destId="{2CEEF064-535D-467C-8606-EAC0013B1251}" srcOrd="0" destOrd="0" presId="urn:microsoft.com/office/officeart/2008/layout/TitledPictureBlocks"/>
    <dgm:cxn modelId="{7D7632DA-C233-456B-BB09-A807E6BEEA4C}" type="presOf" srcId="{12B611F3-4353-43F5-B0BD-E35D724F52D2}" destId="{5E9FA218-CAAE-4B1C-BBDA-7DAA20932546}" srcOrd="0" destOrd="1" presId="urn:microsoft.com/office/officeart/2008/layout/TitledPictureBlocks"/>
    <dgm:cxn modelId="{76FEABDA-0125-4449-A8F3-B9D8007E5059}" srcId="{CA94FB66-519A-4417-97B6-134823254549}" destId="{E5DBDC4C-4395-45F5-BB45-D7B9B015C879}" srcOrd="0" destOrd="0" parTransId="{A8C12F3F-BC9E-4D8C-B19C-F2319097DE3B}" sibTransId="{7FBABEB4-5523-45D9-869C-2F73FA2D5BDB}"/>
    <dgm:cxn modelId="{F90DDEDF-AC17-4406-B3E1-0E612A1CB239}" type="presOf" srcId="{39937C50-AA44-40D6-AB04-A4DEAA0F3101}" destId="{5E9FA218-CAAE-4B1C-BBDA-7DAA20932546}" srcOrd="0" destOrd="2" presId="urn:microsoft.com/office/officeart/2008/layout/TitledPictureBlocks"/>
    <dgm:cxn modelId="{899804F5-CCBC-4C29-872F-109E2F161DC6}" type="presOf" srcId="{BA981600-6BDF-4142-85CF-6C77564DE200}" destId="{CA1776B9-50CB-4F7B-864C-5E4AEE90D451}" srcOrd="0" destOrd="0" presId="urn:microsoft.com/office/officeart/2008/layout/TitledPictureBlocks"/>
    <dgm:cxn modelId="{A998A079-B827-42C0-8049-ECF71911E9D9}" type="presParOf" srcId="{2CEEF064-535D-467C-8606-EAC0013B1251}" destId="{F184EA65-66B8-45CC-98CA-D437EFC79FAA}" srcOrd="0" destOrd="0" presId="urn:microsoft.com/office/officeart/2008/layout/TitledPictureBlocks"/>
    <dgm:cxn modelId="{D6D8F444-8DD4-4176-B4B4-55A6871BEE39}" type="presParOf" srcId="{F184EA65-66B8-45CC-98CA-D437EFC79FAA}" destId="{ACB3FD28-AFD9-4914-B5B8-962C57EEA36D}" srcOrd="0" destOrd="0" presId="urn:microsoft.com/office/officeart/2008/layout/TitledPictureBlocks"/>
    <dgm:cxn modelId="{39F7BC53-EBA7-4EA8-8003-8692DE5A6A1C}" type="presParOf" srcId="{F184EA65-66B8-45CC-98CA-D437EFC79FAA}" destId="{F02E5510-2EDF-4E90-B980-33761B95AD07}" srcOrd="1" destOrd="0" presId="urn:microsoft.com/office/officeart/2008/layout/TitledPictureBlocks"/>
    <dgm:cxn modelId="{3EC0E712-0FFE-4547-8910-46455A806762}" type="presParOf" srcId="{F184EA65-66B8-45CC-98CA-D437EFC79FAA}" destId="{09E0CABA-6991-40B2-B14B-16332715B9E9}" srcOrd="2" destOrd="0" presId="urn:microsoft.com/office/officeart/2008/layout/TitledPictureBlocks"/>
    <dgm:cxn modelId="{1B0268F4-2D2B-4EEE-A13D-FE69C0CCE6E8}" type="presParOf" srcId="{2CEEF064-535D-467C-8606-EAC0013B1251}" destId="{E2D5319C-A74B-4F76-9754-D33FF180CF7D}" srcOrd="1" destOrd="0" presId="urn:microsoft.com/office/officeart/2008/layout/TitledPictureBlocks"/>
    <dgm:cxn modelId="{FC425BB0-2A27-41E7-BD5A-AA714778A973}" type="presParOf" srcId="{2CEEF064-535D-467C-8606-EAC0013B1251}" destId="{4A41E378-B182-4BA9-AC4D-4C610130EE28}" srcOrd="2" destOrd="0" presId="urn:microsoft.com/office/officeart/2008/layout/TitledPictureBlocks"/>
    <dgm:cxn modelId="{EF700DC1-A469-4CFE-AE8A-EFA6E2C40C7F}" type="presParOf" srcId="{4A41E378-B182-4BA9-AC4D-4C610130EE28}" destId="{CA1776B9-50CB-4F7B-864C-5E4AEE90D451}" srcOrd="0" destOrd="0" presId="urn:microsoft.com/office/officeart/2008/layout/TitledPictureBlocks"/>
    <dgm:cxn modelId="{B72B8C32-BB31-4E31-96B9-76D3A8322B07}" type="presParOf" srcId="{4A41E378-B182-4BA9-AC4D-4C610130EE28}" destId="{598232B7-6749-464E-842C-D7E8AB50254B}" srcOrd="1" destOrd="0" presId="urn:microsoft.com/office/officeart/2008/layout/TitledPictureBlocks"/>
    <dgm:cxn modelId="{42E69ABE-9604-4388-9F9B-FA389082FDD2}" type="presParOf" srcId="{4A41E378-B182-4BA9-AC4D-4C610130EE28}" destId="{E9E3A079-C8A5-443D-B33D-6919F10B41F3}" srcOrd="2" destOrd="0" presId="urn:microsoft.com/office/officeart/2008/layout/TitledPictureBlocks"/>
    <dgm:cxn modelId="{87976306-7900-4C79-B2AD-4F1453778BC5}" type="presParOf" srcId="{2CEEF064-535D-467C-8606-EAC0013B1251}" destId="{6D566B18-F26E-4105-9C38-1B117F5065EA}" srcOrd="3" destOrd="0" presId="urn:microsoft.com/office/officeart/2008/layout/TitledPictureBlocks"/>
    <dgm:cxn modelId="{AA5E6EBB-3DDA-442E-9BFE-DA5C0227BE3A}" type="presParOf" srcId="{2CEEF064-535D-467C-8606-EAC0013B1251}" destId="{E8CF3C6F-D96F-4A1D-9072-5765FB3B1D09}" srcOrd="4" destOrd="0" presId="urn:microsoft.com/office/officeart/2008/layout/TitledPictureBlocks"/>
    <dgm:cxn modelId="{0A39EF29-10B5-4315-8812-5A54FC7999FE}" type="presParOf" srcId="{E8CF3C6F-D96F-4A1D-9072-5765FB3B1D09}" destId="{CDC218D8-A87B-418A-8F68-3B1711045E6D}" srcOrd="0" destOrd="0" presId="urn:microsoft.com/office/officeart/2008/layout/TitledPictureBlocks"/>
    <dgm:cxn modelId="{2DBB360E-5582-40F8-8392-E1C7B0A3D129}" type="presParOf" srcId="{E8CF3C6F-D96F-4A1D-9072-5765FB3B1D09}" destId="{D27799FD-63F9-42DC-A2F4-E75E318C5E92}" srcOrd="1" destOrd="0" presId="urn:microsoft.com/office/officeart/2008/layout/TitledPictureBlocks"/>
    <dgm:cxn modelId="{70C7BC49-5FB8-45C9-9930-5599C937FA54}" type="presParOf" srcId="{E8CF3C6F-D96F-4A1D-9072-5765FB3B1D09}" destId="{5E9FA218-CAAE-4B1C-BBDA-7DAA20932546}" srcOrd="2" destOrd="0" presId="urn:microsoft.com/office/officeart/2008/layout/TitledPictureBlocks"/>
    <dgm:cxn modelId="{8A4A163E-E098-4C65-9B52-2F493D2BC905}" type="presParOf" srcId="{2CEEF064-535D-467C-8606-EAC0013B1251}" destId="{40EEAF8F-4F2A-4C21-B25F-4ACE1B22D87D}" srcOrd="5" destOrd="0" presId="urn:microsoft.com/office/officeart/2008/layout/TitledPictureBlocks"/>
    <dgm:cxn modelId="{D93C25E5-CD23-41BC-9153-371AD3A80638}" type="presParOf" srcId="{2CEEF064-535D-467C-8606-EAC0013B1251}" destId="{571F10E4-70B2-4F0E-B3FC-1AE45B156E49}" srcOrd="6" destOrd="0" presId="urn:microsoft.com/office/officeart/2008/layout/TitledPictureBlocks"/>
    <dgm:cxn modelId="{969E841D-CF8D-405B-B53B-41D0A4419159}" type="presParOf" srcId="{571F10E4-70B2-4F0E-B3FC-1AE45B156E49}" destId="{29C6E747-201A-44E7-82C9-DAAF74D6A6E6}" srcOrd="0" destOrd="0" presId="urn:microsoft.com/office/officeart/2008/layout/TitledPictureBlocks"/>
    <dgm:cxn modelId="{03FD42C2-4B51-4182-A208-D08B8246636C}" type="presParOf" srcId="{571F10E4-70B2-4F0E-B3FC-1AE45B156E49}" destId="{1C7DB622-0050-45A9-ADA4-E4A177011ABA}" srcOrd="1" destOrd="0" presId="urn:microsoft.com/office/officeart/2008/layout/TitledPictureBlocks"/>
    <dgm:cxn modelId="{602B47EC-9C16-41B1-AB1E-58896B0FF880}" type="presParOf" srcId="{571F10E4-70B2-4F0E-B3FC-1AE45B156E49}" destId="{0172B54B-FDC0-4DA9-AAEA-B7D3EE90913B}" srcOrd="2" destOrd="0" presId="urn:microsoft.com/office/officeart/2008/layout/TitledPictureBlocks"/>
    <dgm:cxn modelId="{871D29E9-1870-425D-AD97-2466C8FAB207}" type="presParOf" srcId="{2CEEF064-535D-467C-8606-EAC0013B1251}" destId="{400937FD-77B9-42FE-9156-191C270F1B8D}" srcOrd="7" destOrd="0" presId="urn:microsoft.com/office/officeart/2008/layout/TitledPictureBlocks"/>
    <dgm:cxn modelId="{2BFD37B0-6F76-4060-8752-F5FEC8CC42B5}" type="presParOf" srcId="{2CEEF064-535D-467C-8606-EAC0013B1251}" destId="{CE1E983B-A459-414C-8EF7-6855C11EC17C}" srcOrd="8" destOrd="0" presId="urn:microsoft.com/office/officeart/2008/layout/TitledPictureBlocks"/>
    <dgm:cxn modelId="{473AF717-434D-4126-AB71-C2F77A8DCFB2}" type="presParOf" srcId="{CE1E983B-A459-414C-8EF7-6855C11EC17C}" destId="{56756393-D376-4923-8942-167120B2DE5F}" srcOrd="0" destOrd="0" presId="urn:microsoft.com/office/officeart/2008/layout/TitledPictureBlocks"/>
    <dgm:cxn modelId="{657ABB24-0837-4664-A1A0-E0BD59766309}" type="presParOf" srcId="{CE1E983B-A459-414C-8EF7-6855C11EC17C}" destId="{86CBC5A9-4778-48E2-AA16-794BCC5399B6}" srcOrd="1" destOrd="0" presId="urn:microsoft.com/office/officeart/2008/layout/TitledPictureBlocks"/>
    <dgm:cxn modelId="{98480BF7-B397-4507-B24F-3C62596D7F31}" type="presParOf" srcId="{CE1E983B-A459-414C-8EF7-6855C11EC17C}" destId="{29B45BB2-3DE8-4953-9CCA-C23C3FB8594E}" srcOrd="2" destOrd="0" presId="urn:microsoft.com/office/officeart/2008/layout/TitledPictureBlocks"/>
    <dgm:cxn modelId="{6A2D2B2C-A307-43CC-BBCB-8FF68094D134}" type="presParOf" srcId="{2CEEF064-535D-467C-8606-EAC0013B1251}" destId="{6F735E25-6FC6-410C-B2DF-DB2013D930A8}" srcOrd="9" destOrd="0" presId="urn:microsoft.com/office/officeart/2008/layout/TitledPictureBlocks"/>
    <dgm:cxn modelId="{73AF2AEC-03C2-4033-B747-977113D9C76F}" type="presParOf" srcId="{2CEEF064-535D-467C-8606-EAC0013B1251}" destId="{0FF38260-8996-461E-9DF0-D3401760BD16}" srcOrd="10" destOrd="0" presId="urn:microsoft.com/office/officeart/2008/layout/TitledPictureBlocks"/>
    <dgm:cxn modelId="{DE44AB5A-3042-4FBE-B8E3-5B7868027FA1}" type="presParOf" srcId="{0FF38260-8996-461E-9DF0-D3401760BD16}" destId="{03D6C984-C4E0-47DE-9A65-1F3E3151003A}" srcOrd="0" destOrd="0" presId="urn:microsoft.com/office/officeart/2008/layout/TitledPictureBlocks"/>
    <dgm:cxn modelId="{068D3591-7EE8-4B85-8BBE-AAAB1BC04A22}" type="presParOf" srcId="{0FF38260-8996-461E-9DF0-D3401760BD16}" destId="{38D1B31D-9407-45EF-A432-F520D2637151}" srcOrd="1" destOrd="0" presId="urn:microsoft.com/office/officeart/2008/layout/TitledPictureBlocks"/>
    <dgm:cxn modelId="{A5CA3FBE-6DE5-4C9F-BEAB-DE3EB2EEB802}" type="presParOf" srcId="{0FF38260-8996-461E-9DF0-D3401760BD16}" destId="{2F410F72-6EF5-4B57-9EDF-B3711208ABB7}" srcOrd="2" destOrd="0" presId="urn:microsoft.com/office/officeart/2008/layout/Titled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6790D800-1D9D-4EF6-AA15-8390FC492819}" type="presOf" srcId="{2B811016-D430-4B4D-A4B9-C427EBB8C39C}" destId="{CD543A52-B769-4817-BCDB-9E04D3B82E2C}"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9438C540-4542-44F3-8732-0850A988A4E3}" type="presOf" srcId="{2B811016-D430-4B4D-A4B9-C427EBB8C39C}" destId="{9632C60F-56BA-4ECD-9874-3EA13072391A}" srcOrd="1" destOrd="0" presId="urn:microsoft.com/office/officeart/2005/8/layout/process1"/>
    <dgm:cxn modelId="{B5C01D64-0ED4-4F55-8E1E-78A7CFD4CD27}" type="presOf" srcId="{BFAE7B18-CC4C-4882-92CD-CB1C42AA85E2}" destId="{B75A6145-30F1-4A02-8241-CAFBD7613773}" srcOrd="1" destOrd="0" presId="urn:microsoft.com/office/officeart/2005/8/layout/process1"/>
    <dgm:cxn modelId="{39808F6C-10F0-42EB-8E0A-6987F5D7CEA1}" type="presOf" srcId="{FF69A2E3-845E-46C4-A44D-095FCDBB9884}" destId="{83AD4C98-81CD-4554-959F-68EE175480AA}"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4C40C678-4FE3-4895-BF1E-CFB67EB860B2}" type="presOf" srcId="{43157ED2-F950-497C-9847-E7E7C258E927}" destId="{B0DBBBA9-28F6-41E3-9EAE-867A084ADCC9}" srcOrd="1" destOrd="0" presId="urn:microsoft.com/office/officeart/2005/8/layout/process1"/>
    <dgm:cxn modelId="{DA7CAA7D-47CF-4CDC-A5E2-77E9CE0105D9}" type="presOf" srcId="{864DE107-B989-48AF-AB66-C74CF83D30CD}" destId="{599C6788-14AC-4886-BE98-CFABBA2B6CBC}"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9A2CA590-4409-4C3D-AC1E-55C4798C52AD}" type="presOf" srcId="{BFAE7B18-CC4C-4882-92CD-CB1C42AA85E2}" destId="{1B57603F-6D14-4EC3-B4E3-8B8E29F0AF82}" srcOrd="0" destOrd="0" presId="urn:microsoft.com/office/officeart/2005/8/layout/process1"/>
    <dgm:cxn modelId="{4FF4CC90-34A5-4DF8-B5D1-1ED40CFA1C26}" type="presOf" srcId="{FCB8ADF2-9891-4EC4-9F8D-3C62A4E3570B}" destId="{D0F3583B-5D16-45E2-90F3-D5928E8BAEEB}" srcOrd="0" destOrd="0" presId="urn:microsoft.com/office/officeart/2005/8/layout/process1"/>
    <dgm:cxn modelId="{91AD0B97-B1B7-489B-9EF2-DFCFA24FEF5E}" type="presOf" srcId="{43157ED2-F950-497C-9847-E7E7C258E927}" destId="{EBA8B8BB-8B80-463D-B5C0-9886029E31EB}" srcOrd="0" destOrd="0" presId="urn:microsoft.com/office/officeart/2005/8/layout/process1"/>
    <dgm:cxn modelId="{00392AB5-1A3E-47AD-9857-810141BFC684}" type="presOf" srcId="{8512C525-B3B9-4BFC-8B81-ABE692BCA9B8}" destId="{DCDE361F-6528-4B2D-AA1C-75A98D9CF19B}"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50B60EF4-2924-46E6-8BA1-1A4B032755E9}" type="presOf" srcId="{307DC733-853C-4BE3-A615-177512EFCA37}" destId="{5D437852-1E36-4551-AE22-3D21BF486FA9}" srcOrd="0" destOrd="0" presId="urn:microsoft.com/office/officeart/2005/8/layout/process1"/>
    <dgm:cxn modelId="{E1100168-9002-4B41-8E58-48E02AC85EB4}" type="presParOf" srcId="{DCDE361F-6528-4B2D-AA1C-75A98D9CF19B}" destId="{D0F3583B-5D16-45E2-90F3-D5928E8BAEEB}" srcOrd="0" destOrd="0" presId="urn:microsoft.com/office/officeart/2005/8/layout/process1"/>
    <dgm:cxn modelId="{CAC55ECC-0040-4702-A390-55B64FEC01EE}" type="presParOf" srcId="{DCDE361F-6528-4B2D-AA1C-75A98D9CF19B}" destId="{1B57603F-6D14-4EC3-B4E3-8B8E29F0AF82}" srcOrd="1" destOrd="0" presId="urn:microsoft.com/office/officeart/2005/8/layout/process1"/>
    <dgm:cxn modelId="{01280851-A63C-4E06-9817-48FCBAA75967}" type="presParOf" srcId="{1B57603F-6D14-4EC3-B4E3-8B8E29F0AF82}" destId="{B75A6145-30F1-4A02-8241-CAFBD7613773}" srcOrd="0" destOrd="0" presId="urn:microsoft.com/office/officeart/2005/8/layout/process1"/>
    <dgm:cxn modelId="{20BAC983-CE81-4D4E-BA88-467F2B7F84E6}" type="presParOf" srcId="{DCDE361F-6528-4B2D-AA1C-75A98D9CF19B}" destId="{5D437852-1E36-4551-AE22-3D21BF486FA9}" srcOrd="2" destOrd="0" presId="urn:microsoft.com/office/officeart/2005/8/layout/process1"/>
    <dgm:cxn modelId="{2C5077B8-69D2-4179-AF31-6DA8F03D245C}" type="presParOf" srcId="{DCDE361F-6528-4B2D-AA1C-75A98D9CF19B}" destId="{CD543A52-B769-4817-BCDB-9E04D3B82E2C}" srcOrd="3" destOrd="0" presId="urn:microsoft.com/office/officeart/2005/8/layout/process1"/>
    <dgm:cxn modelId="{82E0FC03-06C2-462F-BC5D-6DC559664376}" type="presParOf" srcId="{CD543A52-B769-4817-BCDB-9E04D3B82E2C}" destId="{9632C60F-56BA-4ECD-9874-3EA13072391A}" srcOrd="0" destOrd="0" presId="urn:microsoft.com/office/officeart/2005/8/layout/process1"/>
    <dgm:cxn modelId="{D7AE8F13-BB7A-465C-B043-70798D8292DC}" type="presParOf" srcId="{DCDE361F-6528-4B2D-AA1C-75A98D9CF19B}" destId="{599C6788-14AC-4886-BE98-CFABBA2B6CBC}" srcOrd="4" destOrd="0" presId="urn:microsoft.com/office/officeart/2005/8/layout/process1"/>
    <dgm:cxn modelId="{DE76C2A0-F76A-4934-8E2A-275BFFB39640}" type="presParOf" srcId="{DCDE361F-6528-4B2D-AA1C-75A98D9CF19B}" destId="{EBA8B8BB-8B80-463D-B5C0-9886029E31EB}" srcOrd="5" destOrd="0" presId="urn:microsoft.com/office/officeart/2005/8/layout/process1"/>
    <dgm:cxn modelId="{466EBD47-88E2-4B2C-8A73-63C20D6B033C}" type="presParOf" srcId="{EBA8B8BB-8B80-463D-B5C0-9886029E31EB}" destId="{B0DBBBA9-28F6-41E3-9EAE-867A084ADCC9}" srcOrd="0" destOrd="0" presId="urn:microsoft.com/office/officeart/2005/8/layout/process1"/>
    <dgm:cxn modelId="{A0290DEF-36C8-441E-889C-FE32D9FE3F27}"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07FD8623-E9DE-4423-A39D-C691DA67EAA8}" type="presOf" srcId="{43157ED2-F950-497C-9847-E7E7C258E927}" destId="{EBA8B8BB-8B80-463D-B5C0-9886029E31EB}" srcOrd="0" destOrd="0" presId="urn:microsoft.com/office/officeart/2005/8/layout/process1"/>
    <dgm:cxn modelId="{78D30A5F-EDD3-4962-AD3A-8D1C31266D6B}" type="presOf" srcId="{BFAE7B18-CC4C-4882-92CD-CB1C42AA85E2}" destId="{1B57603F-6D14-4EC3-B4E3-8B8E29F0AF82}" srcOrd="0" destOrd="0" presId="urn:microsoft.com/office/officeart/2005/8/layout/process1"/>
    <dgm:cxn modelId="{D3785A41-0666-42AA-A085-86197B48BEE1}" type="presOf" srcId="{2B811016-D430-4B4D-A4B9-C427EBB8C39C}" destId="{9632C60F-56BA-4ECD-9874-3EA13072391A}" srcOrd="1" destOrd="0" presId="urn:microsoft.com/office/officeart/2005/8/layout/process1"/>
    <dgm:cxn modelId="{D6D31E4B-B763-43C1-B18C-D856E14AEB3A}" type="presOf" srcId="{2B811016-D430-4B4D-A4B9-C427EBB8C39C}" destId="{CD543A52-B769-4817-BCDB-9E04D3B82E2C}" srcOrd="0" destOrd="0" presId="urn:microsoft.com/office/officeart/2005/8/layout/process1"/>
    <dgm:cxn modelId="{FE046E4E-61BA-44F2-A4D5-FA2909E1AA31}" type="presOf" srcId="{864DE107-B989-48AF-AB66-C74CF83D30CD}" destId="{599C6788-14AC-4886-BE98-CFABBA2B6CBC}"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D02A2377-64B2-4751-ACCD-1E55976F87EA}" type="presOf" srcId="{8512C525-B3B9-4BFC-8B81-ABE692BCA9B8}" destId="{DCDE361F-6528-4B2D-AA1C-75A98D9CF19B}" srcOrd="0" destOrd="0" presId="urn:microsoft.com/office/officeart/2005/8/layout/process1"/>
    <dgm:cxn modelId="{7DC01889-192D-489E-B9FB-33A4F3C9FB74}" type="presOf" srcId="{BFAE7B18-CC4C-4882-92CD-CB1C42AA85E2}" destId="{B75A6145-30F1-4A02-8241-CAFBD7613773}"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FC29B3B9-1373-4AF3-ADC0-CC0BAD2577FE}" type="presOf" srcId="{307DC733-853C-4BE3-A615-177512EFCA37}" destId="{5D437852-1E36-4551-AE22-3D21BF486FA9}" srcOrd="0" destOrd="0" presId="urn:microsoft.com/office/officeart/2005/8/layout/process1"/>
    <dgm:cxn modelId="{FDB4ABD6-8C46-43CB-BA9E-54055E36CDAA}" type="presOf" srcId="{FF69A2E3-845E-46C4-A44D-095FCDBB9884}" destId="{83AD4C98-81CD-4554-959F-68EE175480AA}" srcOrd="0" destOrd="0" presId="urn:microsoft.com/office/officeart/2005/8/layout/process1"/>
    <dgm:cxn modelId="{D68233DE-B339-467E-8CDF-1DBDB66BF41B}" type="presOf" srcId="{43157ED2-F950-497C-9847-E7E7C258E927}" destId="{B0DBBBA9-28F6-41E3-9EAE-867A084ADCC9}"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D019A6E5-2F81-4FDE-B0FC-835B7F16C970}" type="presOf" srcId="{FCB8ADF2-9891-4EC4-9F8D-3C62A4E3570B}" destId="{D0F3583B-5D16-45E2-90F3-D5928E8BAEEB}" srcOrd="0" destOrd="0" presId="urn:microsoft.com/office/officeart/2005/8/layout/process1"/>
    <dgm:cxn modelId="{13E02B61-0562-4CE4-8961-02DD3B58B6BC}" type="presParOf" srcId="{DCDE361F-6528-4B2D-AA1C-75A98D9CF19B}" destId="{D0F3583B-5D16-45E2-90F3-D5928E8BAEEB}" srcOrd="0" destOrd="0" presId="urn:microsoft.com/office/officeart/2005/8/layout/process1"/>
    <dgm:cxn modelId="{9C9C2D2D-D04A-446F-9CC6-3510470AE5B0}" type="presParOf" srcId="{DCDE361F-6528-4B2D-AA1C-75A98D9CF19B}" destId="{1B57603F-6D14-4EC3-B4E3-8B8E29F0AF82}" srcOrd="1" destOrd="0" presId="urn:microsoft.com/office/officeart/2005/8/layout/process1"/>
    <dgm:cxn modelId="{4FE78324-DD90-4328-ACD9-C5D73251D450}" type="presParOf" srcId="{1B57603F-6D14-4EC3-B4E3-8B8E29F0AF82}" destId="{B75A6145-30F1-4A02-8241-CAFBD7613773}" srcOrd="0" destOrd="0" presId="urn:microsoft.com/office/officeart/2005/8/layout/process1"/>
    <dgm:cxn modelId="{6D9D7CEC-A10E-4087-858F-2735EA19F2C8}" type="presParOf" srcId="{DCDE361F-6528-4B2D-AA1C-75A98D9CF19B}" destId="{5D437852-1E36-4551-AE22-3D21BF486FA9}" srcOrd="2" destOrd="0" presId="urn:microsoft.com/office/officeart/2005/8/layout/process1"/>
    <dgm:cxn modelId="{AF5EBD62-ECD2-4D19-81A3-6885638A4ABD}" type="presParOf" srcId="{DCDE361F-6528-4B2D-AA1C-75A98D9CF19B}" destId="{CD543A52-B769-4817-BCDB-9E04D3B82E2C}" srcOrd="3" destOrd="0" presId="urn:microsoft.com/office/officeart/2005/8/layout/process1"/>
    <dgm:cxn modelId="{F5A5A19A-0A8B-423B-9F68-5609346065DF}" type="presParOf" srcId="{CD543A52-B769-4817-BCDB-9E04D3B82E2C}" destId="{9632C60F-56BA-4ECD-9874-3EA13072391A}" srcOrd="0" destOrd="0" presId="urn:microsoft.com/office/officeart/2005/8/layout/process1"/>
    <dgm:cxn modelId="{2B370AD5-9D65-40E7-9564-A464C6FD40A5}" type="presParOf" srcId="{DCDE361F-6528-4B2D-AA1C-75A98D9CF19B}" destId="{599C6788-14AC-4886-BE98-CFABBA2B6CBC}" srcOrd="4" destOrd="0" presId="urn:microsoft.com/office/officeart/2005/8/layout/process1"/>
    <dgm:cxn modelId="{A270DD56-506A-4FF3-A52F-F461E9D70648}" type="presParOf" srcId="{DCDE361F-6528-4B2D-AA1C-75A98D9CF19B}" destId="{EBA8B8BB-8B80-463D-B5C0-9886029E31EB}" srcOrd="5" destOrd="0" presId="urn:microsoft.com/office/officeart/2005/8/layout/process1"/>
    <dgm:cxn modelId="{00E407CA-1F3F-4819-B761-4E11B90DCE57}" type="presParOf" srcId="{EBA8B8BB-8B80-463D-B5C0-9886029E31EB}" destId="{B0DBBBA9-28F6-41E3-9EAE-867A084ADCC9}" srcOrd="0" destOrd="0" presId="urn:microsoft.com/office/officeart/2005/8/layout/process1"/>
    <dgm:cxn modelId="{0C865380-FDB7-40A4-837A-CEC172C3522B}"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0E8C8F01-6C1F-4D2F-A067-C432CAD4C2BF}" type="presOf" srcId="{FCB8ADF2-9891-4EC4-9F8D-3C62A4E3570B}" destId="{D0F3583B-5D16-45E2-90F3-D5928E8BAEEB}" srcOrd="0" destOrd="0" presId="urn:microsoft.com/office/officeart/2005/8/layout/process1"/>
    <dgm:cxn modelId="{F2091F12-3FA6-44A4-A0AF-6BD94E716F7F}" srcId="{8512C525-B3B9-4BFC-8B81-ABE692BCA9B8}" destId="{FF69A2E3-845E-46C4-A44D-095FCDBB9884}" srcOrd="3" destOrd="0" parTransId="{AA2F6CE7-2625-474F-A32C-D9904691862A}" sibTransId="{74AAD7C8-3820-4FAB-BE39-C04917F7E661}"/>
    <dgm:cxn modelId="{B05F501A-26F7-4A0C-87C1-444939521F4B}" type="presOf" srcId="{2B811016-D430-4B4D-A4B9-C427EBB8C39C}" destId="{CD543A52-B769-4817-BCDB-9E04D3B82E2C}" srcOrd="0" destOrd="0" presId="urn:microsoft.com/office/officeart/2005/8/layout/process1"/>
    <dgm:cxn modelId="{A28EBB1E-7026-4E9D-9A03-BB5BC6E0F4E1}" type="presOf" srcId="{2B811016-D430-4B4D-A4B9-C427EBB8C39C}" destId="{9632C60F-56BA-4ECD-9874-3EA13072391A}" srcOrd="1" destOrd="0" presId="urn:microsoft.com/office/officeart/2005/8/layout/process1"/>
    <dgm:cxn modelId="{EB63CF21-6FFF-4A16-995F-67B0ABF77797}" type="presOf" srcId="{864DE107-B989-48AF-AB66-C74CF83D30CD}" destId="{599C6788-14AC-4886-BE98-CFABBA2B6CBC}" srcOrd="0" destOrd="0" presId="urn:microsoft.com/office/officeart/2005/8/layout/process1"/>
    <dgm:cxn modelId="{D7F39D70-33AC-4182-B37A-8C7729CECA79}" type="presOf" srcId="{307DC733-853C-4BE3-A615-177512EFCA37}" destId="{5D437852-1E36-4551-AE22-3D21BF486FA9}"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D6BEC180-B29A-47F5-9BC9-3CE2B2EE7B10}" type="presOf" srcId="{43157ED2-F950-497C-9847-E7E7C258E927}" destId="{B0DBBBA9-28F6-41E3-9EAE-867A084ADCC9}" srcOrd="1"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E02B8293-E8BC-45E9-B727-740D469E2904}" type="presOf" srcId="{8512C525-B3B9-4BFC-8B81-ABE692BCA9B8}" destId="{DCDE361F-6528-4B2D-AA1C-75A98D9CF19B}" srcOrd="0" destOrd="0" presId="urn:microsoft.com/office/officeart/2005/8/layout/process1"/>
    <dgm:cxn modelId="{3EF1CDAB-86D8-4E41-ADFE-136FDF2B4581}" type="presOf" srcId="{BFAE7B18-CC4C-4882-92CD-CB1C42AA85E2}" destId="{B75A6145-30F1-4A02-8241-CAFBD7613773}" srcOrd="1" destOrd="0" presId="urn:microsoft.com/office/officeart/2005/8/layout/process1"/>
    <dgm:cxn modelId="{9BAA01AD-AAA7-4798-84D2-3D35F5D8F9D1}" type="presOf" srcId="{BFAE7B18-CC4C-4882-92CD-CB1C42AA85E2}" destId="{1B57603F-6D14-4EC3-B4E3-8B8E29F0AF82}" srcOrd="0"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6B71B3E8-5DA8-4CD4-8C8B-D3961213ACA1}" type="presOf" srcId="{FF69A2E3-845E-46C4-A44D-095FCDBB9884}" destId="{83AD4C98-81CD-4554-959F-68EE175480AA}" srcOrd="0" destOrd="0" presId="urn:microsoft.com/office/officeart/2005/8/layout/process1"/>
    <dgm:cxn modelId="{383F81FF-34B1-4D23-9052-C31232B683E5}" type="presOf" srcId="{43157ED2-F950-497C-9847-E7E7C258E927}" destId="{EBA8B8BB-8B80-463D-B5C0-9886029E31EB}" srcOrd="0" destOrd="0" presId="urn:microsoft.com/office/officeart/2005/8/layout/process1"/>
    <dgm:cxn modelId="{82212ACD-1AC6-4128-BD10-E35AF2E1DEE9}" type="presParOf" srcId="{DCDE361F-6528-4B2D-AA1C-75A98D9CF19B}" destId="{D0F3583B-5D16-45E2-90F3-D5928E8BAEEB}" srcOrd="0" destOrd="0" presId="urn:microsoft.com/office/officeart/2005/8/layout/process1"/>
    <dgm:cxn modelId="{0F8E45CB-EA40-4110-BE25-A9E8B7C6928E}" type="presParOf" srcId="{DCDE361F-6528-4B2D-AA1C-75A98D9CF19B}" destId="{1B57603F-6D14-4EC3-B4E3-8B8E29F0AF82}" srcOrd="1" destOrd="0" presId="urn:microsoft.com/office/officeart/2005/8/layout/process1"/>
    <dgm:cxn modelId="{C895927D-E093-4544-80BF-F60FE3443DA7}" type="presParOf" srcId="{1B57603F-6D14-4EC3-B4E3-8B8E29F0AF82}" destId="{B75A6145-30F1-4A02-8241-CAFBD7613773}" srcOrd="0" destOrd="0" presId="urn:microsoft.com/office/officeart/2005/8/layout/process1"/>
    <dgm:cxn modelId="{99040FF8-A98B-405F-ADE9-70A8217B30A1}" type="presParOf" srcId="{DCDE361F-6528-4B2D-AA1C-75A98D9CF19B}" destId="{5D437852-1E36-4551-AE22-3D21BF486FA9}" srcOrd="2" destOrd="0" presId="urn:microsoft.com/office/officeart/2005/8/layout/process1"/>
    <dgm:cxn modelId="{77ED2E3A-E758-4137-B01E-ADFE7E21A0EF}" type="presParOf" srcId="{DCDE361F-6528-4B2D-AA1C-75A98D9CF19B}" destId="{CD543A52-B769-4817-BCDB-9E04D3B82E2C}" srcOrd="3" destOrd="0" presId="urn:microsoft.com/office/officeart/2005/8/layout/process1"/>
    <dgm:cxn modelId="{0310E8FB-A3DB-4DD2-B9C0-3EE053F332B2}" type="presParOf" srcId="{CD543A52-B769-4817-BCDB-9E04D3B82E2C}" destId="{9632C60F-56BA-4ECD-9874-3EA13072391A}" srcOrd="0" destOrd="0" presId="urn:microsoft.com/office/officeart/2005/8/layout/process1"/>
    <dgm:cxn modelId="{9BF70DC2-B4F4-458E-8440-0314B00B96DF}" type="presParOf" srcId="{DCDE361F-6528-4B2D-AA1C-75A98D9CF19B}" destId="{599C6788-14AC-4886-BE98-CFABBA2B6CBC}" srcOrd="4" destOrd="0" presId="urn:microsoft.com/office/officeart/2005/8/layout/process1"/>
    <dgm:cxn modelId="{018907E9-5D60-4E91-BF44-0B93FDC6B548}" type="presParOf" srcId="{DCDE361F-6528-4B2D-AA1C-75A98D9CF19B}" destId="{EBA8B8BB-8B80-463D-B5C0-9886029E31EB}" srcOrd="5" destOrd="0" presId="urn:microsoft.com/office/officeart/2005/8/layout/process1"/>
    <dgm:cxn modelId="{15922466-D696-47A7-907E-F35746223CF9}" type="presParOf" srcId="{EBA8B8BB-8B80-463D-B5C0-9886029E31EB}" destId="{B0DBBBA9-28F6-41E3-9EAE-867A084ADCC9}" srcOrd="0" destOrd="0" presId="urn:microsoft.com/office/officeart/2005/8/layout/process1"/>
    <dgm:cxn modelId="{3AE9C5BC-EC7A-4752-AC4E-7043A869BA32}"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85A991E6-A888-4FA6-BB62-9AA2273CD467}" type="doc">
      <dgm:prSet loTypeId="urn:microsoft.com/office/officeart/2005/8/layout/hierarchy1" loCatId="hierarchy" qsTypeId="urn:microsoft.com/office/officeart/2005/8/quickstyle/simple3" qsCatId="simple" csTypeId="urn:microsoft.com/office/officeart/2005/8/colors/colorful3" csCatId="colorful" phldr="1"/>
      <dgm:spPr/>
      <dgm:t>
        <a:bodyPr/>
        <a:lstStyle/>
        <a:p>
          <a:endParaRPr lang="fr-FR"/>
        </a:p>
      </dgm:t>
    </dgm:pt>
    <dgm:pt modelId="{57DB4E9D-2B98-48CA-8307-81A5EF527E83}">
      <dgm:prSet phldrT="[Texte]"/>
      <dgm:spPr/>
      <dgm:t>
        <a:bodyPr/>
        <a:lstStyle/>
        <a:p>
          <a:r>
            <a:rPr lang="fr-FR"/>
            <a:t>Direction Supply chain</a:t>
          </a:r>
        </a:p>
      </dgm:t>
    </dgm:pt>
    <dgm:pt modelId="{8EBB9F89-BC70-4A09-B26A-6C4CF84D6DFE}" type="parTrans" cxnId="{7960EFF5-F1A0-4A75-AC0C-FCCEA9F76BA5}">
      <dgm:prSet/>
      <dgm:spPr/>
      <dgm:t>
        <a:bodyPr/>
        <a:lstStyle/>
        <a:p>
          <a:endParaRPr lang="fr-FR"/>
        </a:p>
      </dgm:t>
    </dgm:pt>
    <dgm:pt modelId="{91769034-2C6C-4D8C-BBFA-B951D14EBEDD}" type="sibTrans" cxnId="{7960EFF5-F1A0-4A75-AC0C-FCCEA9F76BA5}">
      <dgm:prSet/>
      <dgm:spPr/>
      <dgm:t>
        <a:bodyPr/>
        <a:lstStyle/>
        <a:p>
          <a:endParaRPr lang="fr-FR"/>
        </a:p>
      </dgm:t>
    </dgm:pt>
    <dgm:pt modelId="{BD765BA0-F61D-4FB2-889B-3E0AE04C7045}">
      <dgm:prSet phldrT="[Texte]" custT="1"/>
      <dgm:spPr>
        <a:solidFill>
          <a:schemeClr val="tx2">
            <a:lumMod val="40000"/>
            <a:lumOff val="60000"/>
            <a:alpha val="90000"/>
          </a:schemeClr>
        </a:solidFill>
      </dgm:spPr>
      <dgm:t>
        <a:bodyPr/>
        <a:lstStyle/>
        <a:p>
          <a:r>
            <a:rPr lang="fr-FR" sz="1600" b="1"/>
            <a:t>Achats</a:t>
          </a:r>
          <a:r>
            <a:rPr lang="fr-FR" sz="1600"/>
            <a:t> </a:t>
          </a:r>
          <a:r>
            <a:rPr lang="fr-FR"/>
            <a:t> </a:t>
          </a:r>
          <a:endParaRPr lang="fr-FR" sz="1600"/>
        </a:p>
      </dgm:t>
    </dgm:pt>
    <dgm:pt modelId="{F107B22C-4E89-42C2-9F64-BAB819797964}" type="parTrans" cxnId="{69FFFAB8-6888-40B9-AC1E-6FF51C02C909}">
      <dgm:prSet/>
      <dgm:spPr/>
      <dgm:t>
        <a:bodyPr/>
        <a:lstStyle/>
        <a:p>
          <a:endParaRPr lang="fr-FR"/>
        </a:p>
      </dgm:t>
    </dgm:pt>
    <dgm:pt modelId="{FDB79148-3339-4884-9F5B-DF3E3145EEAB}" type="sibTrans" cxnId="{69FFFAB8-6888-40B9-AC1E-6FF51C02C909}">
      <dgm:prSet/>
      <dgm:spPr/>
      <dgm:t>
        <a:bodyPr/>
        <a:lstStyle/>
        <a:p>
          <a:endParaRPr lang="fr-FR"/>
        </a:p>
      </dgm:t>
    </dgm:pt>
    <dgm:pt modelId="{D00BC27E-25BA-47CF-BD9C-DCADAD63F4E5}">
      <dgm:prSet phldrT="[Texte]"/>
      <dgm:spPr/>
      <dgm:t>
        <a:bodyPr/>
        <a:lstStyle/>
        <a:p>
          <a:r>
            <a:rPr lang="fr-FR"/>
            <a:t>Customer service </a:t>
          </a:r>
        </a:p>
      </dgm:t>
    </dgm:pt>
    <dgm:pt modelId="{5CBA0153-9894-4A4B-BFAD-CC5D72403EAE}" type="parTrans" cxnId="{95B2841E-EBA2-403F-81DD-77306FEB62E3}">
      <dgm:prSet/>
      <dgm:spPr/>
      <dgm:t>
        <a:bodyPr/>
        <a:lstStyle/>
        <a:p>
          <a:endParaRPr lang="fr-FR"/>
        </a:p>
      </dgm:t>
    </dgm:pt>
    <dgm:pt modelId="{E5AE2E4E-33F6-48BA-A997-44FAF94E78B4}" type="sibTrans" cxnId="{95B2841E-EBA2-403F-81DD-77306FEB62E3}">
      <dgm:prSet/>
      <dgm:spPr/>
      <dgm:t>
        <a:bodyPr/>
        <a:lstStyle/>
        <a:p>
          <a:endParaRPr lang="fr-FR"/>
        </a:p>
      </dgm:t>
    </dgm:pt>
    <dgm:pt modelId="{11527A22-34C2-4A4F-A4AE-B6020B29B356}">
      <dgm:prSet phldrT="[Texte]"/>
      <dgm:spPr/>
      <dgm:t>
        <a:bodyPr/>
        <a:lstStyle/>
        <a:p>
          <a:r>
            <a:rPr lang="fr-FR"/>
            <a:t>DSP</a:t>
          </a:r>
        </a:p>
      </dgm:t>
    </dgm:pt>
    <dgm:pt modelId="{F1CA4543-F912-4404-8D99-D4002DDB82F1}" type="parTrans" cxnId="{213823DD-5FC9-405C-A0E7-F762AAC30330}">
      <dgm:prSet/>
      <dgm:spPr/>
      <dgm:t>
        <a:bodyPr/>
        <a:lstStyle/>
        <a:p>
          <a:endParaRPr lang="fr-FR"/>
        </a:p>
      </dgm:t>
    </dgm:pt>
    <dgm:pt modelId="{58967336-7766-4226-86A8-C3790E012ED2}" type="sibTrans" cxnId="{213823DD-5FC9-405C-A0E7-F762AAC30330}">
      <dgm:prSet/>
      <dgm:spPr/>
      <dgm:t>
        <a:bodyPr/>
        <a:lstStyle/>
        <a:p>
          <a:endParaRPr lang="fr-FR"/>
        </a:p>
      </dgm:t>
    </dgm:pt>
    <dgm:pt modelId="{421019DF-5255-48E4-8BA8-0087473F041A}">
      <dgm:prSet phldrT="[Texte]"/>
      <dgm:spPr/>
      <dgm:t>
        <a:bodyPr/>
        <a:lstStyle/>
        <a:p>
          <a:r>
            <a:rPr lang="fr-FR"/>
            <a:t>MH : magasin</a:t>
          </a:r>
        </a:p>
      </dgm:t>
    </dgm:pt>
    <dgm:pt modelId="{B7DBF3AD-3A83-4778-BEA5-C886084027A2}" type="parTrans" cxnId="{EACE003F-2837-4353-9602-9881BE06CCB3}">
      <dgm:prSet/>
      <dgm:spPr/>
      <dgm:t>
        <a:bodyPr/>
        <a:lstStyle/>
        <a:p>
          <a:endParaRPr lang="fr-FR"/>
        </a:p>
      </dgm:t>
    </dgm:pt>
    <dgm:pt modelId="{0DA318D1-A46A-4045-8CD0-3233B835D1FE}" type="sibTrans" cxnId="{EACE003F-2837-4353-9602-9881BE06CCB3}">
      <dgm:prSet/>
      <dgm:spPr/>
      <dgm:t>
        <a:bodyPr/>
        <a:lstStyle/>
        <a:p>
          <a:endParaRPr lang="fr-FR"/>
        </a:p>
      </dgm:t>
    </dgm:pt>
    <dgm:pt modelId="{7F922A42-96A8-4FDF-8E28-2703B5D74414}" type="pres">
      <dgm:prSet presAssocID="{85A991E6-A888-4FA6-BB62-9AA2273CD467}" presName="hierChild1" presStyleCnt="0">
        <dgm:presLayoutVars>
          <dgm:chPref val="1"/>
          <dgm:dir/>
          <dgm:animOne val="branch"/>
          <dgm:animLvl val="lvl"/>
          <dgm:resizeHandles/>
        </dgm:presLayoutVars>
      </dgm:prSet>
      <dgm:spPr/>
    </dgm:pt>
    <dgm:pt modelId="{3C31FBE5-5338-4B9A-AE4C-9078E62C797E}" type="pres">
      <dgm:prSet presAssocID="{57DB4E9D-2B98-48CA-8307-81A5EF527E83}" presName="hierRoot1" presStyleCnt="0"/>
      <dgm:spPr/>
    </dgm:pt>
    <dgm:pt modelId="{11D501E6-551B-4337-A3D5-9C2192B2D19D}" type="pres">
      <dgm:prSet presAssocID="{57DB4E9D-2B98-48CA-8307-81A5EF527E83}" presName="composite" presStyleCnt="0"/>
      <dgm:spPr/>
    </dgm:pt>
    <dgm:pt modelId="{BE240A12-1EEB-4E2F-B28D-ED92EE131A1A}" type="pres">
      <dgm:prSet presAssocID="{57DB4E9D-2B98-48CA-8307-81A5EF527E83}" presName="background" presStyleLbl="node0" presStyleIdx="0" presStyleCnt="1"/>
      <dgm:spPr/>
    </dgm:pt>
    <dgm:pt modelId="{8C8EA699-FDA8-4570-A96E-01ED164F2E95}" type="pres">
      <dgm:prSet presAssocID="{57DB4E9D-2B98-48CA-8307-81A5EF527E83}" presName="text" presStyleLbl="fgAcc0" presStyleIdx="0" presStyleCnt="1">
        <dgm:presLayoutVars>
          <dgm:chPref val="3"/>
        </dgm:presLayoutVars>
      </dgm:prSet>
      <dgm:spPr/>
    </dgm:pt>
    <dgm:pt modelId="{7D397345-374D-431F-89F1-7B7AD86261D8}" type="pres">
      <dgm:prSet presAssocID="{57DB4E9D-2B98-48CA-8307-81A5EF527E83}" presName="hierChild2" presStyleCnt="0"/>
      <dgm:spPr/>
    </dgm:pt>
    <dgm:pt modelId="{D827DB7D-9512-49A0-A4F1-CAC6166ED106}" type="pres">
      <dgm:prSet presAssocID="{F107B22C-4E89-42C2-9F64-BAB819797964}" presName="Name10" presStyleLbl="parChTrans1D2" presStyleIdx="0" presStyleCnt="3"/>
      <dgm:spPr/>
    </dgm:pt>
    <dgm:pt modelId="{40ABA8DE-A5DD-4424-B5A2-B4A30B5CDF1B}" type="pres">
      <dgm:prSet presAssocID="{BD765BA0-F61D-4FB2-889B-3E0AE04C7045}" presName="hierRoot2" presStyleCnt="0"/>
      <dgm:spPr/>
    </dgm:pt>
    <dgm:pt modelId="{BA116349-CFB6-4A54-963E-DAB67B7961A8}" type="pres">
      <dgm:prSet presAssocID="{BD765BA0-F61D-4FB2-889B-3E0AE04C7045}" presName="composite2" presStyleCnt="0"/>
      <dgm:spPr/>
    </dgm:pt>
    <dgm:pt modelId="{484B539A-5815-4AF6-A813-9D127296EE87}" type="pres">
      <dgm:prSet presAssocID="{BD765BA0-F61D-4FB2-889B-3E0AE04C7045}" presName="background2" presStyleLbl="node2" presStyleIdx="0" presStyleCnt="3"/>
      <dgm:spPr/>
    </dgm:pt>
    <dgm:pt modelId="{DA7254BB-EB4C-4D40-8069-74720AC092F1}" type="pres">
      <dgm:prSet presAssocID="{BD765BA0-F61D-4FB2-889B-3E0AE04C7045}" presName="text2" presStyleLbl="fgAcc2" presStyleIdx="0" presStyleCnt="3">
        <dgm:presLayoutVars>
          <dgm:chPref val="3"/>
        </dgm:presLayoutVars>
      </dgm:prSet>
      <dgm:spPr/>
    </dgm:pt>
    <dgm:pt modelId="{303285B3-3228-4A26-8A8D-9B9D1E995896}" type="pres">
      <dgm:prSet presAssocID="{BD765BA0-F61D-4FB2-889B-3E0AE04C7045}" presName="hierChild3" presStyleCnt="0"/>
      <dgm:spPr/>
    </dgm:pt>
    <dgm:pt modelId="{C8C905ED-A4E7-4BE1-9AB6-4765321BB6D3}" type="pres">
      <dgm:prSet presAssocID="{5CBA0153-9894-4A4B-BFAD-CC5D72403EAE}" presName="Name10" presStyleLbl="parChTrans1D2" presStyleIdx="1" presStyleCnt="3"/>
      <dgm:spPr/>
    </dgm:pt>
    <dgm:pt modelId="{FFAE7A82-95ED-4136-83FA-53F4D12554C9}" type="pres">
      <dgm:prSet presAssocID="{D00BC27E-25BA-47CF-BD9C-DCADAD63F4E5}" presName="hierRoot2" presStyleCnt="0"/>
      <dgm:spPr/>
    </dgm:pt>
    <dgm:pt modelId="{2D25CDAD-01DB-484D-BCD0-B042181129C1}" type="pres">
      <dgm:prSet presAssocID="{D00BC27E-25BA-47CF-BD9C-DCADAD63F4E5}" presName="composite2" presStyleCnt="0"/>
      <dgm:spPr/>
    </dgm:pt>
    <dgm:pt modelId="{1ED3599B-555A-4214-B7CF-0195D8CFD821}" type="pres">
      <dgm:prSet presAssocID="{D00BC27E-25BA-47CF-BD9C-DCADAD63F4E5}" presName="background2" presStyleLbl="node2" presStyleIdx="1" presStyleCnt="3"/>
      <dgm:spPr/>
    </dgm:pt>
    <dgm:pt modelId="{2781FE7E-C08B-49A4-B3EB-AC3AA17196B1}" type="pres">
      <dgm:prSet presAssocID="{D00BC27E-25BA-47CF-BD9C-DCADAD63F4E5}" presName="text2" presStyleLbl="fgAcc2" presStyleIdx="1" presStyleCnt="3">
        <dgm:presLayoutVars>
          <dgm:chPref val="3"/>
        </dgm:presLayoutVars>
      </dgm:prSet>
      <dgm:spPr/>
    </dgm:pt>
    <dgm:pt modelId="{C07E185A-0233-4C67-912E-60CF15C3957C}" type="pres">
      <dgm:prSet presAssocID="{D00BC27E-25BA-47CF-BD9C-DCADAD63F4E5}" presName="hierChild3" presStyleCnt="0"/>
      <dgm:spPr/>
    </dgm:pt>
    <dgm:pt modelId="{884A887D-B66C-4D5F-BFC6-7B4647D31722}" type="pres">
      <dgm:prSet presAssocID="{B7DBF3AD-3A83-4778-BEA5-C886084027A2}" presName="Name17" presStyleLbl="parChTrans1D3" presStyleIdx="0" presStyleCnt="1"/>
      <dgm:spPr/>
    </dgm:pt>
    <dgm:pt modelId="{7D45B2D3-FB39-497E-84FA-92A9F4E3D447}" type="pres">
      <dgm:prSet presAssocID="{421019DF-5255-48E4-8BA8-0087473F041A}" presName="hierRoot3" presStyleCnt="0"/>
      <dgm:spPr/>
    </dgm:pt>
    <dgm:pt modelId="{F2F5141E-8CB9-4E1A-804F-F9DDD27262C5}" type="pres">
      <dgm:prSet presAssocID="{421019DF-5255-48E4-8BA8-0087473F041A}" presName="composite3" presStyleCnt="0"/>
      <dgm:spPr/>
    </dgm:pt>
    <dgm:pt modelId="{68C67D5E-D57E-496E-B7DC-770BEA946861}" type="pres">
      <dgm:prSet presAssocID="{421019DF-5255-48E4-8BA8-0087473F041A}" presName="background3" presStyleLbl="node3" presStyleIdx="0" presStyleCnt="1"/>
      <dgm:spPr/>
    </dgm:pt>
    <dgm:pt modelId="{07947E86-EF90-4A6C-A3C3-BA2E4F8BE810}" type="pres">
      <dgm:prSet presAssocID="{421019DF-5255-48E4-8BA8-0087473F041A}" presName="text3" presStyleLbl="fgAcc3" presStyleIdx="0" presStyleCnt="1">
        <dgm:presLayoutVars>
          <dgm:chPref val="3"/>
        </dgm:presLayoutVars>
      </dgm:prSet>
      <dgm:spPr/>
    </dgm:pt>
    <dgm:pt modelId="{3071A10F-C9DB-4CC9-AA9F-3A1D9B341B29}" type="pres">
      <dgm:prSet presAssocID="{421019DF-5255-48E4-8BA8-0087473F041A}" presName="hierChild4" presStyleCnt="0"/>
      <dgm:spPr/>
    </dgm:pt>
    <dgm:pt modelId="{35CC34C0-BB0D-4B63-B826-76F1420454B3}" type="pres">
      <dgm:prSet presAssocID="{F1CA4543-F912-4404-8D99-D4002DDB82F1}" presName="Name10" presStyleLbl="parChTrans1D2" presStyleIdx="2" presStyleCnt="3"/>
      <dgm:spPr/>
    </dgm:pt>
    <dgm:pt modelId="{3F143E3B-CF50-4414-8377-72EFCCD81820}" type="pres">
      <dgm:prSet presAssocID="{11527A22-34C2-4A4F-A4AE-B6020B29B356}" presName="hierRoot2" presStyleCnt="0"/>
      <dgm:spPr/>
    </dgm:pt>
    <dgm:pt modelId="{DDC15EB4-5DAB-4DF4-8B9A-91832663298D}" type="pres">
      <dgm:prSet presAssocID="{11527A22-34C2-4A4F-A4AE-B6020B29B356}" presName="composite2" presStyleCnt="0"/>
      <dgm:spPr/>
    </dgm:pt>
    <dgm:pt modelId="{20E97F04-073E-4DB6-8D34-A323E7CB0644}" type="pres">
      <dgm:prSet presAssocID="{11527A22-34C2-4A4F-A4AE-B6020B29B356}" presName="background2" presStyleLbl="node2" presStyleIdx="2" presStyleCnt="3"/>
      <dgm:spPr/>
    </dgm:pt>
    <dgm:pt modelId="{101E1A25-907F-463D-B0C7-611DF7505D95}" type="pres">
      <dgm:prSet presAssocID="{11527A22-34C2-4A4F-A4AE-B6020B29B356}" presName="text2" presStyleLbl="fgAcc2" presStyleIdx="2" presStyleCnt="3">
        <dgm:presLayoutVars>
          <dgm:chPref val="3"/>
        </dgm:presLayoutVars>
      </dgm:prSet>
      <dgm:spPr/>
    </dgm:pt>
    <dgm:pt modelId="{5A07C02F-0F4E-4B66-9EF7-87AA380D09B8}" type="pres">
      <dgm:prSet presAssocID="{11527A22-34C2-4A4F-A4AE-B6020B29B356}" presName="hierChild3" presStyleCnt="0"/>
      <dgm:spPr/>
    </dgm:pt>
  </dgm:ptLst>
  <dgm:cxnLst>
    <dgm:cxn modelId="{A75BED01-F185-4EAF-A326-4244137D4517}" type="presOf" srcId="{85A991E6-A888-4FA6-BB62-9AA2273CD467}" destId="{7F922A42-96A8-4FDF-8E28-2703B5D74414}" srcOrd="0" destOrd="0" presId="urn:microsoft.com/office/officeart/2005/8/layout/hierarchy1"/>
    <dgm:cxn modelId="{95B2841E-EBA2-403F-81DD-77306FEB62E3}" srcId="{57DB4E9D-2B98-48CA-8307-81A5EF527E83}" destId="{D00BC27E-25BA-47CF-BD9C-DCADAD63F4E5}" srcOrd="1" destOrd="0" parTransId="{5CBA0153-9894-4A4B-BFAD-CC5D72403EAE}" sibTransId="{E5AE2E4E-33F6-48BA-A997-44FAF94E78B4}"/>
    <dgm:cxn modelId="{5D85CC3E-F949-4CA9-B045-EF08DE65E356}" type="presOf" srcId="{11527A22-34C2-4A4F-A4AE-B6020B29B356}" destId="{101E1A25-907F-463D-B0C7-611DF7505D95}" srcOrd="0" destOrd="0" presId="urn:microsoft.com/office/officeart/2005/8/layout/hierarchy1"/>
    <dgm:cxn modelId="{EACE003F-2837-4353-9602-9881BE06CCB3}" srcId="{D00BC27E-25BA-47CF-BD9C-DCADAD63F4E5}" destId="{421019DF-5255-48E4-8BA8-0087473F041A}" srcOrd="0" destOrd="0" parTransId="{B7DBF3AD-3A83-4778-BEA5-C886084027A2}" sibTransId="{0DA318D1-A46A-4045-8CD0-3233B835D1FE}"/>
    <dgm:cxn modelId="{554CA14D-3EAA-4887-83A4-CC2701745C3F}" type="presOf" srcId="{B7DBF3AD-3A83-4778-BEA5-C886084027A2}" destId="{884A887D-B66C-4D5F-BFC6-7B4647D31722}" srcOrd="0" destOrd="0" presId="urn:microsoft.com/office/officeart/2005/8/layout/hierarchy1"/>
    <dgm:cxn modelId="{8A12217F-FB28-4D43-86AE-AE1F9E77723D}" type="presOf" srcId="{421019DF-5255-48E4-8BA8-0087473F041A}" destId="{07947E86-EF90-4A6C-A3C3-BA2E4F8BE810}" srcOrd="0" destOrd="0" presId="urn:microsoft.com/office/officeart/2005/8/layout/hierarchy1"/>
    <dgm:cxn modelId="{F734EDAA-F5CD-420D-BA9A-C0BE879CFCA5}" type="presOf" srcId="{F1CA4543-F912-4404-8D99-D4002DDB82F1}" destId="{35CC34C0-BB0D-4B63-B826-76F1420454B3}" srcOrd="0" destOrd="0" presId="urn:microsoft.com/office/officeart/2005/8/layout/hierarchy1"/>
    <dgm:cxn modelId="{241E76B0-9A73-44FF-B449-7F09BA74058E}" type="presOf" srcId="{F107B22C-4E89-42C2-9F64-BAB819797964}" destId="{D827DB7D-9512-49A0-A4F1-CAC6166ED106}" srcOrd="0" destOrd="0" presId="urn:microsoft.com/office/officeart/2005/8/layout/hierarchy1"/>
    <dgm:cxn modelId="{69FFFAB8-6888-40B9-AC1E-6FF51C02C909}" srcId="{57DB4E9D-2B98-48CA-8307-81A5EF527E83}" destId="{BD765BA0-F61D-4FB2-889B-3E0AE04C7045}" srcOrd="0" destOrd="0" parTransId="{F107B22C-4E89-42C2-9F64-BAB819797964}" sibTransId="{FDB79148-3339-4884-9F5B-DF3E3145EEAB}"/>
    <dgm:cxn modelId="{9C74F0DA-7128-47D3-96C0-2CC90A124227}" type="presOf" srcId="{D00BC27E-25BA-47CF-BD9C-DCADAD63F4E5}" destId="{2781FE7E-C08B-49A4-B3EB-AC3AA17196B1}" srcOrd="0" destOrd="0" presId="urn:microsoft.com/office/officeart/2005/8/layout/hierarchy1"/>
    <dgm:cxn modelId="{213823DD-5FC9-405C-A0E7-F762AAC30330}" srcId="{57DB4E9D-2B98-48CA-8307-81A5EF527E83}" destId="{11527A22-34C2-4A4F-A4AE-B6020B29B356}" srcOrd="2" destOrd="0" parTransId="{F1CA4543-F912-4404-8D99-D4002DDB82F1}" sibTransId="{58967336-7766-4226-86A8-C3790E012ED2}"/>
    <dgm:cxn modelId="{530CF8E4-54B7-4D01-8253-67FA85F91B66}" type="presOf" srcId="{57DB4E9D-2B98-48CA-8307-81A5EF527E83}" destId="{8C8EA699-FDA8-4570-A96E-01ED164F2E95}" srcOrd="0" destOrd="0" presId="urn:microsoft.com/office/officeart/2005/8/layout/hierarchy1"/>
    <dgm:cxn modelId="{DF589DEB-BC8B-4B4A-AB74-0C56F2BA6A7B}" type="presOf" srcId="{5CBA0153-9894-4A4B-BFAD-CC5D72403EAE}" destId="{C8C905ED-A4E7-4BE1-9AB6-4765321BB6D3}" srcOrd="0" destOrd="0" presId="urn:microsoft.com/office/officeart/2005/8/layout/hierarchy1"/>
    <dgm:cxn modelId="{7960EFF5-F1A0-4A75-AC0C-FCCEA9F76BA5}" srcId="{85A991E6-A888-4FA6-BB62-9AA2273CD467}" destId="{57DB4E9D-2B98-48CA-8307-81A5EF527E83}" srcOrd="0" destOrd="0" parTransId="{8EBB9F89-BC70-4A09-B26A-6C4CF84D6DFE}" sibTransId="{91769034-2C6C-4D8C-BBFA-B951D14EBEDD}"/>
    <dgm:cxn modelId="{F182D1F6-74D8-4314-9504-856FC688461C}" type="presOf" srcId="{BD765BA0-F61D-4FB2-889B-3E0AE04C7045}" destId="{DA7254BB-EB4C-4D40-8069-74720AC092F1}" srcOrd="0" destOrd="0" presId="urn:microsoft.com/office/officeart/2005/8/layout/hierarchy1"/>
    <dgm:cxn modelId="{A368B641-18BA-498B-960A-7459E9CEE48E}" type="presParOf" srcId="{7F922A42-96A8-4FDF-8E28-2703B5D74414}" destId="{3C31FBE5-5338-4B9A-AE4C-9078E62C797E}" srcOrd="0" destOrd="0" presId="urn:microsoft.com/office/officeart/2005/8/layout/hierarchy1"/>
    <dgm:cxn modelId="{E3298FA1-421F-4E95-8111-48FC9DEB6BB5}" type="presParOf" srcId="{3C31FBE5-5338-4B9A-AE4C-9078E62C797E}" destId="{11D501E6-551B-4337-A3D5-9C2192B2D19D}" srcOrd="0" destOrd="0" presId="urn:microsoft.com/office/officeart/2005/8/layout/hierarchy1"/>
    <dgm:cxn modelId="{9EB6DBC2-7897-4ED5-935F-3576F001DB9C}" type="presParOf" srcId="{11D501E6-551B-4337-A3D5-9C2192B2D19D}" destId="{BE240A12-1EEB-4E2F-B28D-ED92EE131A1A}" srcOrd="0" destOrd="0" presId="urn:microsoft.com/office/officeart/2005/8/layout/hierarchy1"/>
    <dgm:cxn modelId="{07BE192B-4A11-4ADA-9652-09D28C88FB45}" type="presParOf" srcId="{11D501E6-551B-4337-A3D5-9C2192B2D19D}" destId="{8C8EA699-FDA8-4570-A96E-01ED164F2E95}" srcOrd="1" destOrd="0" presId="urn:microsoft.com/office/officeart/2005/8/layout/hierarchy1"/>
    <dgm:cxn modelId="{B0D72191-1047-4282-B86B-8566FB10B192}" type="presParOf" srcId="{3C31FBE5-5338-4B9A-AE4C-9078E62C797E}" destId="{7D397345-374D-431F-89F1-7B7AD86261D8}" srcOrd="1" destOrd="0" presId="urn:microsoft.com/office/officeart/2005/8/layout/hierarchy1"/>
    <dgm:cxn modelId="{46091A7A-F236-44BD-AECD-BEF5C10423AB}" type="presParOf" srcId="{7D397345-374D-431F-89F1-7B7AD86261D8}" destId="{D827DB7D-9512-49A0-A4F1-CAC6166ED106}" srcOrd="0" destOrd="0" presId="urn:microsoft.com/office/officeart/2005/8/layout/hierarchy1"/>
    <dgm:cxn modelId="{45528B21-3354-41BC-B9D8-5DDAC7BD079E}" type="presParOf" srcId="{7D397345-374D-431F-89F1-7B7AD86261D8}" destId="{40ABA8DE-A5DD-4424-B5A2-B4A30B5CDF1B}" srcOrd="1" destOrd="0" presId="urn:microsoft.com/office/officeart/2005/8/layout/hierarchy1"/>
    <dgm:cxn modelId="{C355E94B-E1B7-43DE-A2EE-433E8EBF0E5E}" type="presParOf" srcId="{40ABA8DE-A5DD-4424-B5A2-B4A30B5CDF1B}" destId="{BA116349-CFB6-4A54-963E-DAB67B7961A8}" srcOrd="0" destOrd="0" presId="urn:microsoft.com/office/officeart/2005/8/layout/hierarchy1"/>
    <dgm:cxn modelId="{F824A45E-E9E9-49A3-8B83-47BDF66B983A}" type="presParOf" srcId="{BA116349-CFB6-4A54-963E-DAB67B7961A8}" destId="{484B539A-5815-4AF6-A813-9D127296EE87}" srcOrd="0" destOrd="0" presId="urn:microsoft.com/office/officeart/2005/8/layout/hierarchy1"/>
    <dgm:cxn modelId="{C5C6F90E-A546-488E-98E3-908ED13AB088}" type="presParOf" srcId="{BA116349-CFB6-4A54-963E-DAB67B7961A8}" destId="{DA7254BB-EB4C-4D40-8069-74720AC092F1}" srcOrd="1" destOrd="0" presId="urn:microsoft.com/office/officeart/2005/8/layout/hierarchy1"/>
    <dgm:cxn modelId="{3C1F888E-42F1-4592-A82B-D84C83DE7F27}" type="presParOf" srcId="{40ABA8DE-A5DD-4424-B5A2-B4A30B5CDF1B}" destId="{303285B3-3228-4A26-8A8D-9B9D1E995896}" srcOrd="1" destOrd="0" presId="urn:microsoft.com/office/officeart/2005/8/layout/hierarchy1"/>
    <dgm:cxn modelId="{8A7399F9-64E2-48F2-96DE-9934285CA01A}" type="presParOf" srcId="{7D397345-374D-431F-89F1-7B7AD86261D8}" destId="{C8C905ED-A4E7-4BE1-9AB6-4765321BB6D3}" srcOrd="2" destOrd="0" presId="urn:microsoft.com/office/officeart/2005/8/layout/hierarchy1"/>
    <dgm:cxn modelId="{8D2E0A44-ACCD-4BC6-9559-D7EFD55E84B5}" type="presParOf" srcId="{7D397345-374D-431F-89F1-7B7AD86261D8}" destId="{FFAE7A82-95ED-4136-83FA-53F4D12554C9}" srcOrd="3" destOrd="0" presId="urn:microsoft.com/office/officeart/2005/8/layout/hierarchy1"/>
    <dgm:cxn modelId="{470AE914-F219-4631-B69A-FD77C53EADFF}" type="presParOf" srcId="{FFAE7A82-95ED-4136-83FA-53F4D12554C9}" destId="{2D25CDAD-01DB-484D-BCD0-B042181129C1}" srcOrd="0" destOrd="0" presId="urn:microsoft.com/office/officeart/2005/8/layout/hierarchy1"/>
    <dgm:cxn modelId="{7291C119-055C-46EC-9B3E-6DA2473A50F7}" type="presParOf" srcId="{2D25CDAD-01DB-484D-BCD0-B042181129C1}" destId="{1ED3599B-555A-4214-B7CF-0195D8CFD821}" srcOrd="0" destOrd="0" presId="urn:microsoft.com/office/officeart/2005/8/layout/hierarchy1"/>
    <dgm:cxn modelId="{9A9D2090-190B-476D-865D-76CF347A5EBA}" type="presParOf" srcId="{2D25CDAD-01DB-484D-BCD0-B042181129C1}" destId="{2781FE7E-C08B-49A4-B3EB-AC3AA17196B1}" srcOrd="1" destOrd="0" presId="urn:microsoft.com/office/officeart/2005/8/layout/hierarchy1"/>
    <dgm:cxn modelId="{53444D6D-CD93-413B-823D-E0F48AF0777A}" type="presParOf" srcId="{FFAE7A82-95ED-4136-83FA-53F4D12554C9}" destId="{C07E185A-0233-4C67-912E-60CF15C3957C}" srcOrd="1" destOrd="0" presId="urn:microsoft.com/office/officeart/2005/8/layout/hierarchy1"/>
    <dgm:cxn modelId="{9E3B216C-44E6-4EED-9CCA-13618058A55F}" type="presParOf" srcId="{C07E185A-0233-4C67-912E-60CF15C3957C}" destId="{884A887D-B66C-4D5F-BFC6-7B4647D31722}" srcOrd="0" destOrd="0" presId="urn:microsoft.com/office/officeart/2005/8/layout/hierarchy1"/>
    <dgm:cxn modelId="{0A7F05E0-2122-4737-8038-BF35B78E685F}" type="presParOf" srcId="{C07E185A-0233-4C67-912E-60CF15C3957C}" destId="{7D45B2D3-FB39-497E-84FA-92A9F4E3D447}" srcOrd="1" destOrd="0" presId="urn:microsoft.com/office/officeart/2005/8/layout/hierarchy1"/>
    <dgm:cxn modelId="{4E7FEA79-73F9-4A7F-811A-3BDAF8BC5406}" type="presParOf" srcId="{7D45B2D3-FB39-497E-84FA-92A9F4E3D447}" destId="{F2F5141E-8CB9-4E1A-804F-F9DDD27262C5}" srcOrd="0" destOrd="0" presId="urn:microsoft.com/office/officeart/2005/8/layout/hierarchy1"/>
    <dgm:cxn modelId="{D53ED8EF-9851-43CA-9908-2BD28AF41A28}" type="presParOf" srcId="{F2F5141E-8CB9-4E1A-804F-F9DDD27262C5}" destId="{68C67D5E-D57E-496E-B7DC-770BEA946861}" srcOrd="0" destOrd="0" presId="urn:microsoft.com/office/officeart/2005/8/layout/hierarchy1"/>
    <dgm:cxn modelId="{302AB656-C639-48C8-93EA-11FE31DD8A6B}" type="presParOf" srcId="{F2F5141E-8CB9-4E1A-804F-F9DDD27262C5}" destId="{07947E86-EF90-4A6C-A3C3-BA2E4F8BE810}" srcOrd="1" destOrd="0" presId="urn:microsoft.com/office/officeart/2005/8/layout/hierarchy1"/>
    <dgm:cxn modelId="{66B8A9F9-7411-466B-815D-4E09BFF72FC5}" type="presParOf" srcId="{7D45B2D3-FB39-497E-84FA-92A9F4E3D447}" destId="{3071A10F-C9DB-4CC9-AA9F-3A1D9B341B29}" srcOrd="1" destOrd="0" presId="urn:microsoft.com/office/officeart/2005/8/layout/hierarchy1"/>
    <dgm:cxn modelId="{CD98E062-A75F-4A11-A47F-16FF589A64FD}" type="presParOf" srcId="{7D397345-374D-431F-89F1-7B7AD86261D8}" destId="{35CC34C0-BB0D-4B63-B826-76F1420454B3}" srcOrd="4" destOrd="0" presId="urn:microsoft.com/office/officeart/2005/8/layout/hierarchy1"/>
    <dgm:cxn modelId="{A7104980-DA35-439D-826A-76DB025EF89A}" type="presParOf" srcId="{7D397345-374D-431F-89F1-7B7AD86261D8}" destId="{3F143E3B-CF50-4414-8377-72EFCCD81820}" srcOrd="5" destOrd="0" presId="urn:microsoft.com/office/officeart/2005/8/layout/hierarchy1"/>
    <dgm:cxn modelId="{CA68809A-5FF3-4DA2-BACF-A132CC3C7B07}" type="presParOf" srcId="{3F143E3B-CF50-4414-8377-72EFCCD81820}" destId="{DDC15EB4-5DAB-4DF4-8B9A-91832663298D}" srcOrd="0" destOrd="0" presId="urn:microsoft.com/office/officeart/2005/8/layout/hierarchy1"/>
    <dgm:cxn modelId="{68582C7C-1C5F-4710-8D3A-E2887A19D746}" type="presParOf" srcId="{DDC15EB4-5DAB-4DF4-8B9A-91832663298D}" destId="{20E97F04-073E-4DB6-8D34-A323E7CB0644}" srcOrd="0" destOrd="0" presId="urn:microsoft.com/office/officeart/2005/8/layout/hierarchy1"/>
    <dgm:cxn modelId="{96D9C1FC-7A72-4F11-8B5F-0CA13EE41D03}" type="presParOf" srcId="{DDC15EB4-5DAB-4DF4-8B9A-91832663298D}" destId="{101E1A25-907F-463D-B0C7-611DF7505D95}" srcOrd="1" destOrd="0" presId="urn:microsoft.com/office/officeart/2005/8/layout/hierarchy1"/>
    <dgm:cxn modelId="{401D1FE0-0B72-4731-BAAA-DCA65CCD5FD1}" type="presParOf" srcId="{3F143E3B-CF50-4414-8377-72EFCCD81820}" destId="{5A07C02F-0F4E-4B66-9EF7-87AA380D09B8}"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512C525-B3B9-4BFC-8B81-ABE692BCA9B8}" type="doc">
      <dgm:prSet loTypeId="urn:microsoft.com/office/officeart/2005/8/layout/process1" loCatId="process" qsTypeId="urn:microsoft.com/office/officeart/2005/8/quickstyle/3d2" qsCatId="3D" csTypeId="urn:microsoft.com/office/officeart/2005/8/colors/accent1_1" csCatId="accent1" phldr="1"/>
      <dgm:spPr/>
    </dgm:pt>
    <dgm:pt modelId="{307DC733-853C-4BE3-A615-177512EFCA37}">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Contexte du projet</a:t>
          </a:r>
          <a:endParaRPr lang="fr-FR" sz="1100" b="1" dirty="0">
            <a:latin typeface="Century Gothic" pitchFamily="34" charset="0"/>
          </a:endParaRPr>
        </a:p>
      </dgm:t>
    </dgm:pt>
    <dgm:pt modelId="{7C1E7ED8-6686-46CE-B031-C14BCD5EEF49}" type="parTrans" cxnId="{8FCCB2DF-81F7-4B76-BE83-5761088CFB88}">
      <dgm:prSet/>
      <dgm:spPr/>
      <dgm:t>
        <a:bodyPr/>
        <a:lstStyle/>
        <a:p>
          <a:endParaRPr lang="fr-FR"/>
        </a:p>
      </dgm:t>
    </dgm:pt>
    <dgm:pt modelId="{2B811016-D430-4B4D-A4B9-C427EBB8C39C}" type="sibTrans" cxnId="{8FCCB2DF-81F7-4B76-BE83-5761088CFB88}">
      <dgm:prSet/>
      <dgm:spPr/>
      <dgm:t>
        <a:bodyPr/>
        <a:lstStyle/>
        <a:p>
          <a:endParaRPr lang="fr-FR"/>
        </a:p>
      </dgm:t>
    </dgm:pt>
    <dgm:pt modelId="{864DE107-B989-48AF-AB66-C74CF83D30CD}">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Mise en œuvre de la démarche DMAIC</a:t>
          </a:r>
          <a:r>
            <a:rPr lang="fr-FR" sz="1100" b="1" dirty="0">
              <a:solidFill>
                <a:srgbClr val="303030"/>
              </a:solidFill>
              <a:latin typeface="Century Gothic" pitchFamily="34" charset="0"/>
            </a:rPr>
            <a:t>  </a:t>
          </a:r>
          <a:endParaRPr lang="fr-FR" sz="1100" b="1" dirty="0">
            <a:latin typeface="Century Gothic" pitchFamily="34" charset="0"/>
          </a:endParaRPr>
        </a:p>
      </dgm:t>
    </dgm:pt>
    <dgm:pt modelId="{8E058906-4EC3-42F3-A9BE-B9F2E696B351}" type="parTrans" cxnId="{C38BDF74-4B05-4648-BEFF-EFAB05B48102}">
      <dgm:prSet/>
      <dgm:spPr/>
      <dgm:t>
        <a:bodyPr/>
        <a:lstStyle/>
        <a:p>
          <a:endParaRPr lang="fr-FR"/>
        </a:p>
      </dgm:t>
    </dgm:pt>
    <dgm:pt modelId="{43157ED2-F950-497C-9847-E7E7C258E927}" type="sibTrans" cxnId="{C38BDF74-4B05-4648-BEFF-EFAB05B48102}">
      <dgm:prSet/>
      <dgm:spPr/>
      <dgm:t>
        <a:bodyPr/>
        <a:lstStyle/>
        <a:p>
          <a:endParaRPr lang="fr-FR"/>
        </a:p>
      </dgm:t>
    </dgm:pt>
    <dgm:pt modelId="{FF69A2E3-845E-46C4-A44D-095FCDBB9884}">
      <dgm:prSet phldrT="[Texte]" custT="1"/>
      <dgm:spPr/>
      <dgm:t>
        <a:bodyPr/>
        <a:lstStyle/>
        <a:p>
          <a:r>
            <a:rPr lang="fr-FR" sz="1100" b="1" dirty="0">
              <a:latin typeface="Century Gothic" pitchFamily="34" charset="0"/>
            </a:rPr>
            <a:t>Conclusion </a:t>
          </a:r>
        </a:p>
      </dgm:t>
    </dgm:pt>
    <dgm:pt modelId="{AA2F6CE7-2625-474F-A32C-D9904691862A}" type="parTrans" cxnId="{F2091F12-3FA6-44A4-A0AF-6BD94E716F7F}">
      <dgm:prSet/>
      <dgm:spPr/>
      <dgm:t>
        <a:bodyPr/>
        <a:lstStyle/>
        <a:p>
          <a:endParaRPr lang="fr-FR"/>
        </a:p>
      </dgm:t>
    </dgm:pt>
    <dgm:pt modelId="{74AAD7C8-3820-4FAB-BE39-C04917F7E661}" type="sibTrans" cxnId="{F2091F12-3FA6-44A4-A0AF-6BD94E716F7F}">
      <dgm:prSet/>
      <dgm:spPr/>
      <dgm:t>
        <a:bodyPr/>
        <a:lstStyle/>
        <a:p>
          <a:endParaRPr lang="fr-FR"/>
        </a:p>
      </dgm:t>
    </dgm:pt>
    <dgm:pt modelId="{FCB8ADF2-9891-4EC4-9F8D-3C62A4E3570B}">
      <dgm:prSet phldrT="[Texte]" custT="1"/>
      <dgm:spPr/>
      <dgm:t>
        <a:bodyPr/>
        <a:lstStyle/>
        <a:p>
          <a:r>
            <a:rPr lang="fr-FR" sz="1100" dirty="0">
              <a:solidFill>
                <a:prstClr val="black"/>
              </a:solidFill>
              <a:latin typeface="Aparajita" panose="020B0604020202020204" pitchFamily="34" charset="0"/>
              <a:cs typeface="Aparajita" panose="020B0604020202020204" pitchFamily="34" charset="0"/>
            </a:rPr>
            <a:t>Présentation de l’entreprise</a:t>
          </a:r>
          <a:endParaRPr lang="fr-FR" sz="1100" b="1" dirty="0">
            <a:latin typeface="Century Gothic" pitchFamily="34" charset="0"/>
          </a:endParaRPr>
        </a:p>
      </dgm:t>
    </dgm:pt>
    <dgm:pt modelId="{47D00E17-D93D-4617-80D8-C4806D076A65}" type="parTrans" cxnId="{9808228E-1EF3-4600-992F-7853DD276620}">
      <dgm:prSet/>
      <dgm:spPr/>
      <dgm:t>
        <a:bodyPr/>
        <a:lstStyle/>
        <a:p>
          <a:endParaRPr lang="fr-FR"/>
        </a:p>
      </dgm:t>
    </dgm:pt>
    <dgm:pt modelId="{BFAE7B18-CC4C-4882-92CD-CB1C42AA85E2}" type="sibTrans" cxnId="{9808228E-1EF3-4600-992F-7853DD276620}">
      <dgm:prSet/>
      <dgm:spPr/>
      <dgm:t>
        <a:bodyPr/>
        <a:lstStyle/>
        <a:p>
          <a:endParaRPr lang="fr-FR"/>
        </a:p>
      </dgm:t>
    </dgm:pt>
    <dgm:pt modelId="{DCDE361F-6528-4B2D-AA1C-75A98D9CF19B}" type="pres">
      <dgm:prSet presAssocID="{8512C525-B3B9-4BFC-8B81-ABE692BCA9B8}" presName="Name0" presStyleCnt="0">
        <dgm:presLayoutVars>
          <dgm:dir/>
          <dgm:resizeHandles val="exact"/>
        </dgm:presLayoutVars>
      </dgm:prSet>
      <dgm:spPr/>
    </dgm:pt>
    <dgm:pt modelId="{D0F3583B-5D16-45E2-90F3-D5928E8BAEEB}" type="pres">
      <dgm:prSet presAssocID="{FCB8ADF2-9891-4EC4-9F8D-3C62A4E3570B}" presName="node" presStyleLbl="node1" presStyleIdx="0" presStyleCnt="4">
        <dgm:presLayoutVars>
          <dgm:bulletEnabled val="1"/>
        </dgm:presLayoutVars>
      </dgm:prSet>
      <dgm:spPr/>
    </dgm:pt>
    <dgm:pt modelId="{1B57603F-6D14-4EC3-B4E3-8B8E29F0AF82}" type="pres">
      <dgm:prSet presAssocID="{BFAE7B18-CC4C-4882-92CD-CB1C42AA85E2}" presName="sibTrans" presStyleLbl="sibTrans2D1" presStyleIdx="0" presStyleCnt="3"/>
      <dgm:spPr/>
    </dgm:pt>
    <dgm:pt modelId="{B75A6145-30F1-4A02-8241-CAFBD7613773}" type="pres">
      <dgm:prSet presAssocID="{BFAE7B18-CC4C-4882-92CD-CB1C42AA85E2}" presName="connectorText" presStyleLbl="sibTrans2D1" presStyleIdx="0" presStyleCnt="3"/>
      <dgm:spPr/>
    </dgm:pt>
    <dgm:pt modelId="{5D437852-1E36-4551-AE22-3D21BF486FA9}" type="pres">
      <dgm:prSet presAssocID="{307DC733-853C-4BE3-A615-177512EFCA37}" presName="node" presStyleLbl="node1" presStyleIdx="1" presStyleCnt="4">
        <dgm:presLayoutVars>
          <dgm:bulletEnabled val="1"/>
        </dgm:presLayoutVars>
      </dgm:prSet>
      <dgm:spPr/>
    </dgm:pt>
    <dgm:pt modelId="{CD543A52-B769-4817-BCDB-9E04D3B82E2C}" type="pres">
      <dgm:prSet presAssocID="{2B811016-D430-4B4D-A4B9-C427EBB8C39C}" presName="sibTrans" presStyleLbl="sibTrans2D1" presStyleIdx="1" presStyleCnt="3"/>
      <dgm:spPr/>
    </dgm:pt>
    <dgm:pt modelId="{9632C60F-56BA-4ECD-9874-3EA13072391A}" type="pres">
      <dgm:prSet presAssocID="{2B811016-D430-4B4D-A4B9-C427EBB8C39C}" presName="connectorText" presStyleLbl="sibTrans2D1" presStyleIdx="1" presStyleCnt="3"/>
      <dgm:spPr/>
    </dgm:pt>
    <dgm:pt modelId="{599C6788-14AC-4886-BE98-CFABBA2B6CBC}" type="pres">
      <dgm:prSet presAssocID="{864DE107-B989-48AF-AB66-C74CF83D30CD}" presName="node" presStyleLbl="node1" presStyleIdx="2" presStyleCnt="4">
        <dgm:presLayoutVars>
          <dgm:bulletEnabled val="1"/>
        </dgm:presLayoutVars>
      </dgm:prSet>
      <dgm:spPr/>
    </dgm:pt>
    <dgm:pt modelId="{EBA8B8BB-8B80-463D-B5C0-9886029E31EB}" type="pres">
      <dgm:prSet presAssocID="{43157ED2-F950-497C-9847-E7E7C258E927}" presName="sibTrans" presStyleLbl="sibTrans2D1" presStyleIdx="2" presStyleCnt="3"/>
      <dgm:spPr/>
    </dgm:pt>
    <dgm:pt modelId="{B0DBBBA9-28F6-41E3-9EAE-867A084ADCC9}" type="pres">
      <dgm:prSet presAssocID="{43157ED2-F950-497C-9847-E7E7C258E927}" presName="connectorText" presStyleLbl="sibTrans2D1" presStyleIdx="2" presStyleCnt="3"/>
      <dgm:spPr/>
    </dgm:pt>
    <dgm:pt modelId="{83AD4C98-81CD-4554-959F-68EE175480AA}" type="pres">
      <dgm:prSet presAssocID="{FF69A2E3-845E-46C4-A44D-095FCDBB9884}" presName="node" presStyleLbl="node1" presStyleIdx="3" presStyleCnt="4">
        <dgm:presLayoutVars>
          <dgm:bulletEnabled val="1"/>
        </dgm:presLayoutVars>
      </dgm:prSet>
      <dgm:spPr/>
    </dgm:pt>
  </dgm:ptLst>
  <dgm:cxnLst>
    <dgm:cxn modelId="{F2091F12-3FA6-44A4-A0AF-6BD94E716F7F}" srcId="{8512C525-B3B9-4BFC-8B81-ABE692BCA9B8}" destId="{FF69A2E3-845E-46C4-A44D-095FCDBB9884}" srcOrd="3" destOrd="0" parTransId="{AA2F6CE7-2625-474F-A32C-D9904691862A}" sibTransId="{74AAD7C8-3820-4FAB-BE39-C04917F7E661}"/>
    <dgm:cxn modelId="{193DA01B-83D3-4B9E-9C8D-3ECD82EDFD7B}" type="presOf" srcId="{2B811016-D430-4B4D-A4B9-C427EBB8C39C}" destId="{CD543A52-B769-4817-BCDB-9E04D3B82E2C}" srcOrd="0" destOrd="0" presId="urn:microsoft.com/office/officeart/2005/8/layout/process1"/>
    <dgm:cxn modelId="{B74D9E24-922B-47B9-A179-AE814890287C}" type="presOf" srcId="{FF69A2E3-845E-46C4-A44D-095FCDBB9884}" destId="{83AD4C98-81CD-4554-959F-68EE175480AA}" srcOrd="0" destOrd="0" presId="urn:microsoft.com/office/officeart/2005/8/layout/process1"/>
    <dgm:cxn modelId="{659ACD2F-4087-4DFE-B362-F7D15D3FC771}" type="presOf" srcId="{43157ED2-F950-497C-9847-E7E7C258E927}" destId="{EBA8B8BB-8B80-463D-B5C0-9886029E31EB}" srcOrd="0" destOrd="0" presId="urn:microsoft.com/office/officeart/2005/8/layout/process1"/>
    <dgm:cxn modelId="{6AF3965D-6C1B-40FE-9FD5-E73290B750E5}" type="presOf" srcId="{864DE107-B989-48AF-AB66-C74CF83D30CD}" destId="{599C6788-14AC-4886-BE98-CFABBA2B6CBC}" srcOrd="0" destOrd="0" presId="urn:microsoft.com/office/officeart/2005/8/layout/process1"/>
    <dgm:cxn modelId="{BF4E386A-5D4B-4986-BDAA-F4AF328CEC80}" type="presOf" srcId="{BFAE7B18-CC4C-4882-92CD-CB1C42AA85E2}" destId="{1B57603F-6D14-4EC3-B4E3-8B8E29F0AF82}" srcOrd="0" destOrd="0" presId="urn:microsoft.com/office/officeart/2005/8/layout/process1"/>
    <dgm:cxn modelId="{C38BDF74-4B05-4648-BEFF-EFAB05B48102}" srcId="{8512C525-B3B9-4BFC-8B81-ABE692BCA9B8}" destId="{864DE107-B989-48AF-AB66-C74CF83D30CD}" srcOrd="2" destOrd="0" parTransId="{8E058906-4EC3-42F3-A9BE-B9F2E696B351}" sibTransId="{43157ED2-F950-497C-9847-E7E7C258E927}"/>
    <dgm:cxn modelId="{E0995575-E605-4E77-AD33-25C0AF089642}" type="presOf" srcId="{307DC733-853C-4BE3-A615-177512EFCA37}" destId="{5D437852-1E36-4551-AE22-3D21BF486FA9}" srcOrd="0" destOrd="0" presId="urn:microsoft.com/office/officeart/2005/8/layout/process1"/>
    <dgm:cxn modelId="{C9BDE079-A1E5-43C4-BBB8-261870D35F3A}" type="presOf" srcId="{FCB8ADF2-9891-4EC4-9F8D-3C62A4E3570B}" destId="{D0F3583B-5D16-45E2-90F3-D5928E8BAEEB}" srcOrd="0" destOrd="0" presId="urn:microsoft.com/office/officeart/2005/8/layout/process1"/>
    <dgm:cxn modelId="{9808228E-1EF3-4600-992F-7853DD276620}" srcId="{8512C525-B3B9-4BFC-8B81-ABE692BCA9B8}" destId="{FCB8ADF2-9891-4EC4-9F8D-3C62A4E3570B}" srcOrd="0" destOrd="0" parTransId="{47D00E17-D93D-4617-80D8-C4806D076A65}" sibTransId="{BFAE7B18-CC4C-4882-92CD-CB1C42AA85E2}"/>
    <dgm:cxn modelId="{F3592993-0FB5-4471-8D28-08C06087028F}" type="presOf" srcId="{43157ED2-F950-497C-9847-E7E7C258E927}" destId="{B0DBBBA9-28F6-41E3-9EAE-867A084ADCC9}" srcOrd="1" destOrd="0" presId="urn:microsoft.com/office/officeart/2005/8/layout/process1"/>
    <dgm:cxn modelId="{3E1156A5-84EC-4F22-A7E1-E0003CDCEB0A}" type="presOf" srcId="{8512C525-B3B9-4BFC-8B81-ABE692BCA9B8}" destId="{DCDE361F-6528-4B2D-AA1C-75A98D9CF19B}" srcOrd="0" destOrd="0" presId="urn:microsoft.com/office/officeart/2005/8/layout/process1"/>
    <dgm:cxn modelId="{008AD9BA-7463-41F3-9A8A-C839D16BE599}" type="presOf" srcId="{BFAE7B18-CC4C-4882-92CD-CB1C42AA85E2}" destId="{B75A6145-30F1-4A02-8241-CAFBD7613773}" srcOrd="1" destOrd="0" presId="urn:microsoft.com/office/officeart/2005/8/layout/process1"/>
    <dgm:cxn modelId="{D5F57ABB-302E-41A1-B959-3DE64033C890}" type="presOf" srcId="{2B811016-D430-4B4D-A4B9-C427EBB8C39C}" destId="{9632C60F-56BA-4ECD-9874-3EA13072391A}" srcOrd="1" destOrd="0" presId="urn:microsoft.com/office/officeart/2005/8/layout/process1"/>
    <dgm:cxn modelId="{8FCCB2DF-81F7-4B76-BE83-5761088CFB88}" srcId="{8512C525-B3B9-4BFC-8B81-ABE692BCA9B8}" destId="{307DC733-853C-4BE3-A615-177512EFCA37}" srcOrd="1" destOrd="0" parTransId="{7C1E7ED8-6686-46CE-B031-C14BCD5EEF49}" sibTransId="{2B811016-D430-4B4D-A4B9-C427EBB8C39C}"/>
    <dgm:cxn modelId="{CBC08ABE-0B6B-42CB-9977-DB1F961FF661}" type="presParOf" srcId="{DCDE361F-6528-4B2D-AA1C-75A98D9CF19B}" destId="{D0F3583B-5D16-45E2-90F3-D5928E8BAEEB}" srcOrd="0" destOrd="0" presId="urn:microsoft.com/office/officeart/2005/8/layout/process1"/>
    <dgm:cxn modelId="{E1091D59-68CF-406B-A926-4E27EF9F93BE}" type="presParOf" srcId="{DCDE361F-6528-4B2D-AA1C-75A98D9CF19B}" destId="{1B57603F-6D14-4EC3-B4E3-8B8E29F0AF82}" srcOrd="1" destOrd="0" presId="urn:microsoft.com/office/officeart/2005/8/layout/process1"/>
    <dgm:cxn modelId="{39909E1E-F4F6-41F2-A447-13FF666643AD}" type="presParOf" srcId="{1B57603F-6D14-4EC3-B4E3-8B8E29F0AF82}" destId="{B75A6145-30F1-4A02-8241-CAFBD7613773}" srcOrd="0" destOrd="0" presId="urn:microsoft.com/office/officeart/2005/8/layout/process1"/>
    <dgm:cxn modelId="{8F57BF92-5B8E-416B-AE98-B8C29E5D1E34}" type="presParOf" srcId="{DCDE361F-6528-4B2D-AA1C-75A98D9CF19B}" destId="{5D437852-1E36-4551-AE22-3D21BF486FA9}" srcOrd="2" destOrd="0" presId="urn:microsoft.com/office/officeart/2005/8/layout/process1"/>
    <dgm:cxn modelId="{A6CCEF71-68AD-447F-ABAC-27D50CFC2B9A}" type="presParOf" srcId="{DCDE361F-6528-4B2D-AA1C-75A98D9CF19B}" destId="{CD543A52-B769-4817-BCDB-9E04D3B82E2C}" srcOrd="3" destOrd="0" presId="urn:microsoft.com/office/officeart/2005/8/layout/process1"/>
    <dgm:cxn modelId="{63A17E0D-2D2E-4D63-BAAE-1108E6516BBC}" type="presParOf" srcId="{CD543A52-B769-4817-BCDB-9E04D3B82E2C}" destId="{9632C60F-56BA-4ECD-9874-3EA13072391A}" srcOrd="0" destOrd="0" presId="urn:microsoft.com/office/officeart/2005/8/layout/process1"/>
    <dgm:cxn modelId="{78BDCCBA-0C5C-4A8F-8969-A37672809B1A}" type="presParOf" srcId="{DCDE361F-6528-4B2D-AA1C-75A98D9CF19B}" destId="{599C6788-14AC-4886-BE98-CFABBA2B6CBC}" srcOrd="4" destOrd="0" presId="urn:microsoft.com/office/officeart/2005/8/layout/process1"/>
    <dgm:cxn modelId="{584E50CF-77DD-45A2-A409-7E76F439C019}" type="presParOf" srcId="{DCDE361F-6528-4B2D-AA1C-75A98D9CF19B}" destId="{EBA8B8BB-8B80-463D-B5C0-9886029E31EB}" srcOrd="5" destOrd="0" presId="urn:microsoft.com/office/officeart/2005/8/layout/process1"/>
    <dgm:cxn modelId="{B7200AFB-C870-4CD7-B074-FD9B6A85F379}" type="presParOf" srcId="{EBA8B8BB-8B80-463D-B5C0-9886029E31EB}" destId="{B0DBBBA9-28F6-41E3-9EAE-867A084ADCC9}" srcOrd="0" destOrd="0" presId="urn:microsoft.com/office/officeart/2005/8/layout/process1"/>
    <dgm:cxn modelId="{4269330D-CA18-40E8-9DD2-AC2AEE7CEF66}" type="presParOf" srcId="{DCDE361F-6528-4B2D-AA1C-75A98D9CF19B}" destId="{83AD4C98-81CD-4554-959F-68EE175480AA}" srcOrd="6" destOrd="0" presId="urn:microsoft.com/office/officeart/2005/8/layout/process1"/>
  </dgm:cxnLst>
  <dgm:bg>
    <a:noFill/>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29963C-3C84-463E-8E24-5654E246F02D}">
      <dsp:nvSpPr>
        <dsp:cNvPr id="0" name=""/>
        <dsp:cNvSpPr/>
      </dsp:nvSpPr>
      <dsp:spPr>
        <a:xfrm>
          <a:off x="73038" y="2117544"/>
          <a:ext cx="1032281" cy="65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fr-FR" sz="1050" kern="1200"/>
            <a:t>Expression de besoin : Budget annuelle </a:t>
          </a:r>
        </a:p>
      </dsp:txBody>
      <dsp:txXfrm>
        <a:off x="73038" y="2117544"/>
        <a:ext cx="1032281" cy="656265"/>
      </dsp:txXfrm>
    </dsp:sp>
    <dsp:sp modelId="{24DA0200-618A-4F84-9BBC-8DD103A1E7E9}">
      <dsp:nvSpPr>
        <dsp:cNvPr id="0" name=""/>
        <dsp:cNvSpPr/>
      </dsp:nvSpPr>
      <dsp:spPr>
        <a:xfrm>
          <a:off x="71865" y="2146336"/>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C4BFDB7-D1EF-493E-B840-8A2C4595E38B}">
      <dsp:nvSpPr>
        <dsp:cNvPr id="0" name=""/>
        <dsp:cNvSpPr/>
      </dsp:nvSpPr>
      <dsp:spPr>
        <a:xfrm>
          <a:off x="129344" y="2031377"/>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9CFC7EC-C4E1-4B29-95A9-220C475F49B7}">
      <dsp:nvSpPr>
        <dsp:cNvPr id="0" name=""/>
        <dsp:cNvSpPr/>
      </dsp:nvSpPr>
      <dsp:spPr>
        <a:xfrm>
          <a:off x="267295" y="2054369"/>
          <a:ext cx="129035" cy="12903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FCC5E75-616A-4862-9DD7-1D81D771C528}">
      <dsp:nvSpPr>
        <dsp:cNvPr id="0" name=""/>
        <dsp:cNvSpPr/>
      </dsp:nvSpPr>
      <dsp:spPr>
        <a:xfrm>
          <a:off x="382253" y="1927915"/>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C20AB59-EBEA-4AA0-9203-B1FBEC32D37F}">
      <dsp:nvSpPr>
        <dsp:cNvPr id="0" name=""/>
        <dsp:cNvSpPr/>
      </dsp:nvSpPr>
      <dsp:spPr>
        <a:xfrm>
          <a:off x="531700" y="1881931"/>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AB0AF25-EB3B-43E3-8595-75575C9EFB34}">
      <dsp:nvSpPr>
        <dsp:cNvPr id="0" name=""/>
        <dsp:cNvSpPr/>
      </dsp:nvSpPr>
      <dsp:spPr>
        <a:xfrm>
          <a:off x="715634" y="1962402"/>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D16AD9A-DE27-48FD-96C0-CC7C2D3D43B6}">
      <dsp:nvSpPr>
        <dsp:cNvPr id="0" name=""/>
        <dsp:cNvSpPr/>
      </dsp:nvSpPr>
      <dsp:spPr>
        <a:xfrm>
          <a:off x="830592" y="2019882"/>
          <a:ext cx="129035" cy="12903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D420DFE-6DD9-4D78-95CE-7070370AA761}">
      <dsp:nvSpPr>
        <dsp:cNvPr id="0" name=""/>
        <dsp:cNvSpPr/>
      </dsp:nvSpPr>
      <dsp:spPr>
        <a:xfrm>
          <a:off x="991534" y="2146336"/>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B1BF3E3-FF07-42F3-A014-501592D9814C}">
      <dsp:nvSpPr>
        <dsp:cNvPr id="0" name=""/>
        <dsp:cNvSpPr/>
      </dsp:nvSpPr>
      <dsp:spPr>
        <a:xfrm>
          <a:off x="1060510" y="2272791"/>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210DFE2-163B-47C1-B3D8-EDC4FE99E0FB}">
      <dsp:nvSpPr>
        <dsp:cNvPr id="0" name=""/>
        <dsp:cNvSpPr/>
      </dsp:nvSpPr>
      <dsp:spPr>
        <a:xfrm>
          <a:off x="462725" y="2031377"/>
          <a:ext cx="211148" cy="211148"/>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1E5186A-31D4-49DD-8AA3-97F578FE8C8D}">
      <dsp:nvSpPr>
        <dsp:cNvPr id="0" name=""/>
        <dsp:cNvSpPr/>
      </dsp:nvSpPr>
      <dsp:spPr>
        <a:xfrm>
          <a:off x="14386" y="2468220"/>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F3B2B2A-29ED-46A6-B412-1CD0FD073781}">
      <dsp:nvSpPr>
        <dsp:cNvPr id="0" name=""/>
        <dsp:cNvSpPr/>
      </dsp:nvSpPr>
      <dsp:spPr>
        <a:xfrm>
          <a:off x="83361" y="2571683"/>
          <a:ext cx="129035" cy="12903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4A0D867-E557-4692-BAD4-DA4E63A865B9}">
      <dsp:nvSpPr>
        <dsp:cNvPr id="0" name=""/>
        <dsp:cNvSpPr/>
      </dsp:nvSpPr>
      <dsp:spPr>
        <a:xfrm>
          <a:off x="255799" y="2663650"/>
          <a:ext cx="187687" cy="187687"/>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F550313-1188-4002-A884-F78420EB3378}">
      <dsp:nvSpPr>
        <dsp:cNvPr id="0" name=""/>
        <dsp:cNvSpPr/>
      </dsp:nvSpPr>
      <dsp:spPr>
        <a:xfrm>
          <a:off x="497212" y="2813096"/>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CBE1CD3-6F9C-4183-8CF6-CCFA5BD5E3FF}">
      <dsp:nvSpPr>
        <dsp:cNvPr id="0" name=""/>
        <dsp:cNvSpPr/>
      </dsp:nvSpPr>
      <dsp:spPr>
        <a:xfrm>
          <a:off x="543196" y="2663650"/>
          <a:ext cx="129035" cy="12903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386EF96-83F5-4206-9EAE-5E01BC10C642}">
      <dsp:nvSpPr>
        <dsp:cNvPr id="0" name=""/>
        <dsp:cNvSpPr/>
      </dsp:nvSpPr>
      <dsp:spPr>
        <a:xfrm>
          <a:off x="658154" y="2824592"/>
          <a:ext cx="82113" cy="8211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618E5B0-D839-47F3-8A60-DAC7271AACF9}">
      <dsp:nvSpPr>
        <dsp:cNvPr id="0" name=""/>
        <dsp:cNvSpPr/>
      </dsp:nvSpPr>
      <dsp:spPr>
        <a:xfrm>
          <a:off x="761617" y="2640658"/>
          <a:ext cx="187687" cy="187687"/>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D09874F-9FB9-487C-9A15-7098CC8A001C}">
      <dsp:nvSpPr>
        <dsp:cNvPr id="0" name=""/>
        <dsp:cNvSpPr/>
      </dsp:nvSpPr>
      <dsp:spPr>
        <a:xfrm>
          <a:off x="1014526" y="2594675"/>
          <a:ext cx="129035" cy="12903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0E8FC29-AE77-4A33-B56E-0F71C3DCEAAC}">
      <dsp:nvSpPr>
        <dsp:cNvPr id="0" name=""/>
        <dsp:cNvSpPr/>
      </dsp:nvSpPr>
      <dsp:spPr>
        <a:xfrm>
          <a:off x="1143561"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A990141-55E1-48E2-9189-CEAE96152485}">
      <dsp:nvSpPr>
        <dsp:cNvPr id="0" name=""/>
        <dsp:cNvSpPr/>
      </dsp:nvSpPr>
      <dsp:spPr>
        <a:xfrm>
          <a:off x="1522519" y="2054529"/>
          <a:ext cx="1040849" cy="723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fr-FR" sz="1400" kern="1200" dirty="0"/>
            <a:t>Contacter Fournisseurs homologués </a:t>
          </a:r>
          <a:endParaRPr lang="fr-FR" sz="1000" kern="1200" dirty="0"/>
        </a:p>
      </dsp:txBody>
      <dsp:txXfrm>
        <a:off x="1522519" y="2054529"/>
        <a:ext cx="1040849" cy="723465"/>
      </dsp:txXfrm>
    </dsp:sp>
    <dsp:sp modelId="{35D5390D-A359-46FE-82F5-B6EFA0606E54}">
      <dsp:nvSpPr>
        <dsp:cNvPr id="0" name=""/>
        <dsp:cNvSpPr/>
      </dsp:nvSpPr>
      <dsp:spPr>
        <a:xfrm>
          <a:off x="2563369"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F52008E-5119-47A9-8682-767DAC0FFBEF}">
      <dsp:nvSpPr>
        <dsp:cNvPr id="0" name=""/>
        <dsp:cNvSpPr/>
      </dsp:nvSpPr>
      <dsp:spPr>
        <a:xfrm>
          <a:off x="3074360" y="2054529"/>
          <a:ext cx="769457" cy="723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r-FR" sz="1600" kern="1200" dirty="0" err="1"/>
            <a:t>Envoye</a:t>
          </a:r>
          <a:r>
            <a:rPr lang="fr-FR" sz="1600" kern="1200" dirty="0"/>
            <a:t> le BC </a:t>
          </a:r>
        </a:p>
      </dsp:txBody>
      <dsp:txXfrm>
        <a:off x="3074360" y="2054529"/>
        <a:ext cx="769457" cy="723465"/>
      </dsp:txXfrm>
    </dsp:sp>
    <dsp:sp modelId="{0DB67931-F586-4318-ACB5-4115F742ED1D}">
      <dsp:nvSpPr>
        <dsp:cNvPr id="0" name=""/>
        <dsp:cNvSpPr/>
      </dsp:nvSpPr>
      <dsp:spPr>
        <a:xfrm>
          <a:off x="2942327" y="2967129"/>
          <a:ext cx="1033522" cy="6373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kern="1200"/>
            <a:t>convertir la demande d’achats en BC</a:t>
          </a:r>
        </a:p>
      </dsp:txBody>
      <dsp:txXfrm>
        <a:off x="2942327" y="2967129"/>
        <a:ext cx="1033522" cy="637338"/>
      </dsp:txXfrm>
    </dsp:sp>
    <dsp:sp modelId="{03238CFE-23FE-4D0D-A051-3C5FAE39DF8C}">
      <dsp:nvSpPr>
        <dsp:cNvPr id="0" name=""/>
        <dsp:cNvSpPr/>
      </dsp:nvSpPr>
      <dsp:spPr>
        <a:xfrm>
          <a:off x="3975849"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ACFB101-D7C5-4C6E-AA8F-0D392FFB9E74}">
      <dsp:nvSpPr>
        <dsp:cNvPr id="0" name=""/>
        <dsp:cNvSpPr/>
      </dsp:nvSpPr>
      <dsp:spPr>
        <a:xfrm>
          <a:off x="4354807" y="2054529"/>
          <a:ext cx="1033522" cy="723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kern="1200" dirty="0"/>
            <a:t>L’accusé de la réception </a:t>
          </a:r>
        </a:p>
      </dsp:txBody>
      <dsp:txXfrm>
        <a:off x="4354807" y="2054529"/>
        <a:ext cx="1033522" cy="723465"/>
      </dsp:txXfrm>
    </dsp:sp>
    <dsp:sp modelId="{DDC77370-E7D4-4E62-BF8F-7C8FE1EC48BA}">
      <dsp:nvSpPr>
        <dsp:cNvPr id="0" name=""/>
        <dsp:cNvSpPr/>
      </dsp:nvSpPr>
      <dsp:spPr>
        <a:xfrm>
          <a:off x="5388329"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1DEAF04-B933-4123-A1C1-4948327F73E1}">
      <dsp:nvSpPr>
        <dsp:cNvPr id="0" name=""/>
        <dsp:cNvSpPr/>
      </dsp:nvSpPr>
      <dsp:spPr>
        <a:xfrm>
          <a:off x="5767287" y="2054529"/>
          <a:ext cx="1033522" cy="723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fr-FR" sz="1400" kern="1200" dirty="0"/>
            <a:t>Réception du besoin  (délai) livraison  </a:t>
          </a:r>
        </a:p>
      </dsp:txBody>
      <dsp:txXfrm>
        <a:off x="5767287" y="2054529"/>
        <a:ext cx="1033522" cy="723465"/>
      </dsp:txXfrm>
    </dsp:sp>
    <dsp:sp modelId="{5189E095-9CEF-4E05-8A27-7083A6C91CFB}">
      <dsp:nvSpPr>
        <dsp:cNvPr id="0" name=""/>
        <dsp:cNvSpPr/>
      </dsp:nvSpPr>
      <dsp:spPr>
        <a:xfrm>
          <a:off x="6800809"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8C37385-5C5B-447A-9DDF-C906469C6C47}">
      <dsp:nvSpPr>
        <dsp:cNvPr id="0" name=""/>
        <dsp:cNvSpPr/>
      </dsp:nvSpPr>
      <dsp:spPr>
        <a:xfrm>
          <a:off x="7179768" y="2054529"/>
          <a:ext cx="1033522" cy="723465"/>
        </a:xfrm>
        <a:prstGeom prst="rect">
          <a:avLst/>
        </a:prstGeom>
        <a:solidFill>
          <a:srgbClr val="F47A74"/>
        </a:solid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fr-FR" sz="1400" kern="1200" dirty="0"/>
            <a:t>évaluation des fournisseurs  </a:t>
          </a:r>
        </a:p>
      </dsp:txBody>
      <dsp:txXfrm>
        <a:off x="7179768" y="2054529"/>
        <a:ext cx="1033522" cy="723465"/>
      </dsp:txXfrm>
    </dsp:sp>
    <dsp:sp modelId="{06E0440A-4730-4998-899D-31E958B986CA}">
      <dsp:nvSpPr>
        <dsp:cNvPr id="0" name=""/>
        <dsp:cNvSpPr/>
      </dsp:nvSpPr>
      <dsp:spPr>
        <a:xfrm>
          <a:off x="8213290" y="2054178"/>
          <a:ext cx="378958" cy="723472"/>
        </a:xfrm>
        <a:prstGeom prst="chevron">
          <a:avLst>
            <a:gd name="adj" fmla="val 6231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4C8A558-501C-427B-A9E9-5A1532EF386C}">
      <dsp:nvSpPr>
        <dsp:cNvPr id="0" name=""/>
        <dsp:cNvSpPr/>
      </dsp:nvSpPr>
      <dsp:spPr>
        <a:xfrm>
          <a:off x="8592248" y="1994389"/>
          <a:ext cx="1219990" cy="87849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kern="1200"/>
            <a:t>Le paiement des fournisseurs  </a:t>
          </a:r>
        </a:p>
      </dsp:txBody>
      <dsp:txXfrm>
        <a:off x="8770911" y="2123041"/>
        <a:ext cx="862664" cy="62118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Environnement &amp; problématique du projet</a:t>
          </a: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hoix du prestataire  </a:t>
          </a: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Réorganisation de l’entrepôt </a:t>
          </a: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D243D8-E264-40EB-BBA3-3F40E5AB8FAE}">
      <dsp:nvSpPr>
        <dsp:cNvPr id="0" name=""/>
        <dsp:cNvSpPr/>
      </dsp:nvSpPr>
      <dsp:spPr>
        <a:xfrm>
          <a:off x="0" y="0"/>
          <a:ext cx="3455597" cy="8774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Risque Non disponibilité de notre besoin à notre production</a:t>
          </a:r>
        </a:p>
      </dsp:txBody>
      <dsp:txXfrm>
        <a:off x="25699" y="25699"/>
        <a:ext cx="2406131" cy="826024"/>
      </dsp:txXfrm>
    </dsp:sp>
    <dsp:sp modelId="{BA4EC541-B93A-4C74-A8EA-D1CAD8BD38B0}">
      <dsp:nvSpPr>
        <dsp:cNvPr id="0" name=""/>
        <dsp:cNvSpPr/>
      </dsp:nvSpPr>
      <dsp:spPr>
        <a:xfrm>
          <a:off x="258047" y="999286"/>
          <a:ext cx="3455597" cy="8774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Absence d’une visibilité sur l’atteinte de l’objectif  </a:t>
          </a:r>
        </a:p>
      </dsp:txBody>
      <dsp:txXfrm>
        <a:off x="283746" y="1024985"/>
        <a:ext cx="2575826" cy="826024"/>
      </dsp:txXfrm>
    </dsp:sp>
    <dsp:sp modelId="{2CDA5766-E90A-4CDE-8C90-7BA8E3E78D02}">
      <dsp:nvSpPr>
        <dsp:cNvPr id="0" name=""/>
        <dsp:cNvSpPr/>
      </dsp:nvSpPr>
      <dsp:spPr>
        <a:xfrm>
          <a:off x="516095" y="1998573"/>
          <a:ext cx="3455597" cy="8774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Retard d'envoi de certificats d’analyse </a:t>
          </a:r>
        </a:p>
      </dsp:txBody>
      <dsp:txXfrm>
        <a:off x="541794" y="2024272"/>
        <a:ext cx="2575826" cy="826024"/>
      </dsp:txXfrm>
    </dsp:sp>
    <dsp:sp modelId="{C49A7DEF-7C42-4995-A174-72C727E3DBCF}">
      <dsp:nvSpPr>
        <dsp:cNvPr id="0" name=""/>
        <dsp:cNvSpPr/>
      </dsp:nvSpPr>
      <dsp:spPr>
        <a:xfrm>
          <a:off x="774143" y="2997860"/>
          <a:ext cx="3455597" cy="8774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Le temps pour réaliser des essais pour valider le produit (la matière)  </a:t>
          </a:r>
        </a:p>
      </dsp:txBody>
      <dsp:txXfrm>
        <a:off x="799842" y="3023559"/>
        <a:ext cx="2575826" cy="826024"/>
      </dsp:txXfrm>
    </dsp:sp>
    <dsp:sp modelId="{7C325972-3115-444C-9D8A-72A4FF75D281}">
      <dsp:nvSpPr>
        <dsp:cNvPr id="0" name=""/>
        <dsp:cNvSpPr/>
      </dsp:nvSpPr>
      <dsp:spPr>
        <a:xfrm>
          <a:off x="1032191" y="3997147"/>
          <a:ext cx="3455597" cy="8774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Date de libération de la matière première  </a:t>
          </a:r>
        </a:p>
      </dsp:txBody>
      <dsp:txXfrm>
        <a:off x="1057890" y="4022846"/>
        <a:ext cx="2575826" cy="826024"/>
      </dsp:txXfrm>
    </dsp:sp>
    <dsp:sp modelId="{4BBC3501-687F-497F-9C2B-390F17D91124}">
      <dsp:nvSpPr>
        <dsp:cNvPr id="0" name=""/>
        <dsp:cNvSpPr/>
      </dsp:nvSpPr>
      <dsp:spPr>
        <a:xfrm>
          <a:off x="2885272" y="641005"/>
          <a:ext cx="570324" cy="57032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013595" y="641005"/>
        <a:ext cx="313678" cy="429169"/>
      </dsp:txXfrm>
    </dsp:sp>
    <dsp:sp modelId="{AB68EB39-04F6-46D6-9058-073576E38CB2}">
      <dsp:nvSpPr>
        <dsp:cNvPr id="0" name=""/>
        <dsp:cNvSpPr/>
      </dsp:nvSpPr>
      <dsp:spPr>
        <a:xfrm>
          <a:off x="3143320" y="1640292"/>
          <a:ext cx="570324" cy="57032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271643" y="1640292"/>
        <a:ext cx="313678" cy="429169"/>
      </dsp:txXfrm>
    </dsp:sp>
    <dsp:sp modelId="{6764E931-1920-4372-9731-0183C34816D7}">
      <dsp:nvSpPr>
        <dsp:cNvPr id="0" name=""/>
        <dsp:cNvSpPr/>
      </dsp:nvSpPr>
      <dsp:spPr>
        <a:xfrm>
          <a:off x="3401368" y="2624955"/>
          <a:ext cx="570324" cy="57032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529691" y="2624955"/>
        <a:ext cx="313678" cy="429169"/>
      </dsp:txXfrm>
    </dsp:sp>
    <dsp:sp modelId="{515BA560-2CB5-4F34-8BCA-F62A1E881CDD}">
      <dsp:nvSpPr>
        <dsp:cNvPr id="0" name=""/>
        <dsp:cNvSpPr/>
      </dsp:nvSpPr>
      <dsp:spPr>
        <a:xfrm>
          <a:off x="3659416" y="3633991"/>
          <a:ext cx="570324" cy="57032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787739" y="3633991"/>
        <a:ext cx="313678" cy="42916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9C68E6-8E27-4C36-B39C-F156C7388983}">
      <dsp:nvSpPr>
        <dsp:cNvPr id="0" name=""/>
        <dsp:cNvSpPr/>
      </dsp:nvSpPr>
      <dsp:spPr>
        <a:xfrm>
          <a:off x="0" y="0"/>
          <a:ext cx="3954271" cy="108482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Absence d’une visibilité sur l’atteinte de l’objectif            </a:t>
          </a:r>
        </a:p>
      </dsp:txBody>
      <dsp:txXfrm>
        <a:off x="31774" y="31774"/>
        <a:ext cx="2691986" cy="1021281"/>
      </dsp:txXfrm>
    </dsp:sp>
    <dsp:sp modelId="{FD36BC66-DE7A-46FB-B71C-AC29A2C4B1A0}">
      <dsp:nvSpPr>
        <dsp:cNvPr id="0" name=""/>
        <dsp:cNvSpPr/>
      </dsp:nvSpPr>
      <dsp:spPr>
        <a:xfrm>
          <a:off x="331170" y="1282071"/>
          <a:ext cx="3954271" cy="108482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Rupture chez le fournisseurs :(Problème technique  chez le fournisseurs)   </a:t>
          </a:r>
        </a:p>
      </dsp:txBody>
      <dsp:txXfrm>
        <a:off x="362944" y="1313845"/>
        <a:ext cx="2854413" cy="1021281"/>
      </dsp:txXfrm>
    </dsp:sp>
    <dsp:sp modelId="{2CFA3E24-BEA6-44B6-973F-B0B09DA089E0}">
      <dsp:nvSpPr>
        <dsp:cNvPr id="0" name=""/>
        <dsp:cNvSpPr/>
      </dsp:nvSpPr>
      <dsp:spPr>
        <a:xfrm>
          <a:off x="657397" y="2564142"/>
          <a:ext cx="3954271" cy="108482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croissance de vente : Plan prévisionnels de notre besoin non fixé ( flux tendue) la variabilité du besoin                </a:t>
          </a:r>
        </a:p>
      </dsp:txBody>
      <dsp:txXfrm>
        <a:off x="689171" y="2595916"/>
        <a:ext cx="2859356" cy="1021281"/>
      </dsp:txXfrm>
    </dsp:sp>
    <dsp:sp modelId="{D24FC8D5-06DF-4A30-A656-B897B64E0691}">
      <dsp:nvSpPr>
        <dsp:cNvPr id="0" name=""/>
        <dsp:cNvSpPr/>
      </dsp:nvSpPr>
      <dsp:spPr>
        <a:xfrm>
          <a:off x="988567" y="3846214"/>
          <a:ext cx="3954271" cy="108482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Le fournisseurs a deux  </a:t>
          </a:r>
          <a:r>
            <a:rPr lang="fr-FR" sz="1200" kern="1200" dirty="0" err="1"/>
            <a:t>Vendor</a:t>
          </a:r>
          <a:r>
            <a:rPr lang="fr-FR" sz="1200" kern="1200" dirty="0"/>
            <a:t> site dans le système Globe</a:t>
          </a:r>
        </a:p>
      </dsp:txBody>
      <dsp:txXfrm>
        <a:off x="1020341" y="3877988"/>
        <a:ext cx="2854413" cy="1021281"/>
      </dsp:txXfrm>
    </dsp:sp>
    <dsp:sp modelId="{347B2048-CC95-4BE4-934C-727AE53978A8}">
      <dsp:nvSpPr>
        <dsp:cNvPr id="0" name=""/>
        <dsp:cNvSpPr/>
      </dsp:nvSpPr>
      <dsp:spPr>
        <a:xfrm>
          <a:off x="3249131" y="830880"/>
          <a:ext cx="705139" cy="705139"/>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407787" y="830880"/>
        <a:ext cx="387827" cy="530617"/>
      </dsp:txXfrm>
    </dsp:sp>
    <dsp:sp modelId="{AFBAD620-EA7D-45E0-BCA2-B7666E823960}">
      <dsp:nvSpPr>
        <dsp:cNvPr id="0" name=""/>
        <dsp:cNvSpPr/>
      </dsp:nvSpPr>
      <dsp:spPr>
        <a:xfrm>
          <a:off x="3580302" y="2112952"/>
          <a:ext cx="705139" cy="705139"/>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3738958" y="2112952"/>
        <a:ext cx="387827" cy="530617"/>
      </dsp:txXfrm>
    </dsp:sp>
    <dsp:sp modelId="{D8E7AD0B-B590-4D9F-9FF9-EA9A52E0C2D4}">
      <dsp:nvSpPr>
        <dsp:cNvPr id="0" name=""/>
        <dsp:cNvSpPr/>
      </dsp:nvSpPr>
      <dsp:spPr>
        <a:xfrm>
          <a:off x="3906529" y="3395023"/>
          <a:ext cx="705139" cy="705139"/>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fr-FR" sz="1200" kern="1200"/>
        </a:p>
      </dsp:txBody>
      <dsp:txXfrm>
        <a:off x="4065185" y="3395023"/>
        <a:ext cx="387827" cy="530617"/>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blipFill rotWithShape="0">
          <a:blip xmlns:r="http://schemas.openxmlformats.org/officeDocument/2006/relationships" r:embed="rId1">
            <a:duotone>
              <a:schemeClr val="lt1">
                <a:hueOff val="0"/>
                <a:satOff val="0"/>
                <a:lumOff val="0"/>
                <a:alphaOff val="0"/>
                <a:shade val="20000"/>
                <a:satMod val="200000"/>
              </a:schemeClr>
              <a:schemeClr val="lt1">
                <a:hueOff val="0"/>
                <a:satOff val="0"/>
                <a:lumOff val="0"/>
                <a:alphaOff val="0"/>
                <a:tint val="12000"/>
                <a:satMod val="190000"/>
              </a:schemeClr>
            </a:duotone>
          </a:blip>
          <a:stretch>
            <a:fillRect/>
          </a:stretch>
        </a:blip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3"/>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1"/>
      </dsp:txXfrm>
    </dsp:sp>
    <dsp:sp modelId="{1B57603F-6D14-4EC3-B4E3-8B8E29F0AF82}">
      <dsp:nvSpPr>
        <dsp:cNvPr id="0" name=""/>
        <dsp:cNvSpPr/>
      </dsp:nvSpPr>
      <dsp:spPr>
        <a:xfrm>
          <a:off x="2570634" y="0"/>
          <a:ext cx="494403" cy="525153"/>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2570634" y="105031"/>
        <a:ext cx="346082" cy="315091"/>
      </dsp:txXfrm>
    </dsp:sp>
    <dsp:sp modelId="{5D437852-1E36-4551-AE22-3D21BF486FA9}">
      <dsp:nvSpPr>
        <dsp:cNvPr id="0" name=""/>
        <dsp:cNvSpPr/>
      </dsp:nvSpPr>
      <dsp:spPr>
        <a:xfrm>
          <a:off x="3270262" y="0"/>
          <a:ext cx="2332091" cy="525153"/>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1"/>
      </dsp:txXfrm>
    </dsp:sp>
    <dsp:sp modelId="{CD543A52-B769-4817-BCDB-9E04D3B82E2C}">
      <dsp:nvSpPr>
        <dsp:cNvPr id="0" name=""/>
        <dsp:cNvSpPr/>
      </dsp:nvSpPr>
      <dsp:spPr>
        <a:xfrm>
          <a:off x="5835562" y="0"/>
          <a:ext cx="494403" cy="525153"/>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5835562" y="105031"/>
        <a:ext cx="346082" cy="315091"/>
      </dsp:txXfrm>
    </dsp:sp>
    <dsp:sp modelId="{599C6788-14AC-4886-BE98-CFABBA2B6CBC}">
      <dsp:nvSpPr>
        <dsp:cNvPr id="0" name=""/>
        <dsp:cNvSpPr/>
      </dsp:nvSpPr>
      <dsp:spPr>
        <a:xfrm>
          <a:off x="6535190" y="0"/>
          <a:ext cx="2332091" cy="525153"/>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1"/>
      </dsp:txXfrm>
    </dsp:sp>
    <dsp:sp modelId="{EBA8B8BB-8B80-463D-B5C0-9886029E31EB}">
      <dsp:nvSpPr>
        <dsp:cNvPr id="0" name=""/>
        <dsp:cNvSpPr/>
      </dsp:nvSpPr>
      <dsp:spPr>
        <a:xfrm>
          <a:off x="9100491" y="0"/>
          <a:ext cx="494403" cy="525153"/>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fr-FR" sz="2300" kern="1200"/>
        </a:p>
      </dsp:txBody>
      <dsp:txXfrm>
        <a:off x="9100491" y="105031"/>
        <a:ext cx="346082" cy="315091"/>
      </dsp:txXfrm>
    </dsp:sp>
    <dsp:sp modelId="{83AD4C98-81CD-4554-959F-68EE175480AA}">
      <dsp:nvSpPr>
        <dsp:cNvPr id="0" name=""/>
        <dsp:cNvSpPr/>
      </dsp:nvSpPr>
      <dsp:spPr>
        <a:xfrm>
          <a:off x="9800118" y="0"/>
          <a:ext cx="2332091" cy="525153"/>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1"/>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B311C3-70C6-4792-B70A-601B5F22FCE0}">
      <dsp:nvSpPr>
        <dsp:cNvPr id="0" name=""/>
        <dsp:cNvSpPr/>
      </dsp:nvSpPr>
      <dsp:spPr>
        <a:xfrm rot="5400000">
          <a:off x="558902" y="1392146"/>
          <a:ext cx="1672819" cy="2783533"/>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3D97BD-79C4-4734-9A3B-FA80DAD5B869}">
      <dsp:nvSpPr>
        <dsp:cNvPr id="0" name=""/>
        <dsp:cNvSpPr/>
      </dsp:nvSpPr>
      <dsp:spPr>
        <a:xfrm>
          <a:off x="314321" y="2237645"/>
          <a:ext cx="2443681" cy="2175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150000"/>
            </a:lnSpc>
            <a:spcBef>
              <a:spcPct val="0"/>
            </a:spcBef>
            <a:spcAft>
              <a:spcPct val="35000"/>
            </a:spcAft>
            <a:buNone/>
          </a:pPr>
          <a:r>
            <a:rPr lang="fr-FR" sz="1200" b="1" kern="1200" dirty="0">
              <a:solidFill>
                <a:schemeClr val="tx1"/>
              </a:solidFill>
            </a:rPr>
            <a:t>-</a:t>
          </a:r>
          <a:r>
            <a:rPr lang="fr-FR" sz="1200" b="1" kern="1200" dirty="0">
              <a:solidFill>
                <a:prstClr val="black">
                  <a:hueOff val="0"/>
                  <a:satOff val="0"/>
                  <a:lumOff val="0"/>
                  <a:alphaOff val="0"/>
                </a:prstClr>
              </a:solidFill>
              <a:latin typeface="Open Sans"/>
              <a:ea typeface="+mn-ea"/>
              <a:cs typeface="+mn-cs"/>
            </a:rPr>
            <a:t>Fiche d’évaluation de la performance  fournisseur</a:t>
          </a:r>
        </a:p>
        <a:p>
          <a:pPr marL="0" lvl="0" indent="0" algn="l" defTabSz="533400">
            <a:lnSpc>
              <a:spcPct val="150000"/>
            </a:lnSpc>
            <a:spcBef>
              <a:spcPct val="0"/>
            </a:spcBef>
            <a:spcAft>
              <a:spcPct val="35000"/>
            </a:spcAft>
            <a:buNone/>
          </a:pPr>
          <a:r>
            <a:rPr lang="fr-FR" sz="1200" b="1" kern="1200" dirty="0">
              <a:solidFill>
                <a:prstClr val="black">
                  <a:hueOff val="0"/>
                  <a:satOff val="0"/>
                  <a:lumOff val="0"/>
                  <a:alphaOff val="0"/>
                </a:prstClr>
              </a:solidFill>
              <a:latin typeface="Open Sans"/>
              <a:ea typeface="+mn-ea"/>
              <a:cs typeface="+mn-cs"/>
            </a:rPr>
            <a:t>- </a:t>
          </a:r>
          <a:r>
            <a:rPr lang="fr-FR" sz="1200" b="1" kern="1200" dirty="0" err="1">
              <a:solidFill>
                <a:prstClr val="black">
                  <a:hueOff val="0"/>
                  <a:satOff val="0"/>
                  <a:lumOff val="0"/>
                  <a:alphaOff val="0"/>
                </a:prstClr>
              </a:solidFill>
              <a:latin typeface="Open Sans"/>
              <a:ea typeface="+mn-ea"/>
              <a:cs typeface="+mn-cs"/>
            </a:rPr>
            <a:t>Vendor</a:t>
          </a:r>
          <a:r>
            <a:rPr lang="fr-FR" sz="1200" b="1" kern="1200" dirty="0">
              <a:solidFill>
                <a:prstClr val="black">
                  <a:hueOff val="0"/>
                  <a:satOff val="0"/>
                  <a:lumOff val="0"/>
                  <a:alphaOff val="0"/>
                </a:prstClr>
              </a:solidFill>
              <a:latin typeface="Open Sans"/>
              <a:ea typeface="+mn-ea"/>
              <a:cs typeface="+mn-cs"/>
            </a:rPr>
            <a:t> site /BL </a:t>
          </a:r>
        </a:p>
        <a:p>
          <a:pPr marL="0" lvl="0" indent="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Gérer au mieux notre panel fournisseurs</a:t>
          </a:r>
        </a:p>
        <a:p>
          <a:pPr marL="0" lvl="0" indent="0" algn="l" defTabSz="533400">
            <a:lnSpc>
              <a:spcPct val="150000"/>
            </a:lnSpc>
            <a:spcBef>
              <a:spcPct val="0"/>
            </a:spcBef>
            <a:spcAft>
              <a:spcPct val="35000"/>
            </a:spcAft>
            <a:buNone/>
          </a:pPr>
          <a:endParaRPr lang="fr-FR" sz="1400" b="1" kern="1200" dirty="0">
            <a:solidFill>
              <a:prstClr val="black">
                <a:hueOff val="0"/>
                <a:satOff val="0"/>
                <a:lumOff val="0"/>
                <a:alphaOff val="0"/>
              </a:prstClr>
            </a:solidFill>
            <a:latin typeface="Open Sans"/>
            <a:ea typeface="+mn-ea"/>
            <a:cs typeface="+mn-cs"/>
          </a:endParaRPr>
        </a:p>
      </dsp:txBody>
      <dsp:txXfrm>
        <a:off x="314321" y="2237645"/>
        <a:ext cx="2443681" cy="2175138"/>
      </dsp:txXfrm>
    </dsp:sp>
    <dsp:sp modelId="{20D36B8C-4BBA-40C7-A1AC-51081465B03A}">
      <dsp:nvSpPr>
        <dsp:cNvPr id="0" name=""/>
        <dsp:cNvSpPr/>
      </dsp:nvSpPr>
      <dsp:spPr>
        <a:xfrm>
          <a:off x="2318508" y="1187219"/>
          <a:ext cx="474149" cy="474149"/>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4DBD82-055C-4DAD-BEF9-9F44671B8969}">
      <dsp:nvSpPr>
        <dsp:cNvPr id="0" name=""/>
        <dsp:cNvSpPr/>
      </dsp:nvSpPr>
      <dsp:spPr>
        <a:xfrm rot="5400000">
          <a:off x="3635293" y="796330"/>
          <a:ext cx="1672819" cy="2783533"/>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FFEA91-D2A0-4538-9B45-EE7325FB669F}">
      <dsp:nvSpPr>
        <dsp:cNvPr id="0" name=""/>
        <dsp:cNvSpPr/>
      </dsp:nvSpPr>
      <dsp:spPr>
        <a:xfrm>
          <a:off x="3518447" y="1825167"/>
          <a:ext cx="2512990" cy="1871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Respect de la politique Nestlé </a:t>
          </a:r>
        </a:p>
        <a:p>
          <a:pPr marL="0" lvl="0" indent="0" algn="l" defTabSz="622300">
            <a:lnSpc>
              <a:spcPct val="9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Adaptation des bonnes pratiques</a:t>
          </a:r>
        </a:p>
        <a:p>
          <a:pPr marL="0" lvl="0" indent="0" algn="l" defTabSz="622300">
            <a:lnSpc>
              <a:spcPct val="9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Amélioration de la satisfaction du client interne</a:t>
          </a:r>
        </a:p>
        <a:p>
          <a:pPr marL="0" lvl="0" indent="0" algn="l" defTabSz="622300">
            <a:lnSpc>
              <a:spcPct val="9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a:t>
          </a:r>
        </a:p>
      </dsp:txBody>
      <dsp:txXfrm>
        <a:off x="3518447" y="1825167"/>
        <a:ext cx="2512990" cy="1871903"/>
      </dsp:txXfrm>
    </dsp:sp>
    <dsp:sp modelId="{B4A91A21-B1F6-4264-8B22-EFB6D584292F}">
      <dsp:nvSpPr>
        <dsp:cNvPr id="0" name=""/>
        <dsp:cNvSpPr/>
      </dsp:nvSpPr>
      <dsp:spPr>
        <a:xfrm>
          <a:off x="5394899" y="591403"/>
          <a:ext cx="474149" cy="474149"/>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C1E081-6CB5-4151-9E63-A3E436FEFFED}">
      <dsp:nvSpPr>
        <dsp:cNvPr id="0" name=""/>
        <dsp:cNvSpPr/>
      </dsp:nvSpPr>
      <dsp:spPr>
        <a:xfrm rot="5400000">
          <a:off x="6711683" y="35074"/>
          <a:ext cx="1672819" cy="2783533"/>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44EFA4-575F-4345-B1CC-8BEE3CEC7A2C}">
      <dsp:nvSpPr>
        <dsp:cNvPr id="0" name=""/>
        <dsp:cNvSpPr/>
      </dsp:nvSpPr>
      <dsp:spPr>
        <a:xfrm>
          <a:off x="6432448" y="866751"/>
          <a:ext cx="2512990" cy="2202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Travail en équipe </a:t>
          </a:r>
        </a:p>
        <a:p>
          <a:pPr marL="0" lvl="0" indent="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Esprit de professionnalisme </a:t>
          </a:r>
        </a:p>
        <a:p>
          <a:pPr marL="0" lvl="0" indent="0" algn="l" defTabSz="533400">
            <a:lnSpc>
              <a:spcPct val="150000"/>
            </a:lnSpc>
            <a:spcBef>
              <a:spcPct val="0"/>
            </a:spcBef>
            <a:spcAft>
              <a:spcPct val="35000"/>
            </a:spcAft>
            <a:buNone/>
          </a:pPr>
          <a:r>
            <a:rPr lang="fr-FR" sz="1400" b="1" kern="1200" dirty="0">
              <a:solidFill>
                <a:prstClr val="black">
                  <a:hueOff val="0"/>
                  <a:satOff val="0"/>
                  <a:lumOff val="0"/>
                  <a:alphaOff val="0"/>
                </a:prstClr>
              </a:solidFill>
              <a:latin typeface="Open Sans"/>
              <a:ea typeface="+mn-ea"/>
              <a:cs typeface="+mn-cs"/>
            </a:rPr>
            <a:t>- Amélioration </a:t>
          </a:r>
        </a:p>
      </dsp:txBody>
      <dsp:txXfrm>
        <a:off x="6432448" y="866751"/>
        <a:ext cx="2512990" cy="2202783"/>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2E5510-2EDF-4E90-B980-33761B95AD07}">
      <dsp:nvSpPr>
        <dsp:cNvPr id="0" name=""/>
        <dsp:cNvSpPr/>
      </dsp:nvSpPr>
      <dsp:spPr>
        <a:xfrm>
          <a:off x="1784386" y="784080"/>
          <a:ext cx="1161426" cy="1028833"/>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E0CABA-6991-40B2-B14B-16332715B9E9}">
      <dsp:nvSpPr>
        <dsp:cNvPr id="0" name=""/>
        <dsp:cNvSpPr/>
      </dsp:nvSpPr>
      <dsp:spPr>
        <a:xfrm>
          <a:off x="2952948" y="784086"/>
          <a:ext cx="876555"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Taux de conformité </a:t>
          </a:r>
        </a:p>
      </dsp:txBody>
      <dsp:txXfrm>
        <a:off x="2978621" y="809759"/>
        <a:ext cx="825209" cy="860975"/>
      </dsp:txXfrm>
    </dsp:sp>
    <dsp:sp modelId="{ACB3FD28-AFD9-4914-B5B8-962C57EEA36D}">
      <dsp:nvSpPr>
        <dsp:cNvPr id="0" name=""/>
        <dsp:cNvSpPr/>
      </dsp:nvSpPr>
      <dsp:spPr>
        <a:xfrm>
          <a:off x="1531773" y="203159"/>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Quantité</a:t>
          </a:r>
        </a:p>
      </dsp:txBody>
      <dsp:txXfrm>
        <a:off x="1531773" y="203159"/>
        <a:ext cx="2144097" cy="428625"/>
      </dsp:txXfrm>
    </dsp:sp>
    <dsp:sp modelId="{598232B7-6749-464E-842C-D7E8AB50254B}">
      <dsp:nvSpPr>
        <dsp:cNvPr id="0" name=""/>
        <dsp:cNvSpPr/>
      </dsp:nvSpPr>
      <dsp:spPr>
        <a:xfrm>
          <a:off x="4823435" y="634999"/>
          <a:ext cx="1160557" cy="1250412"/>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000" r="-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E3A079-C8A5-443D-B33D-6919F10B41F3}">
      <dsp:nvSpPr>
        <dsp:cNvPr id="0" name=""/>
        <dsp:cNvSpPr/>
      </dsp:nvSpPr>
      <dsp:spPr>
        <a:xfrm>
          <a:off x="6065951" y="781386"/>
          <a:ext cx="1026411"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fr-FR" sz="1200" kern="1200" dirty="0"/>
            <a:t>ISO 9001</a:t>
          </a:r>
        </a:p>
        <a:p>
          <a:pPr marL="114300" lvl="1" indent="-114300" algn="l" defTabSz="533400">
            <a:lnSpc>
              <a:spcPct val="90000"/>
            </a:lnSpc>
            <a:spcBef>
              <a:spcPct val="0"/>
            </a:spcBef>
            <a:spcAft>
              <a:spcPct val="15000"/>
            </a:spcAft>
            <a:buChar char="•"/>
          </a:pPr>
          <a:r>
            <a:rPr lang="fr-FR" sz="1200" kern="1200" dirty="0"/>
            <a:t>Taux de conformité</a:t>
          </a:r>
        </a:p>
      </dsp:txBody>
      <dsp:txXfrm>
        <a:off x="6092672" y="808107"/>
        <a:ext cx="972969" cy="858879"/>
      </dsp:txXfrm>
    </dsp:sp>
    <dsp:sp modelId="{CA1776B9-50CB-4F7B-864C-5E4AEE90D451}">
      <dsp:nvSpPr>
        <dsp:cNvPr id="0" name=""/>
        <dsp:cNvSpPr/>
      </dsp:nvSpPr>
      <dsp:spPr>
        <a:xfrm>
          <a:off x="4697623" y="147764"/>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Qualité</a:t>
          </a:r>
        </a:p>
      </dsp:txBody>
      <dsp:txXfrm>
        <a:off x="4697623" y="147764"/>
        <a:ext cx="2144097" cy="428625"/>
      </dsp:txXfrm>
    </dsp:sp>
    <dsp:sp modelId="{D27799FD-63F9-42DC-A2F4-E75E318C5E92}">
      <dsp:nvSpPr>
        <dsp:cNvPr id="0" name=""/>
        <dsp:cNvSpPr/>
      </dsp:nvSpPr>
      <dsp:spPr>
        <a:xfrm>
          <a:off x="8004551" y="654092"/>
          <a:ext cx="1133475" cy="1097482"/>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13453" t="-211054" r="-159310" b="-21134"/>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9FA218-CAAE-4B1C-BBDA-7DAA20932546}">
      <dsp:nvSpPr>
        <dsp:cNvPr id="0" name=""/>
        <dsp:cNvSpPr/>
      </dsp:nvSpPr>
      <dsp:spPr>
        <a:xfrm>
          <a:off x="9218030" y="714218"/>
          <a:ext cx="1219166"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fr-FR" sz="1200" kern="1200" dirty="0"/>
            <a:t>Taux de conformité</a:t>
          </a:r>
        </a:p>
        <a:p>
          <a:pPr marL="114300" lvl="1" indent="-114300" algn="l" defTabSz="533400">
            <a:lnSpc>
              <a:spcPct val="90000"/>
            </a:lnSpc>
            <a:spcBef>
              <a:spcPct val="0"/>
            </a:spcBef>
            <a:spcAft>
              <a:spcPct val="15000"/>
            </a:spcAft>
            <a:buChar char="•"/>
          </a:pPr>
          <a:r>
            <a:rPr lang="fr-FR" sz="1200" kern="1200" dirty="0"/>
            <a:t>Livraison à temps</a:t>
          </a:r>
        </a:p>
        <a:p>
          <a:pPr marL="114300" lvl="1" indent="-114300" algn="l" defTabSz="533400">
            <a:lnSpc>
              <a:spcPct val="90000"/>
            </a:lnSpc>
            <a:spcBef>
              <a:spcPct val="0"/>
            </a:spcBef>
            <a:spcAft>
              <a:spcPct val="15000"/>
            </a:spcAft>
            <a:buChar char="•"/>
          </a:pPr>
          <a:r>
            <a:rPr lang="fr-FR" sz="1200" kern="1200" dirty="0"/>
            <a:t>Réactivité</a:t>
          </a:r>
        </a:p>
      </dsp:txBody>
      <dsp:txXfrm>
        <a:off x="9244751" y="740939"/>
        <a:ext cx="1165724" cy="858879"/>
      </dsp:txXfrm>
    </dsp:sp>
    <dsp:sp modelId="{CDC218D8-A87B-418A-8F68-3B1711045E6D}">
      <dsp:nvSpPr>
        <dsp:cNvPr id="0" name=""/>
        <dsp:cNvSpPr/>
      </dsp:nvSpPr>
      <dsp:spPr>
        <a:xfrm>
          <a:off x="7938401" y="185996"/>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Délai</a:t>
          </a:r>
        </a:p>
      </dsp:txBody>
      <dsp:txXfrm>
        <a:off x="7938401" y="185996"/>
        <a:ext cx="2144097" cy="428625"/>
      </dsp:txXfrm>
    </dsp:sp>
    <dsp:sp modelId="{1C7DB622-0050-45A9-ADA4-E4A177011ABA}">
      <dsp:nvSpPr>
        <dsp:cNvPr id="0" name=""/>
        <dsp:cNvSpPr/>
      </dsp:nvSpPr>
      <dsp:spPr>
        <a:xfrm>
          <a:off x="1576875" y="2532220"/>
          <a:ext cx="1578939" cy="1566265"/>
        </a:xfrm>
        <a:prstGeom prst="rect">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145205" t="18197" r="24706" b="-139356"/>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72B54B-FDC0-4DA9-AAEA-B7D3EE90913B}">
      <dsp:nvSpPr>
        <dsp:cNvPr id="0" name=""/>
        <dsp:cNvSpPr/>
      </dsp:nvSpPr>
      <dsp:spPr>
        <a:xfrm>
          <a:off x="2662335" y="2897396"/>
          <a:ext cx="1042776"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Compétitivité</a:t>
          </a:r>
        </a:p>
      </dsp:txBody>
      <dsp:txXfrm>
        <a:off x="2689056" y="2924117"/>
        <a:ext cx="989334" cy="858879"/>
      </dsp:txXfrm>
    </dsp:sp>
    <dsp:sp modelId="{29C6E747-201A-44E7-82C9-DAAF74D6A6E6}">
      <dsp:nvSpPr>
        <dsp:cNvPr id="0" name=""/>
        <dsp:cNvSpPr/>
      </dsp:nvSpPr>
      <dsp:spPr>
        <a:xfrm>
          <a:off x="1541244" y="2182112"/>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Cout</a:t>
          </a:r>
        </a:p>
      </dsp:txBody>
      <dsp:txXfrm>
        <a:off x="1541244" y="2182112"/>
        <a:ext cx="2144097" cy="428625"/>
      </dsp:txXfrm>
    </dsp:sp>
    <dsp:sp modelId="{86CBC5A9-4778-48E2-AA16-794BCC5399B6}">
      <dsp:nvSpPr>
        <dsp:cNvPr id="0" name=""/>
        <dsp:cNvSpPr/>
      </dsp:nvSpPr>
      <dsp:spPr>
        <a:xfrm>
          <a:off x="5149286" y="2925514"/>
          <a:ext cx="1006720" cy="1014705"/>
        </a:xfrm>
        <a:prstGeom prst="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12000" r="-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9B45BB2-3DE8-4953-9CCA-C23C3FB8594E}">
      <dsp:nvSpPr>
        <dsp:cNvPr id="0" name=""/>
        <dsp:cNvSpPr/>
      </dsp:nvSpPr>
      <dsp:spPr>
        <a:xfrm>
          <a:off x="6396189" y="2917295"/>
          <a:ext cx="1164916"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Nb d’idée d’amélioration</a:t>
          </a:r>
        </a:p>
      </dsp:txBody>
      <dsp:txXfrm>
        <a:off x="6422910" y="2944016"/>
        <a:ext cx="1111474" cy="858879"/>
      </dsp:txXfrm>
    </dsp:sp>
    <dsp:sp modelId="{56756393-D376-4923-8942-167120B2DE5F}">
      <dsp:nvSpPr>
        <dsp:cNvPr id="0" name=""/>
        <dsp:cNvSpPr/>
      </dsp:nvSpPr>
      <dsp:spPr>
        <a:xfrm>
          <a:off x="4790205" y="2320002"/>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Innovation </a:t>
          </a:r>
        </a:p>
      </dsp:txBody>
      <dsp:txXfrm>
        <a:off x="4790205" y="2320002"/>
        <a:ext cx="2144097" cy="428625"/>
      </dsp:txXfrm>
    </dsp:sp>
    <dsp:sp modelId="{38D1B31D-9407-45EF-A432-F520D2637151}">
      <dsp:nvSpPr>
        <dsp:cNvPr id="0" name=""/>
        <dsp:cNvSpPr/>
      </dsp:nvSpPr>
      <dsp:spPr>
        <a:xfrm>
          <a:off x="8424951" y="2821232"/>
          <a:ext cx="1494664" cy="1218257"/>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8000" r="-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410F72-6EF5-4B57-9EDF-B3711208ABB7}">
      <dsp:nvSpPr>
        <dsp:cNvPr id="0" name=""/>
        <dsp:cNvSpPr/>
      </dsp:nvSpPr>
      <dsp:spPr>
        <a:xfrm>
          <a:off x="9850400" y="2866407"/>
          <a:ext cx="876555" cy="91232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fr-FR" sz="1200" kern="1200" dirty="0"/>
            <a:t>Signature des CGA </a:t>
          </a:r>
        </a:p>
      </dsp:txBody>
      <dsp:txXfrm>
        <a:off x="9876073" y="2892080"/>
        <a:ext cx="825209" cy="860975"/>
      </dsp:txXfrm>
    </dsp:sp>
    <dsp:sp modelId="{03D6C984-C4E0-47DE-9A65-1F3E3151003A}">
      <dsp:nvSpPr>
        <dsp:cNvPr id="0" name=""/>
        <dsp:cNvSpPr/>
      </dsp:nvSpPr>
      <dsp:spPr>
        <a:xfrm>
          <a:off x="8100235" y="2269114"/>
          <a:ext cx="2144097" cy="4286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kern="1200" dirty="0"/>
            <a:t>Management</a:t>
          </a:r>
        </a:p>
      </dsp:txBody>
      <dsp:txXfrm>
        <a:off x="8100235" y="2269114"/>
        <a:ext cx="2144097" cy="4286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CC34C0-BB0D-4B63-B826-76F1420454B3}">
      <dsp:nvSpPr>
        <dsp:cNvPr id="0" name=""/>
        <dsp:cNvSpPr/>
      </dsp:nvSpPr>
      <dsp:spPr>
        <a:xfrm>
          <a:off x="5130735" y="1008165"/>
          <a:ext cx="1939761" cy="461575"/>
        </a:xfrm>
        <a:custGeom>
          <a:avLst/>
          <a:gdLst/>
          <a:ahLst/>
          <a:cxnLst/>
          <a:rect l="0" t="0" r="0" b="0"/>
          <a:pathLst>
            <a:path>
              <a:moveTo>
                <a:pt x="0" y="0"/>
              </a:moveTo>
              <a:lnTo>
                <a:pt x="0" y="314549"/>
              </a:lnTo>
              <a:lnTo>
                <a:pt x="1939761" y="314549"/>
              </a:lnTo>
              <a:lnTo>
                <a:pt x="1939761" y="461575"/>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4A887D-B66C-4D5F-BFC6-7B4647D31722}">
      <dsp:nvSpPr>
        <dsp:cNvPr id="0" name=""/>
        <dsp:cNvSpPr/>
      </dsp:nvSpPr>
      <dsp:spPr>
        <a:xfrm>
          <a:off x="5085015" y="2477534"/>
          <a:ext cx="91440" cy="461575"/>
        </a:xfrm>
        <a:custGeom>
          <a:avLst/>
          <a:gdLst/>
          <a:ahLst/>
          <a:cxnLst/>
          <a:rect l="0" t="0" r="0" b="0"/>
          <a:pathLst>
            <a:path>
              <a:moveTo>
                <a:pt x="45720" y="0"/>
              </a:moveTo>
              <a:lnTo>
                <a:pt x="45720" y="461575"/>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8C905ED-A4E7-4BE1-9AB6-4765321BB6D3}">
      <dsp:nvSpPr>
        <dsp:cNvPr id="0" name=""/>
        <dsp:cNvSpPr/>
      </dsp:nvSpPr>
      <dsp:spPr>
        <a:xfrm>
          <a:off x="5085015" y="1008165"/>
          <a:ext cx="91440" cy="461575"/>
        </a:xfrm>
        <a:custGeom>
          <a:avLst/>
          <a:gdLst/>
          <a:ahLst/>
          <a:cxnLst/>
          <a:rect l="0" t="0" r="0" b="0"/>
          <a:pathLst>
            <a:path>
              <a:moveTo>
                <a:pt x="45720" y="0"/>
              </a:moveTo>
              <a:lnTo>
                <a:pt x="45720" y="461575"/>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27DB7D-9512-49A0-A4F1-CAC6166ED106}">
      <dsp:nvSpPr>
        <dsp:cNvPr id="0" name=""/>
        <dsp:cNvSpPr/>
      </dsp:nvSpPr>
      <dsp:spPr>
        <a:xfrm>
          <a:off x="3190973" y="1008165"/>
          <a:ext cx="1939761" cy="461575"/>
        </a:xfrm>
        <a:custGeom>
          <a:avLst/>
          <a:gdLst/>
          <a:ahLst/>
          <a:cxnLst/>
          <a:rect l="0" t="0" r="0" b="0"/>
          <a:pathLst>
            <a:path>
              <a:moveTo>
                <a:pt x="1939761" y="0"/>
              </a:moveTo>
              <a:lnTo>
                <a:pt x="1939761" y="314549"/>
              </a:lnTo>
              <a:lnTo>
                <a:pt x="0" y="314549"/>
              </a:lnTo>
              <a:lnTo>
                <a:pt x="0" y="461575"/>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240A12-1EEB-4E2F-B28D-ED92EE131A1A}">
      <dsp:nvSpPr>
        <dsp:cNvPr id="0" name=""/>
        <dsp:cNvSpPr/>
      </dsp:nvSpPr>
      <dsp:spPr>
        <a:xfrm>
          <a:off x="4337196" y="371"/>
          <a:ext cx="1587077" cy="1007794"/>
        </a:xfrm>
        <a:prstGeom prst="roundRect">
          <a:avLst>
            <a:gd name="adj" fmla="val 10000"/>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C8EA699-FDA8-4570-A96E-01ED164F2E95}">
      <dsp:nvSpPr>
        <dsp:cNvPr id="0" name=""/>
        <dsp:cNvSpPr/>
      </dsp:nvSpPr>
      <dsp:spPr>
        <a:xfrm>
          <a:off x="4513538" y="167895"/>
          <a:ext cx="1587077" cy="1007794"/>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kern="1200"/>
            <a:t>Direction Supply chain</a:t>
          </a:r>
        </a:p>
      </dsp:txBody>
      <dsp:txXfrm>
        <a:off x="4543055" y="197412"/>
        <a:ext cx="1528043" cy="948760"/>
      </dsp:txXfrm>
    </dsp:sp>
    <dsp:sp modelId="{484B539A-5815-4AF6-A813-9D127296EE87}">
      <dsp:nvSpPr>
        <dsp:cNvPr id="0" name=""/>
        <dsp:cNvSpPr/>
      </dsp:nvSpPr>
      <dsp:spPr>
        <a:xfrm>
          <a:off x="2397435" y="1469740"/>
          <a:ext cx="1587077" cy="1007794"/>
        </a:xfrm>
        <a:prstGeom prst="roundRect">
          <a:avLst>
            <a:gd name="adj" fmla="val 10000"/>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A7254BB-EB4C-4D40-8069-74720AC092F1}">
      <dsp:nvSpPr>
        <dsp:cNvPr id="0" name=""/>
        <dsp:cNvSpPr/>
      </dsp:nvSpPr>
      <dsp:spPr>
        <a:xfrm>
          <a:off x="2573777" y="1637265"/>
          <a:ext cx="1587077" cy="1007794"/>
        </a:xfrm>
        <a:prstGeom prst="roundRect">
          <a:avLst>
            <a:gd name="adj" fmla="val 10000"/>
          </a:avLst>
        </a:prstGeom>
        <a:solidFill>
          <a:schemeClr val="tx2">
            <a:lumMod val="40000"/>
            <a:lumOff val="60000"/>
            <a:alpha val="9000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1" kern="1200"/>
            <a:t>Achats</a:t>
          </a:r>
          <a:r>
            <a:rPr lang="fr-FR" sz="1600" kern="1200"/>
            <a:t> </a:t>
          </a:r>
          <a:r>
            <a:rPr lang="fr-FR" kern="1200"/>
            <a:t> </a:t>
          </a:r>
          <a:endParaRPr lang="fr-FR" sz="1600" kern="1200"/>
        </a:p>
      </dsp:txBody>
      <dsp:txXfrm>
        <a:off x="2603294" y="1666782"/>
        <a:ext cx="1528043" cy="948760"/>
      </dsp:txXfrm>
    </dsp:sp>
    <dsp:sp modelId="{1ED3599B-555A-4214-B7CF-0195D8CFD821}">
      <dsp:nvSpPr>
        <dsp:cNvPr id="0" name=""/>
        <dsp:cNvSpPr/>
      </dsp:nvSpPr>
      <dsp:spPr>
        <a:xfrm>
          <a:off x="4337196" y="1469740"/>
          <a:ext cx="1587077" cy="1007794"/>
        </a:xfrm>
        <a:prstGeom prst="roundRect">
          <a:avLst>
            <a:gd name="adj" fmla="val 10000"/>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2781FE7E-C08B-49A4-B3EB-AC3AA17196B1}">
      <dsp:nvSpPr>
        <dsp:cNvPr id="0" name=""/>
        <dsp:cNvSpPr/>
      </dsp:nvSpPr>
      <dsp:spPr>
        <a:xfrm>
          <a:off x="4513538" y="1637265"/>
          <a:ext cx="1587077" cy="1007794"/>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kern="1200"/>
            <a:t>Customer service </a:t>
          </a:r>
        </a:p>
      </dsp:txBody>
      <dsp:txXfrm>
        <a:off x="4543055" y="1666782"/>
        <a:ext cx="1528043" cy="948760"/>
      </dsp:txXfrm>
    </dsp:sp>
    <dsp:sp modelId="{68C67D5E-D57E-496E-B7DC-770BEA946861}">
      <dsp:nvSpPr>
        <dsp:cNvPr id="0" name=""/>
        <dsp:cNvSpPr/>
      </dsp:nvSpPr>
      <dsp:spPr>
        <a:xfrm>
          <a:off x="4337196" y="2939109"/>
          <a:ext cx="1587077" cy="1007794"/>
        </a:xfrm>
        <a:prstGeom prst="roundRect">
          <a:avLst>
            <a:gd name="adj" fmla="val 10000"/>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7947E86-EF90-4A6C-A3C3-BA2E4F8BE810}">
      <dsp:nvSpPr>
        <dsp:cNvPr id="0" name=""/>
        <dsp:cNvSpPr/>
      </dsp:nvSpPr>
      <dsp:spPr>
        <a:xfrm>
          <a:off x="4513538" y="3106634"/>
          <a:ext cx="1587077" cy="1007794"/>
        </a:xfrm>
        <a:prstGeom prst="roundRect">
          <a:avLst>
            <a:gd name="adj" fmla="val 10000"/>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kern="1200"/>
            <a:t>MH : magasin</a:t>
          </a:r>
        </a:p>
      </dsp:txBody>
      <dsp:txXfrm>
        <a:off x="4543055" y="3136151"/>
        <a:ext cx="1528043" cy="948760"/>
      </dsp:txXfrm>
    </dsp:sp>
    <dsp:sp modelId="{20E97F04-073E-4DB6-8D34-A323E7CB0644}">
      <dsp:nvSpPr>
        <dsp:cNvPr id="0" name=""/>
        <dsp:cNvSpPr/>
      </dsp:nvSpPr>
      <dsp:spPr>
        <a:xfrm>
          <a:off x="6276958" y="1469740"/>
          <a:ext cx="1587077" cy="1007794"/>
        </a:xfrm>
        <a:prstGeom prst="roundRect">
          <a:avLst>
            <a:gd name="adj" fmla="val 10000"/>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101E1A25-907F-463D-B0C7-611DF7505D95}">
      <dsp:nvSpPr>
        <dsp:cNvPr id="0" name=""/>
        <dsp:cNvSpPr/>
      </dsp:nvSpPr>
      <dsp:spPr>
        <a:xfrm>
          <a:off x="6453300" y="1637265"/>
          <a:ext cx="1587077" cy="1007794"/>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kern="1200"/>
            <a:t>DSP</a:t>
          </a:r>
        </a:p>
      </dsp:txBody>
      <dsp:txXfrm>
        <a:off x="6482817" y="1666782"/>
        <a:ext cx="1528043" cy="94876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3583B-5D16-45E2-90F3-D5928E8BAEEB}">
      <dsp:nvSpPr>
        <dsp:cNvPr id="0" name=""/>
        <dsp:cNvSpPr/>
      </dsp:nvSpPr>
      <dsp:spPr>
        <a:xfrm>
          <a:off x="5333"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Présentation de l’entreprise</a:t>
          </a:r>
          <a:endParaRPr lang="fr-FR" sz="1100" b="1" kern="1200" dirty="0">
            <a:latin typeface="Century Gothic" pitchFamily="34" charset="0"/>
          </a:endParaRPr>
        </a:p>
      </dsp:txBody>
      <dsp:txXfrm>
        <a:off x="20714" y="15381"/>
        <a:ext cx="2301329" cy="494392"/>
      </dsp:txXfrm>
    </dsp:sp>
    <dsp:sp modelId="{1B57603F-6D14-4EC3-B4E3-8B8E29F0AF82}">
      <dsp:nvSpPr>
        <dsp:cNvPr id="0" name=""/>
        <dsp:cNvSpPr/>
      </dsp:nvSpPr>
      <dsp:spPr>
        <a:xfrm>
          <a:off x="2570634"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2570634" y="105031"/>
        <a:ext cx="346082" cy="315092"/>
      </dsp:txXfrm>
    </dsp:sp>
    <dsp:sp modelId="{5D437852-1E36-4551-AE22-3D21BF486FA9}">
      <dsp:nvSpPr>
        <dsp:cNvPr id="0" name=""/>
        <dsp:cNvSpPr/>
      </dsp:nvSpPr>
      <dsp:spPr>
        <a:xfrm>
          <a:off x="3270262"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Contexte du projet</a:t>
          </a:r>
          <a:endParaRPr lang="fr-FR" sz="1100" b="1" kern="1200" dirty="0">
            <a:latin typeface="Century Gothic" pitchFamily="34" charset="0"/>
          </a:endParaRPr>
        </a:p>
      </dsp:txBody>
      <dsp:txXfrm>
        <a:off x="3285643" y="15381"/>
        <a:ext cx="2301329" cy="494392"/>
      </dsp:txXfrm>
    </dsp:sp>
    <dsp:sp modelId="{CD543A52-B769-4817-BCDB-9E04D3B82E2C}">
      <dsp:nvSpPr>
        <dsp:cNvPr id="0" name=""/>
        <dsp:cNvSpPr/>
      </dsp:nvSpPr>
      <dsp:spPr>
        <a:xfrm>
          <a:off x="5835562"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5835562" y="105031"/>
        <a:ext cx="346082" cy="315092"/>
      </dsp:txXfrm>
    </dsp:sp>
    <dsp:sp modelId="{599C6788-14AC-4886-BE98-CFABBA2B6CBC}">
      <dsp:nvSpPr>
        <dsp:cNvPr id="0" name=""/>
        <dsp:cNvSpPr/>
      </dsp:nvSpPr>
      <dsp:spPr>
        <a:xfrm>
          <a:off x="6535190"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solidFill>
                <a:prstClr val="black"/>
              </a:solidFill>
              <a:latin typeface="Aparajita" panose="020B0604020202020204" pitchFamily="34" charset="0"/>
              <a:cs typeface="Aparajita" panose="020B0604020202020204" pitchFamily="34" charset="0"/>
            </a:rPr>
            <a:t>Mise en œuvre de la démarche DMAIC</a:t>
          </a:r>
          <a:r>
            <a:rPr lang="fr-FR" sz="1100" b="1" kern="1200" dirty="0">
              <a:solidFill>
                <a:srgbClr val="303030"/>
              </a:solidFill>
              <a:latin typeface="Century Gothic" pitchFamily="34" charset="0"/>
            </a:rPr>
            <a:t>  </a:t>
          </a:r>
          <a:endParaRPr lang="fr-FR" sz="1100" b="1" kern="1200" dirty="0">
            <a:latin typeface="Century Gothic" pitchFamily="34" charset="0"/>
          </a:endParaRPr>
        </a:p>
      </dsp:txBody>
      <dsp:txXfrm>
        <a:off x="6550571" y="15381"/>
        <a:ext cx="2301329" cy="494392"/>
      </dsp:txXfrm>
    </dsp:sp>
    <dsp:sp modelId="{EBA8B8BB-8B80-463D-B5C0-9886029E31EB}">
      <dsp:nvSpPr>
        <dsp:cNvPr id="0" name=""/>
        <dsp:cNvSpPr/>
      </dsp:nvSpPr>
      <dsp:spPr>
        <a:xfrm>
          <a:off x="9100491" y="0"/>
          <a:ext cx="494403" cy="52515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fr-FR" sz="2000" kern="1200"/>
        </a:p>
      </dsp:txBody>
      <dsp:txXfrm>
        <a:off x="9100491" y="105031"/>
        <a:ext cx="346082" cy="315092"/>
      </dsp:txXfrm>
    </dsp:sp>
    <dsp:sp modelId="{83AD4C98-81CD-4554-959F-68EE175480AA}">
      <dsp:nvSpPr>
        <dsp:cNvPr id="0" name=""/>
        <dsp:cNvSpPr/>
      </dsp:nvSpPr>
      <dsp:spPr>
        <a:xfrm>
          <a:off x="9800118" y="0"/>
          <a:ext cx="2332091" cy="52515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b="1" kern="1200" dirty="0">
              <a:latin typeface="Century Gothic" pitchFamily="34" charset="0"/>
            </a:rPr>
            <a:t>Conclusion </a:t>
          </a:r>
        </a:p>
      </dsp:txBody>
      <dsp:txXfrm>
        <a:off x="9815499" y="15381"/>
        <a:ext cx="2301329" cy="4943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7068</cdr:x>
      <cdr:y>0.39694</cdr:y>
    </cdr:from>
    <cdr:to>
      <cdr:x>0.53961</cdr:x>
      <cdr:y>0.54109</cdr:y>
    </cdr:to>
    <cdr:sp macro="" textlink="">
      <cdr:nvSpPr>
        <cdr:cNvPr id="2" name="Ellipse 1"/>
        <cdr:cNvSpPr/>
      </cdr:nvSpPr>
      <cdr:spPr>
        <a:xfrm xmlns:a="http://schemas.openxmlformats.org/drawingml/2006/main">
          <a:off x="2340869" y="1678714"/>
          <a:ext cx="1066800" cy="609600"/>
        </a:xfrm>
        <a:prstGeom xmlns:a="http://schemas.openxmlformats.org/drawingml/2006/main" prst="ellipse">
          <a:avLst/>
        </a:prstGeom>
        <a:noFill xmlns:a="http://schemas.openxmlformats.org/drawingml/2006/main"/>
        <a:ln xmlns:a="http://schemas.openxmlformats.org/drawingml/2006/main" w="57150">
          <a:solidFill>
            <a:srgbClr val="F0534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172078" rtl="0" eaLnBrk="1" latinLnBrk="0" hangingPunct="1">
            <a:defRPr sz="2300" kern="1200">
              <a:solidFill>
                <a:schemeClr val="lt1"/>
              </a:solidFill>
              <a:latin typeface="+mn-lt"/>
              <a:ea typeface="+mn-ea"/>
              <a:cs typeface="+mn-cs"/>
            </a:defRPr>
          </a:lvl1pPr>
          <a:lvl2pPr marL="586039" algn="l" defTabSz="1172078" rtl="0" eaLnBrk="1" latinLnBrk="0" hangingPunct="1">
            <a:defRPr sz="2300" kern="1200">
              <a:solidFill>
                <a:schemeClr val="lt1"/>
              </a:solidFill>
              <a:latin typeface="+mn-lt"/>
              <a:ea typeface="+mn-ea"/>
              <a:cs typeface="+mn-cs"/>
            </a:defRPr>
          </a:lvl2pPr>
          <a:lvl3pPr marL="1172078" algn="l" defTabSz="1172078" rtl="0" eaLnBrk="1" latinLnBrk="0" hangingPunct="1">
            <a:defRPr sz="2300" kern="1200">
              <a:solidFill>
                <a:schemeClr val="lt1"/>
              </a:solidFill>
              <a:latin typeface="+mn-lt"/>
              <a:ea typeface="+mn-ea"/>
              <a:cs typeface="+mn-cs"/>
            </a:defRPr>
          </a:lvl3pPr>
          <a:lvl4pPr marL="1758117" algn="l" defTabSz="1172078" rtl="0" eaLnBrk="1" latinLnBrk="0" hangingPunct="1">
            <a:defRPr sz="2300" kern="1200">
              <a:solidFill>
                <a:schemeClr val="lt1"/>
              </a:solidFill>
              <a:latin typeface="+mn-lt"/>
              <a:ea typeface="+mn-ea"/>
              <a:cs typeface="+mn-cs"/>
            </a:defRPr>
          </a:lvl4pPr>
          <a:lvl5pPr marL="2344156" algn="l" defTabSz="1172078" rtl="0" eaLnBrk="1" latinLnBrk="0" hangingPunct="1">
            <a:defRPr sz="2300" kern="1200">
              <a:solidFill>
                <a:schemeClr val="lt1"/>
              </a:solidFill>
              <a:latin typeface="+mn-lt"/>
              <a:ea typeface="+mn-ea"/>
              <a:cs typeface="+mn-cs"/>
            </a:defRPr>
          </a:lvl5pPr>
          <a:lvl6pPr marL="2930195" algn="l" defTabSz="1172078" rtl="0" eaLnBrk="1" latinLnBrk="0" hangingPunct="1">
            <a:defRPr sz="2300" kern="1200">
              <a:solidFill>
                <a:schemeClr val="lt1"/>
              </a:solidFill>
              <a:latin typeface="+mn-lt"/>
              <a:ea typeface="+mn-ea"/>
              <a:cs typeface="+mn-cs"/>
            </a:defRPr>
          </a:lvl6pPr>
          <a:lvl7pPr marL="3516234" algn="l" defTabSz="1172078" rtl="0" eaLnBrk="1" latinLnBrk="0" hangingPunct="1">
            <a:defRPr sz="2300" kern="1200">
              <a:solidFill>
                <a:schemeClr val="lt1"/>
              </a:solidFill>
              <a:latin typeface="+mn-lt"/>
              <a:ea typeface="+mn-ea"/>
              <a:cs typeface="+mn-cs"/>
            </a:defRPr>
          </a:lvl7pPr>
          <a:lvl8pPr marL="4102273" algn="l" defTabSz="1172078" rtl="0" eaLnBrk="1" latinLnBrk="0" hangingPunct="1">
            <a:defRPr sz="2300" kern="1200">
              <a:solidFill>
                <a:schemeClr val="lt1"/>
              </a:solidFill>
              <a:latin typeface="+mn-lt"/>
              <a:ea typeface="+mn-ea"/>
              <a:cs typeface="+mn-cs"/>
            </a:defRPr>
          </a:lvl8pPr>
          <a:lvl9pPr marL="4688312" algn="l" defTabSz="1172078" rtl="0" eaLnBrk="1" latinLnBrk="0" hangingPunct="1">
            <a:defRPr sz="2300" kern="1200">
              <a:solidFill>
                <a:schemeClr val="lt1"/>
              </a:solidFill>
              <a:latin typeface="+mn-lt"/>
              <a:ea typeface="+mn-ea"/>
              <a:cs typeface="+mn-cs"/>
            </a:defRPr>
          </a:lvl9pPr>
        </a:lstStyle>
        <a:p xmlns:a="http://schemas.openxmlformats.org/drawingml/2006/main">
          <a:pPr algn="ctr"/>
          <a:endParaRPr lang="fr-FR"/>
        </a:p>
      </cdr:txBody>
    </cdr:sp>
  </cdr:relSizeAnchor>
</c:userShapes>
</file>

<file path=ppt/drawings/drawing2.xml><?xml version="1.0" encoding="utf-8"?>
<c:userShapes xmlns:c="http://schemas.openxmlformats.org/drawingml/2006/chart">
  <cdr:relSizeAnchor xmlns:cdr="http://schemas.openxmlformats.org/drawingml/2006/chartDrawing">
    <cdr:from>
      <cdr:x>0.39289</cdr:x>
      <cdr:y>0.38915</cdr:y>
    </cdr:from>
    <cdr:to>
      <cdr:x>0.57032</cdr:x>
      <cdr:y>0.53544</cdr:y>
    </cdr:to>
    <cdr:sp macro="" textlink="">
      <cdr:nvSpPr>
        <cdr:cNvPr id="2" name="Ellipse 1"/>
        <cdr:cNvSpPr/>
      </cdr:nvSpPr>
      <cdr:spPr>
        <a:xfrm xmlns:a="http://schemas.openxmlformats.org/drawingml/2006/main">
          <a:off x="2362200" y="1621550"/>
          <a:ext cx="1066800" cy="609600"/>
        </a:xfrm>
        <a:prstGeom xmlns:a="http://schemas.openxmlformats.org/drawingml/2006/main" prst="ellipse">
          <a:avLst/>
        </a:prstGeom>
        <a:noFill xmlns:a="http://schemas.openxmlformats.org/drawingml/2006/main"/>
        <a:ln xmlns:a="http://schemas.openxmlformats.org/drawingml/2006/main" w="57150">
          <a:solidFill>
            <a:srgbClr val="F0534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172078" rtl="0" eaLnBrk="1" latinLnBrk="0" hangingPunct="1">
            <a:defRPr sz="2300" kern="1200">
              <a:solidFill>
                <a:schemeClr val="lt1"/>
              </a:solidFill>
              <a:latin typeface="+mn-lt"/>
              <a:ea typeface="+mn-ea"/>
              <a:cs typeface="+mn-cs"/>
            </a:defRPr>
          </a:lvl1pPr>
          <a:lvl2pPr marL="586039" algn="l" defTabSz="1172078" rtl="0" eaLnBrk="1" latinLnBrk="0" hangingPunct="1">
            <a:defRPr sz="2300" kern="1200">
              <a:solidFill>
                <a:schemeClr val="lt1"/>
              </a:solidFill>
              <a:latin typeface="+mn-lt"/>
              <a:ea typeface="+mn-ea"/>
              <a:cs typeface="+mn-cs"/>
            </a:defRPr>
          </a:lvl2pPr>
          <a:lvl3pPr marL="1172078" algn="l" defTabSz="1172078" rtl="0" eaLnBrk="1" latinLnBrk="0" hangingPunct="1">
            <a:defRPr sz="2300" kern="1200">
              <a:solidFill>
                <a:schemeClr val="lt1"/>
              </a:solidFill>
              <a:latin typeface="+mn-lt"/>
              <a:ea typeface="+mn-ea"/>
              <a:cs typeface="+mn-cs"/>
            </a:defRPr>
          </a:lvl3pPr>
          <a:lvl4pPr marL="1758117" algn="l" defTabSz="1172078" rtl="0" eaLnBrk="1" latinLnBrk="0" hangingPunct="1">
            <a:defRPr sz="2300" kern="1200">
              <a:solidFill>
                <a:schemeClr val="lt1"/>
              </a:solidFill>
              <a:latin typeface="+mn-lt"/>
              <a:ea typeface="+mn-ea"/>
              <a:cs typeface="+mn-cs"/>
            </a:defRPr>
          </a:lvl4pPr>
          <a:lvl5pPr marL="2344156" algn="l" defTabSz="1172078" rtl="0" eaLnBrk="1" latinLnBrk="0" hangingPunct="1">
            <a:defRPr sz="2300" kern="1200">
              <a:solidFill>
                <a:schemeClr val="lt1"/>
              </a:solidFill>
              <a:latin typeface="+mn-lt"/>
              <a:ea typeface="+mn-ea"/>
              <a:cs typeface="+mn-cs"/>
            </a:defRPr>
          </a:lvl5pPr>
          <a:lvl6pPr marL="2930195" algn="l" defTabSz="1172078" rtl="0" eaLnBrk="1" latinLnBrk="0" hangingPunct="1">
            <a:defRPr sz="2300" kern="1200">
              <a:solidFill>
                <a:schemeClr val="lt1"/>
              </a:solidFill>
              <a:latin typeface="+mn-lt"/>
              <a:ea typeface="+mn-ea"/>
              <a:cs typeface="+mn-cs"/>
            </a:defRPr>
          </a:lvl6pPr>
          <a:lvl7pPr marL="3516234" algn="l" defTabSz="1172078" rtl="0" eaLnBrk="1" latinLnBrk="0" hangingPunct="1">
            <a:defRPr sz="2300" kern="1200">
              <a:solidFill>
                <a:schemeClr val="lt1"/>
              </a:solidFill>
              <a:latin typeface="+mn-lt"/>
              <a:ea typeface="+mn-ea"/>
              <a:cs typeface="+mn-cs"/>
            </a:defRPr>
          </a:lvl7pPr>
          <a:lvl8pPr marL="4102273" algn="l" defTabSz="1172078" rtl="0" eaLnBrk="1" latinLnBrk="0" hangingPunct="1">
            <a:defRPr sz="2300" kern="1200">
              <a:solidFill>
                <a:schemeClr val="lt1"/>
              </a:solidFill>
              <a:latin typeface="+mn-lt"/>
              <a:ea typeface="+mn-ea"/>
              <a:cs typeface="+mn-cs"/>
            </a:defRPr>
          </a:lvl8pPr>
          <a:lvl9pPr marL="4688312" algn="l" defTabSz="1172078" rtl="0" eaLnBrk="1" latinLnBrk="0" hangingPunct="1">
            <a:defRPr sz="2300" kern="1200">
              <a:solidFill>
                <a:schemeClr val="lt1"/>
              </a:solidFill>
              <a:latin typeface="+mn-lt"/>
              <a:ea typeface="+mn-ea"/>
              <a:cs typeface="+mn-cs"/>
            </a:defRPr>
          </a:lvl9pPr>
        </a:lstStyle>
        <a:p xmlns:a="http://schemas.openxmlformats.org/drawingml/2006/main">
          <a:pPr algn="ctr"/>
          <a:endParaRPr lang="fr-FR"/>
        </a:p>
      </cdr:txBody>
    </cdr:sp>
  </cdr:relSizeAnchor>
</c:userShapes>
</file>

<file path=ppt/drawings/drawing3.xml><?xml version="1.0" encoding="utf-8"?>
<c:userShapes xmlns:c="http://schemas.openxmlformats.org/drawingml/2006/chart">
  <cdr:relSizeAnchor xmlns:cdr="http://schemas.openxmlformats.org/drawingml/2006/chartDrawing">
    <cdr:from>
      <cdr:x>0.36074</cdr:x>
      <cdr:y>0.46658</cdr:y>
    </cdr:from>
    <cdr:to>
      <cdr:x>0.55667</cdr:x>
      <cdr:y>0.61073</cdr:y>
    </cdr:to>
    <cdr:sp macro="" textlink="">
      <cdr:nvSpPr>
        <cdr:cNvPr id="2" name="Ellipse 1"/>
        <cdr:cNvSpPr/>
      </cdr:nvSpPr>
      <cdr:spPr>
        <a:xfrm xmlns:a="http://schemas.openxmlformats.org/drawingml/2006/main">
          <a:off x="989012" y="1417190"/>
          <a:ext cx="537164" cy="437842"/>
        </a:xfrm>
        <a:prstGeom xmlns:a="http://schemas.openxmlformats.org/drawingml/2006/main" prst="ellipse">
          <a:avLst/>
        </a:prstGeom>
        <a:noFill xmlns:a="http://schemas.openxmlformats.org/drawingml/2006/main"/>
        <a:ln xmlns:a="http://schemas.openxmlformats.org/drawingml/2006/main" w="57150">
          <a:solidFill>
            <a:srgbClr val="F0534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172078" rtl="0" eaLnBrk="1" latinLnBrk="0" hangingPunct="1">
            <a:defRPr sz="2300" kern="1200">
              <a:solidFill>
                <a:schemeClr val="lt1"/>
              </a:solidFill>
              <a:latin typeface="+mn-lt"/>
              <a:ea typeface="+mn-ea"/>
              <a:cs typeface="+mn-cs"/>
            </a:defRPr>
          </a:lvl1pPr>
          <a:lvl2pPr marL="586039" algn="l" defTabSz="1172078" rtl="0" eaLnBrk="1" latinLnBrk="0" hangingPunct="1">
            <a:defRPr sz="2300" kern="1200">
              <a:solidFill>
                <a:schemeClr val="lt1"/>
              </a:solidFill>
              <a:latin typeface="+mn-lt"/>
              <a:ea typeface="+mn-ea"/>
              <a:cs typeface="+mn-cs"/>
            </a:defRPr>
          </a:lvl2pPr>
          <a:lvl3pPr marL="1172078" algn="l" defTabSz="1172078" rtl="0" eaLnBrk="1" latinLnBrk="0" hangingPunct="1">
            <a:defRPr sz="2300" kern="1200">
              <a:solidFill>
                <a:schemeClr val="lt1"/>
              </a:solidFill>
              <a:latin typeface="+mn-lt"/>
              <a:ea typeface="+mn-ea"/>
              <a:cs typeface="+mn-cs"/>
            </a:defRPr>
          </a:lvl3pPr>
          <a:lvl4pPr marL="1758117" algn="l" defTabSz="1172078" rtl="0" eaLnBrk="1" latinLnBrk="0" hangingPunct="1">
            <a:defRPr sz="2300" kern="1200">
              <a:solidFill>
                <a:schemeClr val="lt1"/>
              </a:solidFill>
              <a:latin typeface="+mn-lt"/>
              <a:ea typeface="+mn-ea"/>
              <a:cs typeface="+mn-cs"/>
            </a:defRPr>
          </a:lvl4pPr>
          <a:lvl5pPr marL="2344156" algn="l" defTabSz="1172078" rtl="0" eaLnBrk="1" latinLnBrk="0" hangingPunct="1">
            <a:defRPr sz="2300" kern="1200">
              <a:solidFill>
                <a:schemeClr val="lt1"/>
              </a:solidFill>
              <a:latin typeface="+mn-lt"/>
              <a:ea typeface="+mn-ea"/>
              <a:cs typeface="+mn-cs"/>
            </a:defRPr>
          </a:lvl5pPr>
          <a:lvl6pPr marL="2930195" algn="l" defTabSz="1172078" rtl="0" eaLnBrk="1" latinLnBrk="0" hangingPunct="1">
            <a:defRPr sz="2300" kern="1200">
              <a:solidFill>
                <a:schemeClr val="lt1"/>
              </a:solidFill>
              <a:latin typeface="+mn-lt"/>
              <a:ea typeface="+mn-ea"/>
              <a:cs typeface="+mn-cs"/>
            </a:defRPr>
          </a:lvl6pPr>
          <a:lvl7pPr marL="3516234" algn="l" defTabSz="1172078" rtl="0" eaLnBrk="1" latinLnBrk="0" hangingPunct="1">
            <a:defRPr sz="2300" kern="1200">
              <a:solidFill>
                <a:schemeClr val="lt1"/>
              </a:solidFill>
              <a:latin typeface="+mn-lt"/>
              <a:ea typeface="+mn-ea"/>
              <a:cs typeface="+mn-cs"/>
            </a:defRPr>
          </a:lvl7pPr>
          <a:lvl8pPr marL="4102273" algn="l" defTabSz="1172078" rtl="0" eaLnBrk="1" latinLnBrk="0" hangingPunct="1">
            <a:defRPr sz="2300" kern="1200">
              <a:solidFill>
                <a:schemeClr val="lt1"/>
              </a:solidFill>
              <a:latin typeface="+mn-lt"/>
              <a:ea typeface="+mn-ea"/>
              <a:cs typeface="+mn-cs"/>
            </a:defRPr>
          </a:lvl8pPr>
          <a:lvl9pPr marL="4688312" algn="l" defTabSz="1172078" rtl="0" eaLnBrk="1" latinLnBrk="0" hangingPunct="1">
            <a:defRPr sz="2300" kern="1200">
              <a:solidFill>
                <a:schemeClr val="lt1"/>
              </a:solidFill>
              <a:latin typeface="+mn-lt"/>
              <a:ea typeface="+mn-ea"/>
              <a:cs typeface="+mn-cs"/>
            </a:defRPr>
          </a:lvl9pPr>
        </a:lstStyle>
        <a:p xmlns:a="http://schemas.openxmlformats.org/drawingml/2006/main">
          <a:pPr algn="ctr"/>
          <a:endParaRPr lang="fr-FR"/>
        </a:p>
      </cdr:txBody>
    </cdr:sp>
  </cdr:relSizeAnchor>
</c:userShapes>
</file>

<file path=ppt/drawings/drawing4.xml><?xml version="1.0" encoding="utf-8"?>
<c:userShapes xmlns:c="http://schemas.openxmlformats.org/drawingml/2006/chart">
  <cdr:relSizeAnchor xmlns:cdr="http://schemas.openxmlformats.org/drawingml/2006/chartDrawing">
    <cdr:from>
      <cdr:x>0.36658</cdr:x>
      <cdr:y>0.4957</cdr:y>
    </cdr:from>
    <cdr:to>
      <cdr:x>0.51997</cdr:x>
      <cdr:y>0.63199</cdr:y>
    </cdr:to>
    <cdr:sp macro="" textlink="">
      <cdr:nvSpPr>
        <cdr:cNvPr id="2" name="Ellipse 1"/>
        <cdr:cNvSpPr/>
      </cdr:nvSpPr>
      <cdr:spPr>
        <a:xfrm xmlns:a="http://schemas.openxmlformats.org/drawingml/2006/main">
          <a:off x="1371600" y="1385640"/>
          <a:ext cx="573927" cy="381000"/>
        </a:xfrm>
        <a:prstGeom xmlns:a="http://schemas.openxmlformats.org/drawingml/2006/main" prst="ellipse">
          <a:avLst/>
        </a:prstGeom>
        <a:noFill xmlns:a="http://schemas.openxmlformats.org/drawingml/2006/main"/>
        <a:ln xmlns:a="http://schemas.openxmlformats.org/drawingml/2006/main" w="57150">
          <a:solidFill>
            <a:srgbClr val="F0534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172078" rtl="0" eaLnBrk="1" latinLnBrk="0" hangingPunct="1">
            <a:defRPr sz="2300" kern="1200">
              <a:solidFill>
                <a:schemeClr val="lt1"/>
              </a:solidFill>
              <a:latin typeface="+mn-lt"/>
              <a:ea typeface="+mn-ea"/>
              <a:cs typeface="+mn-cs"/>
            </a:defRPr>
          </a:lvl1pPr>
          <a:lvl2pPr marL="586039" algn="l" defTabSz="1172078" rtl="0" eaLnBrk="1" latinLnBrk="0" hangingPunct="1">
            <a:defRPr sz="2300" kern="1200">
              <a:solidFill>
                <a:schemeClr val="lt1"/>
              </a:solidFill>
              <a:latin typeface="+mn-lt"/>
              <a:ea typeface="+mn-ea"/>
              <a:cs typeface="+mn-cs"/>
            </a:defRPr>
          </a:lvl2pPr>
          <a:lvl3pPr marL="1172078" algn="l" defTabSz="1172078" rtl="0" eaLnBrk="1" latinLnBrk="0" hangingPunct="1">
            <a:defRPr sz="2300" kern="1200">
              <a:solidFill>
                <a:schemeClr val="lt1"/>
              </a:solidFill>
              <a:latin typeface="+mn-lt"/>
              <a:ea typeface="+mn-ea"/>
              <a:cs typeface="+mn-cs"/>
            </a:defRPr>
          </a:lvl3pPr>
          <a:lvl4pPr marL="1758117" algn="l" defTabSz="1172078" rtl="0" eaLnBrk="1" latinLnBrk="0" hangingPunct="1">
            <a:defRPr sz="2300" kern="1200">
              <a:solidFill>
                <a:schemeClr val="lt1"/>
              </a:solidFill>
              <a:latin typeface="+mn-lt"/>
              <a:ea typeface="+mn-ea"/>
              <a:cs typeface="+mn-cs"/>
            </a:defRPr>
          </a:lvl4pPr>
          <a:lvl5pPr marL="2344156" algn="l" defTabSz="1172078" rtl="0" eaLnBrk="1" latinLnBrk="0" hangingPunct="1">
            <a:defRPr sz="2300" kern="1200">
              <a:solidFill>
                <a:schemeClr val="lt1"/>
              </a:solidFill>
              <a:latin typeface="+mn-lt"/>
              <a:ea typeface="+mn-ea"/>
              <a:cs typeface="+mn-cs"/>
            </a:defRPr>
          </a:lvl5pPr>
          <a:lvl6pPr marL="2930195" algn="l" defTabSz="1172078" rtl="0" eaLnBrk="1" latinLnBrk="0" hangingPunct="1">
            <a:defRPr sz="2300" kern="1200">
              <a:solidFill>
                <a:schemeClr val="lt1"/>
              </a:solidFill>
              <a:latin typeface="+mn-lt"/>
              <a:ea typeface="+mn-ea"/>
              <a:cs typeface="+mn-cs"/>
            </a:defRPr>
          </a:lvl6pPr>
          <a:lvl7pPr marL="3516234" algn="l" defTabSz="1172078" rtl="0" eaLnBrk="1" latinLnBrk="0" hangingPunct="1">
            <a:defRPr sz="2300" kern="1200">
              <a:solidFill>
                <a:schemeClr val="lt1"/>
              </a:solidFill>
              <a:latin typeface="+mn-lt"/>
              <a:ea typeface="+mn-ea"/>
              <a:cs typeface="+mn-cs"/>
            </a:defRPr>
          </a:lvl7pPr>
          <a:lvl8pPr marL="4102273" algn="l" defTabSz="1172078" rtl="0" eaLnBrk="1" latinLnBrk="0" hangingPunct="1">
            <a:defRPr sz="2300" kern="1200">
              <a:solidFill>
                <a:schemeClr val="lt1"/>
              </a:solidFill>
              <a:latin typeface="+mn-lt"/>
              <a:ea typeface="+mn-ea"/>
              <a:cs typeface="+mn-cs"/>
            </a:defRPr>
          </a:lvl8pPr>
          <a:lvl9pPr marL="4688312" algn="l" defTabSz="1172078" rtl="0" eaLnBrk="1" latinLnBrk="0" hangingPunct="1">
            <a:defRPr sz="2300" kern="1200">
              <a:solidFill>
                <a:schemeClr val="lt1"/>
              </a:solidFill>
              <a:latin typeface="+mn-lt"/>
              <a:ea typeface="+mn-ea"/>
              <a:cs typeface="+mn-cs"/>
            </a:defRPr>
          </a:lvl9pPr>
        </a:lstStyle>
        <a:p xmlns:a="http://schemas.openxmlformats.org/drawingml/2006/main">
          <a:pPr algn="ctr"/>
          <a:endParaRPr lang="fr-F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AB9C49-68F3-4BE4-AC3D-A2E9D96BFE3A}" type="datetimeFigureOut">
              <a:rPr lang="en-US" smtClean="0"/>
              <a:t>6/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432A70-A70B-4CC5-8452-D4A384B300AE}" type="slidenum">
              <a:rPr lang="en-US" smtClean="0"/>
              <a:t>‹N°›</a:t>
            </a:fld>
            <a:endParaRPr lang="en-US"/>
          </a:p>
        </p:txBody>
      </p:sp>
    </p:spTree>
    <p:extLst>
      <p:ext uri="{BB962C8B-B14F-4D97-AF65-F5344CB8AC3E}">
        <p14:creationId xmlns:p14="http://schemas.microsoft.com/office/powerpoint/2010/main" val="627499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 L’évaluation des fournisseurs : Un réel instrument de pilotage te d’amélioration des achats   parfaitement </a:t>
            </a:r>
            <a:r>
              <a:rPr lang="fr-FR" sz="1200" kern="1200" dirty="0" err="1">
                <a:solidFill>
                  <a:schemeClr val="tx1"/>
                </a:solidFill>
                <a:effectLst/>
                <a:latin typeface="+mn-lt"/>
                <a:ea typeface="+mn-ea"/>
                <a:cs typeface="+mn-cs"/>
              </a:rPr>
              <a:t>integré</a:t>
            </a:r>
            <a:r>
              <a:rPr lang="fr-FR" sz="1200" kern="1200" dirty="0">
                <a:solidFill>
                  <a:schemeClr val="tx1"/>
                </a:solidFill>
                <a:effectLst/>
                <a:latin typeface="+mn-lt"/>
                <a:ea typeface="+mn-ea"/>
                <a:cs typeface="+mn-cs"/>
              </a:rPr>
              <a:t> dans les  tableaux de bord de l’entreprise. </a:t>
            </a:r>
            <a:endParaRPr lang="fr-FR" dirty="0"/>
          </a:p>
          <a:p>
            <a:r>
              <a:rPr lang="fr-FR" dirty="0"/>
              <a:t>La </a:t>
            </a:r>
            <a:r>
              <a:rPr lang="fr-FR" dirty="0" err="1"/>
              <a:t>methode</a:t>
            </a:r>
            <a:r>
              <a:rPr lang="fr-FR" dirty="0"/>
              <a:t> d’évaluation 9+ Impact sur</a:t>
            </a:r>
            <a:r>
              <a:rPr lang="fr-FR" baseline="0" dirty="0"/>
              <a:t> la </a:t>
            </a:r>
            <a:r>
              <a:rPr lang="fr-FR" baseline="0" dirty="0" err="1"/>
              <a:t>perforance</a:t>
            </a:r>
            <a:r>
              <a:rPr lang="fr-FR" baseline="0" dirty="0"/>
              <a:t> indus </a:t>
            </a:r>
          </a:p>
          <a:p>
            <a:endParaRPr lang="fr-FR" baseline="0" dirty="0"/>
          </a:p>
          <a:p>
            <a:r>
              <a:rPr lang="fr-FR" baseline="0" dirty="0"/>
              <a:t>Processus d’</a:t>
            </a:r>
            <a:r>
              <a:rPr lang="fr-FR" baseline="0" dirty="0" err="1"/>
              <a:t>homologuation</a:t>
            </a:r>
            <a:r>
              <a:rPr lang="fr-FR" baseline="0" dirty="0"/>
              <a:t> </a:t>
            </a:r>
          </a:p>
          <a:p>
            <a:endParaRPr lang="fr-FR" dirty="0"/>
          </a:p>
          <a:p>
            <a:endParaRPr lang="fr-FR" dirty="0"/>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a:t>
            </a:fld>
            <a:endParaRPr lang="en-US"/>
          </a:p>
        </p:txBody>
      </p:sp>
    </p:spTree>
    <p:extLst>
      <p:ext uri="{BB962C8B-B14F-4D97-AF65-F5344CB8AC3E}">
        <p14:creationId xmlns:p14="http://schemas.microsoft.com/office/powerpoint/2010/main" val="481854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0" u="none" strike="noStrike" kern="1200" dirty="0">
                <a:solidFill>
                  <a:schemeClr val="tx1"/>
                </a:solidFill>
                <a:effectLst/>
                <a:latin typeface="+mn-lt"/>
                <a:ea typeface="+mn-ea"/>
                <a:cs typeface="+mn-cs"/>
              </a:rPr>
              <a:t>Rappel sur le cycle DMAIC du Lean 6 Sigma :</a:t>
            </a:r>
            <a:br>
              <a:rPr lang="fr-FR" sz="1200" b="0" i="0" u="none" strike="noStrike" kern="1200" dirty="0">
                <a:solidFill>
                  <a:schemeClr val="tx1"/>
                </a:solidFill>
                <a:effectLst/>
                <a:latin typeface="+mn-lt"/>
                <a:ea typeface="+mn-ea"/>
                <a:cs typeface="+mn-cs"/>
              </a:rPr>
            </a:br>
            <a:endParaRPr lang="fr-FR" sz="1200" b="0" i="0" u="none" strike="noStrike" kern="1200" dirty="0">
              <a:solidFill>
                <a:schemeClr val="tx1"/>
              </a:solidFill>
              <a:effectLst/>
              <a:latin typeface="+mn-lt"/>
              <a:ea typeface="+mn-ea"/>
              <a:cs typeface="+mn-cs"/>
            </a:endParaRPr>
          </a:p>
          <a:p>
            <a:r>
              <a:rPr lang="fr-FR" sz="1200" b="0" i="0" u="none" strike="noStrike" kern="1200" dirty="0">
                <a:solidFill>
                  <a:schemeClr val="tx1"/>
                </a:solidFill>
                <a:effectLst/>
                <a:latin typeface="+mn-lt"/>
                <a:ea typeface="+mn-ea"/>
                <a:cs typeface="+mn-cs"/>
              </a:rPr>
              <a:t>La méthodologie DMAIC, </a:t>
            </a:r>
            <a:r>
              <a:rPr lang="fr-FR" sz="1200" b="0" i="0" u="none" strike="noStrike" kern="1200" dirty="0" err="1">
                <a:solidFill>
                  <a:schemeClr val="tx1"/>
                </a:solidFill>
                <a:effectLst/>
                <a:latin typeface="+mn-lt"/>
                <a:ea typeface="+mn-ea"/>
                <a:cs typeface="+mn-cs"/>
              </a:rPr>
              <a:t>Define</a:t>
            </a:r>
            <a:r>
              <a:rPr lang="fr-FR" sz="1200" b="0" i="0" u="none" strike="noStrike" kern="1200" dirty="0">
                <a:solidFill>
                  <a:schemeClr val="tx1"/>
                </a:solidFill>
                <a:effectLst/>
                <a:latin typeface="+mn-lt"/>
                <a:ea typeface="+mn-ea"/>
                <a:cs typeface="+mn-cs"/>
              </a:rPr>
              <a:t>- Mesure- Analyse- </a:t>
            </a:r>
            <a:r>
              <a:rPr lang="fr-FR" sz="1200" b="0" i="0" u="none" strike="noStrike" kern="1200" dirty="0" err="1">
                <a:solidFill>
                  <a:schemeClr val="tx1"/>
                </a:solidFill>
                <a:effectLst/>
                <a:latin typeface="+mn-lt"/>
                <a:ea typeface="+mn-ea"/>
                <a:cs typeface="+mn-cs"/>
              </a:rPr>
              <a:t>Improve</a:t>
            </a:r>
            <a:r>
              <a:rPr lang="fr-FR" sz="1200" b="0" i="0" u="none" strike="noStrike" kern="1200" dirty="0">
                <a:solidFill>
                  <a:schemeClr val="tx1"/>
                </a:solidFill>
                <a:effectLst/>
                <a:latin typeface="+mn-lt"/>
                <a:ea typeface="+mn-ea"/>
                <a:cs typeface="+mn-cs"/>
              </a:rPr>
              <a:t>- </a:t>
            </a:r>
            <a:r>
              <a:rPr lang="fr-FR" sz="1200" b="0" i="0" u="none" strike="noStrike" kern="1200" dirty="0" err="1">
                <a:solidFill>
                  <a:schemeClr val="tx1"/>
                </a:solidFill>
                <a:effectLst/>
                <a:latin typeface="+mn-lt"/>
                <a:ea typeface="+mn-ea"/>
                <a:cs typeface="+mn-cs"/>
              </a:rPr>
              <a:t>Contrôl</a:t>
            </a:r>
            <a:r>
              <a:rPr lang="fr-FR" sz="1200" b="0" i="0" u="none" strike="noStrike" kern="1200" dirty="0">
                <a:solidFill>
                  <a:schemeClr val="tx1"/>
                </a:solidFill>
                <a:effectLst/>
                <a:latin typeface="+mn-lt"/>
                <a:ea typeface="+mn-ea"/>
                <a:cs typeface="+mn-cs"/>
              </a:rPr>
              <a:t>, créé par M </a:t>
            </a:r>
            <a:r>
              <a:rPr lang="fr-FR" sz="1200" b="0" i="0" u="none" strike="noStrike" kern="1200" dirty="0" err="1">
                <a:solidFill>
                  <a:schemeClr val="tx1"/>
                </a:solidFill>
                <a:effectLst/>
                <a:latin typeface="+mn-lt"/>
                <a:ea typeface="+mn-ea"/>
                <a:cs typeface="+mn-cs"/>
              </a:rPr>
              <a:t>Hary</a:t>
            </a:r>
            <a:r>
              <a:rPr lang="fr-FR" sz="1200" b="0" i="0" u="none" strike="noStrike" kern="1200" dirty="0">
                <a:solidFill>
                  <a:schemeClr val="tx1"/>
                </a:solidFill>
                <a:effectLst/>
                <a:latin typeface="+mn-lt"/>
                <a:ea typeface="+mn-ea"/>
                <a:cs typeface="+mn-cs"/>
              </a:rPr>
              <a:t> et B Smith dans les années 1990 se déploie en mode projet (date de début /date de fin) et a pour objectif une amélioration par percée ou rupture d’un processus stratégique de l’entreprise. Elle allie les principes du Lean et du Six Sigma :</a:t>
            </a:r>
            <a:br>
              <a:rPr lang="fr-FR" sz="1200" b="0" i="0" u="none" strike="noStrike" kern="1200" dirty="0">
                <a:solidFill>
                  <a:schemeClr val="tx1"/>
                </a:solidFill>
                <a:effectLst/>
                <a:latin typeface="+mn-lt"/>
                <a:ea typeface="+mn-ea"/>
                <a:cs typeface="+mn-cs"/>
              </a:rPr>
            </a:br>
            <a:endParaRPr lang="fr-FR" sz="1200" b="0" i="0" u="none" strike="noStrike" kern="1200" dirty="0">
              <a:solidFill>
                <a:schemeClr val="tx1"/>
              </a:solidFill>
              <a:effectLst/>
              <a:latin typeface="+mn-lt"/>
              <a:ea typeface="+mn-ea"/>
              <a:cs typeface="+mn-cs"/>
            </a:endParaRPr>
          </a:p>
          <a:p>
            <a:r>
              <a:rPr lang="fr-FR" sz="1200" b="0" i="0" u="none" strike="noStrike" kern="1200" dirty="0">
                <a:solidFill>
                  <a:schemeClr val="tx1"/>
                </a:solidFill>
                <a:effectLst/>
                <a:latin typeface="+mn-lt"/>
                <a:ea typeface="+mn-ea"/>
                <a:cs typeface="+mn-cs"/>
              </a:rPr>
              <a:t>     Le Lean pour supprimer les taches sans valeur ajoutée que le client n’est pas prêt à payer mais aussi pour supprimer tous les gaspillages, les actions inutiles dans nos organisations afin de les rendre agiles, flexibles, réactives face aux demandes variables et souvent non maitrisables du marché. C’est donc améliorer la productivité au sens noble du terme : travailler mieux et plus efficacement.</a:t>
            </a:r>
          </a:p>
          <a:p>
            <a:r>
              <a:rPr lang="fr-FR" sz="1200" b="0" i="0" u="none" strike="noStrike" kern="1200" dirty="0">
                <a:solidFill>
                  <a:schemeClr val="tx1"/>
                </a:solidFill>
                <a:effectLst/>
                <a:latin typeface="+mn-lt"/>
                <a:ea typeface="+mn-ea"/>
                <a:cs typeface="+mn-cs"/>
              </a:rPr>
              <a:t>     Le Six Sigma pour réduire la variabilité des processus source principale de la non qualité, des insatisfactions clients internes et externes. Car tout processus a de la variabilité dont les causes doivent être identifiées, évaluées, maitrisées voire supprimées si possible.</a:t>
            </a:r>
          </a:p>
          <a:p>
            <a:endParaRPr lang="id-ID" dirty="0"/>
          </a:p>
        </p:txBody>
      </p:sp>
      <p:sp>
        <p:nvSpPr>
          <p:cNvPr id="4" name="Slide Number Placeholder 3"/>
          <p:cNvSpPr>
            <a:spLocks noGrp="1"/>
          </p:cNvSpPr>
          <p:nvPr>
            <p:ph type="sldNum" sz="quarter" idx="10"/>
          </p:nvPr>
        </p:nvSpPr>
        <p:spPr/>
        <p:txBody>
          <a:bodyPr/>
          <a:lstStyle/>
          <a:p>
            <a:fld id="{4DDAD74B-4254-4A15-B920-236F271C9A39}" type="slidenum">
              <a:rPr lang="id-ID" smtClean="0"/>
              <a:t>13</a:t>
            </a:fld>
            <a:endParaRPr lang="id-ID"/>
          </a:p>
        </p:txBody>
      </p:sp>
    </p:spTree>
    <p:extLst>
      <p:ext uri="{BB962C8B-B14F-4D97-AF65-F5344CB8AC3E}">
        <p14:creationId xmlns:p14="http://schemas.microsoft.com/office/powerpoint/2010/main" val="80541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1" dirty="0">
                <a:solidFill>
                  <a:srgbClr val="FF0000"/>
                </a:solidFill>
              </a:rPr>
              <a:t>objectif une amélioration par percée </a:t>
            </a:r>
            <a:r>
              <a:rPr lang="fr-FR" dirty="0"/>
              <a:t>ou </a:t>
            </a:r>
            <a:r>
              <a:rPr lang="fr-FR" sz="1800" b="1" dirty="0">
                <a:solidFill>
                  <a:schemeClr val="accent1">
                    <a:lumMod val="60000"/>
                    <a:lumOff val="40000"/>
                  </a:schemeClr>
                </a:solidFill>
              </a:rPr>
              <a:t>rupture d’un processus stratégique </a:t>
            </a:r>
            <a:r>
              <a:rPr lang="fr-FR" dirty="0"/>
              <a:t>de l’entreprise  </a:t>
            </a:r>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4</a:t>
            </a:fld>
            <a:endParaRPr lang="en-US"/>
          </a:p>
        </p:txBody>
      </p:sp>
    </p:spTree>
    <p:extLst>
      <p:ext uri="{BB962C8B-B14F-4D97-AF65-F5344CB8AC3E}">
        <p14:creationId xmlns:p14="http://schemas.microsoft.com/office/powerpoint/2010/main" val="1002396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Approche  processus selon 9001 v 2015</a:t>
            </a:r>
            <a:r>
              <a:rPr lang="fr-FR" baseline="0" dirty="0"/>
              <a:t>  (par </a:t>
            </a:r>
            <a:r>
              <a:rPr lang="fr-FR" baseline="0" dirty="0" err="1"/>
              <a:t>rique</a:t>
            </a:r>
            <a:r>
              <a:rPr lang="fr-FR" baseline="0" dirty="0"/>
              <a:t> )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5</a:t>
            </a:fld>
            <a:endParaRPr lang="en-US"/>
          </a:p>
        </p:txBody>
      </p:sp>
    </p:spTree>
    <p:extLst>
      <p:ext uri="{BB962C8B-B14F-4D97-AF65-F5344CB8AC3E}">
        <p14:creationId xmlns:p14="http://schemas.microsoft.com/office/powerpoint/2010/main" val="3630915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t fort /point faible </a:t>
            </a:r>
          </a:p>
          <a:p>
            <a:r>
              <a:rPr lang="fr-FR" sz="1200" dirty="0"/>
              <a:t>or  y a que bon et pas bon)(</a:t>
            </a:r>
            <a:r>
              <a:rPr lang="fr-FR" sz="1200" dirty="0" err="1"/>
              <a:t>qd</a:t>
            </a:r>
            <a:r>
              <a:rPr lang="fr-FR" sz="1200" dirty="0"/>
              <a:t> s’agit du chiffre on utilise soit proportionnel ),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7</a:t>
            </a:fld>
            <a:endParaRPr lang="en-US"/>
          </a:p>
        </p:txBody>
      </p:sp>
    </p:spTree>
    <p:extLst>
      <p:ext uri="{BB962C8B-B14F-4D97-AF65-F5344CB8AC3E}">
        <p14:creationId xmlns:p14="http://schemas.microsoft.com/office/powerpoint/2010/main" val="325085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2000" b="1" dirty="0"/>
              <a:t> classifie les frs</a:t>
            </a:r>
          </a:p>
          <a:p>
            <a:r>
              <a:rPr lang="fr-FR" sz="2000" b="1" dirty="0"/>
              <a:t> modifier le </a:t>
            </a:r>
            <a:r>
              <a:rPr lang="fr-FR" sz="2000" b="1" dirty="0" err="1"/>
              <a:t>camambert</a:t>
            </a:r>
            <a:r>
              <a:rPr lang="fr-FR" sz="2000" b="1" dirty="0"/>
              <a:t> +TB </a:t>
            </a:r>
            <a:r>
              <a:rPr lang="fr-FR" sz="2000" b="1" dirty="0" err="1"/>
              <a:t>nv</a:t>
            </a:r>
            <a:r>
              <a:rPr lang="fr-FR" sz="2000" b="1" dirty="0"/>
              <a:t> et ancien   </a:t>
            </a:r>
          </a:p>
          <a:p>
            <a:endParaRPr lang="fr-FR" dirty="0"/>
          </a:p>
          <a:p>
            <a:r>
              <a:rPr lang="fr-FR" baseline="0" dirty="0"/>
              <a:t>. Mais afin de savoir les raisons principales qui </a:t>
            </a:r>
            <a:r>
              <a:rPr lang="fr-FR" baseline="0" dirty="0" err="1"/>
              <a:t>gener</a:t>
            </a:r>
            <a:r>
              <a:rPr lang="fr-FR" baseline="0" dirty="0"/>
              <a:t> des conséquences </a:t>
            </a:r>
            <a:r>
              <a:rPr lang="fr-FR" baseline="0" dirty="0" err="1"/>
              <a:t>tellemnt</a:t>
            </a:r>
            <a:r>
              <a:rPr lang="fr-FR" baseline="0" dirty="0"/>
              <a:t> </a:t>
            </a:r>
            <a:r>
              <a:rPr lang="fr-FR" baseline="0" dirty="0" err="1"/>
              <a:t>facheuses</a:t>
            </a:r>
            <a:r>
              <a:rPr lang="fr-FR" baseline="0" dirty="0"/>
              <a:t> nous avons élaborer une analyse ABC la classe A nous avons des attente de préparation de commande et les quais qui nous sont pas disponibles, </a:t>
            </a:r>
            <a:r>
              <a:rPr lang="fr-FR" baseline="0" dirty="0" err="1"/>
              <a:t>classz</a:t>
            </a:r>
            <a:r>
              <a:rPr lang="fr-FR" baseline="0" dirty="0"/>
              <a:t> B … et la classe C … </a:t>
            </a:r>
          </a:p>
          <a:p>
            <a:r>
              <a:rPr lang="fr-FR" baseline="0" dirty="0"/>
              <a:t>Donc dans la poursuite de notre projet on va se focaliser sur l’analyse de la classe A </a:t>
            </a:r>
            <a:r>
              <a:rPr lang="fr-FR" baseline="0" dirty="0" err="1"/>
              <a:t>parceque</a:t>
            </a:r>
            <a:r>
              <a:rPr lang="fr-FR" baseline="0" dirty="0"/>
              <a:t> c’est elle qui </a:t>
            </a:r>
            <a:r>
              <a:rPr lang="fr-FR" baseline="0" dirty="0" err="1"/>
              <a:t>presente</a:t>
            </a:r>
            <a:r>
              <a:rPr lang="fr-FR" baseline="0" dirty="0"/>
              <a:t> 20% des causes qui engendre 80% des conséquences</a:t>
            </a:r>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9</a:t>
            </a:fld>
            <a:endParaRPr lang="en-US"/>
          </a:p>
        </p:txBody>
      </p:sp>
    </p:spTree>
    <p:extLst>
      <p:ext uri="{BB962C8B-B14F-4D97-AF65-F5344CB8AC3E}">
        <p14:creationId xmlns:p14="http://schemas.microsoft.com/office/powerpoint/2010/main" val="3752068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Graphes </a:t>
            </a:r>
            <a:r>
              <a:rPr lang="fr-FR" dirty="0" err="1"/>
              <a:t>ppt</a:t>
            </a:r>
            <a:r>
              <a:rPr lang="fr-FR" dirty="0"/>
              <a:t> des graphes</a:t>
            </a:r>
            <a:r>
              <a:rPr lang="fr-FR" baseline="0" dirty="0"/>
              <a:t>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1</a:t>
            </a:fld>
            <a:endParaRPr lang="en-US"/>
          </a:p>
        </p:txBody>
      </p:sp>
    </p:spTree>
    <p:extLst>
      <p:ext uri="{BB962C8B-B14F-4D97-AF65-F5344CB8AC3E}">
        <p14:creationId xmlns:p14="http://schemas.microsoft.com/office/powerpoint/2010/main" val="2632280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e </a:t>
            </a:r>
            <a:r>
              <a:rPr lang="fr-FR" dirty="0" err="1"/>
              <a:t>nv</a:t>
            </a:r>
            <a:r>
              <a:rPr lang="fr-FR" dirty="0"/>
              <a:t>,  graphes de la proposition éviter le écart global </a:t>
            </a:r>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2</a:t>
            </a:fld>
            <a:endParaRPr lang="en-US"/>
          </a:p>
        </p:txBody>
      </p:sp>
    </p:spTree>
    <p:extLst>
      <p:ext uri="{BB962C8B-B14F-4D97-AF65-F5344CB8AC3E}">
        <p14:creationId xmlns:p14="http://schemas.microsoft.com/office/powerpoint/2010/main" val="2410594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3</a:t>
            </a:fld>
            <a:endParaRPr lang="en-US"/>
          </a:p>
        </p:txBody>
      </p:sp>
    </p:spTree>
    <p:extLst>
      <p:ext uri="{BB962C8B-B14F-4D97-AF65-F5344CB8AC3E}">
        <p14:creationId xmlns:p14="http://schemas.microsoft.com/office/powerpoint/2010/main" val="1711983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Qualité : Taux des NC élevée </a:t>
            </a:r>
            <a:r>
              <a:rPr lang="fr-FR" sz="1100" kern="1200" dirty="0">
                <a:solidFill>
                  <a:schemeClr val="tx1"/>
                </a:solidFill>
                <a:effectLst/>
                <a:latin typeface="+mn-lt"/>
                <a:ea typeface="+mn-ea"/>
                <a:cs typeface="+mn-cs"/>
              </a:rPr>
              <a:t>Les inventaires erronés +Dédouanement +La croissance de vente +</a:t>
            </a:r>
            <a:r>
              <a:rPr lang="fr-FR" sz="1100" kern="1200" baseline="0" dirty="0">
                <a:solidFill>
                  <a:schemeClr val="tx1"/>
                </a:solidFill>
                <a:effectLst/>
                <a:latin typeface="+mn-lt"/>
                <a:ea typeface="+mn-ea"/>
                <a:cs typeface="+mn-cs"/>
              </a:rPr>
              <a:t> </a:t>
            </a:r>
            <a:r>
              <a:rPr lang="fr-FR" sz="1100" kern="1200" dirty="0">
                <a:solidFill>
                  <a:schemeClr val="tx1"/>
                </a:solidFill>
                <a:effectLst/>
                <a:latin typeface="+mn-lt"/>
                <a:ea typeface="+mn-ea"/>
                <a:cs typeface="+mn-cs"/>
              </a:rPr>
              <a:t>Non-conformité (local) </a:t>
            </a:r>
            <a:r>
              <a:rPr lang="fr-FR" sz="1100" kern="1200" baseline="0" dirty="0">
                <a:solidFill>
                  <a:schemeClr val="tx1"/>
                </a:solidFill>
                <a:effectLst/>
                <a:latin typeface="+mn-lt"/>
                <a:ea typeface="+mn-ea"/>
                <a:cs typeface="+mn-cs"/>
              </a:rPr>
              <a:t>     ---- les causes racin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6</a:t>
            </a:fld>
            <a:endParaRPr lang="en-US"/>
          </a:p>
        </p:txBody>
      </p:sp>
    </p:spTree>
    <p:extLst>
      <p:ext uri="{BB962C8B-B14F-4D97-AF65-F5344CB8AC3E}">
        <p14:creationId xmlns:p14="http://schemas.microsoft.com/office/powerpoint/2010/main" val="577925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NPR : </a:t>
            </a:r>
            <a:r>
              <a:rPr lang="fr-FR" dirty="0" err="1"/>
              <a:t>Inidice</a:t>
            </a:r>
            <a:r>
              <a:rPr lang="fr-FR" dirty="0"/>
              <a:t> prioritaire de risque</a:t>
            </a:r>
            <a:r>
              <a:rPr lang="fr-FR" baseline="0" dirty="0"/>
              <a:t>    </a:t>
            </a:r>
          </a:p>
          <a:p>
            <a:r>
              <a:rPr lang="fr-FR" sz="3600" b="1" baseline="0" dirty="0" err="1"/>
              <a:t>Critere</a:t>
            </a:r>
            <a:r>
              <a:rPr lang="fr-FR" sz="3600" b="1" baseline="0" dirty="0"/>
              <a:t> ajouter </a:t>
            </a:r>
            <a:endParaRPr lang="fr-FR" sz="3600" b="1"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7</a:t>
            </a:fld>
            <a:endParaRPr lang="en-US"/>
          </a:p>
        </p:txBody>
      </p:sp>
    </p:spTree>
    <p:extLst>
      <p:ext uri="{BB962C8B-B14F-4D97-AF65-F5344CB8AC3E}">
        <p14:creationId xmlns:p14="http://schemas.microsoft.com/office/powerpoint/2010/main" val="2155049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solidFill>
                  <a:prstClr val="black"/>
                </a:solidFill>
                <a:latin typeface="Aparajita" panose="020B0604020202020204" pitchFamily="34" charset="0"/>
                <a:cs typeface="Aparajita" panose="020B0604020202020204" pitchFamily="34" charset="0"/>
              </a:rPr>
              <a:t>Présentation de l’entreprise</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solidFill>
                  <a:prstClr val="black"/>
                </a:solidFill>
                <a:latin typeface="Aparajita" panose="020B0604020202020204" pitchFamily="34" charset="0"/>
                <a:cs typeface="Aparajita" panose="020B0604020202020204" pitchFamily="34" charset="0"/>
              </a:rPr>
              <a:t>Contexte du projet</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solidFill>
                  <a:prstClr val="black"/>
                </a:solidFill>
                <a:latin typeface="Aparajita" panose="020B0604020202020204" pitchFamily="34" charset="0"/>
                <a:cs typeface="Aparajita" panose="020B0604020202020204" pitchFamily="34" charset="0"/>
              </a:rPr>
              <a:t>Mise en œuvre de la démarche DMAIC</a:t>
            </a:r>
          </a:p>
          <a:p>
            <a:r>
              <a:rPr lang="fr-FR" sz="1200" dirty="0">
                <a:solidFill>
                  <a:prstClr val="black"/>
                </a:solidFill>
                <a:latin typeface="Aparajita" panose="020B0604020202020204" pitchFamily="34" charset="0"/>
                <a:cs typeface="Aparajita" panose="020B0604020202020204" pitchFamily="34" charset="0"/>
              </a:rPr>
              <a:t>Conclusio</a:t>
            </a:r>
            <a:r>
              <a:rPr lang="fr-FR" sz="1100" dirty="0">
                <a:solidFill>
                  <a:prstClr val="black"/>
                </a:solidFill>
                <a:latin typeface="Agency FB" pitchFamily="34" charset="0"/>
              </a:rPr>
              <a:t>n</a:t>
            </a:r>
            <a:endParaRPr lang="fr-FR" dirty="0"/>
          </a:p>
          <a:p>
            <a:endParaRPr lang="fr-FR" dirty="0"/>
          </a:p>
        </p:txBody>
      </p:sp>
      <p:sp>
        <p:nvSpPr>
          <p:cNvPr id="4" name="Slide Number Placeholder 3"/>
          <p:cNvSpPr>
            <a:spLocks noGrp="1"/>
          </p:cNvSpPr>
          <p:nvPr>
            <p:ph type="sldNum" sz="quarter" idx="10"/>
          </p:nvPr>
        </p:nvSpPr>
        <p:spPr/>
        <p:txBody>
          <a:bodyPr/>
          <a:lstStyle/>
          <a:p>
            <a:fld id="{771A808B-3162-44DD-9EBC-FCAD093EFABB}" type="slidenum">
              <a:rPr lang="fr-FR" smtClean="0">
                <a:solidFill>
                  <a:prstClr val="black"/>
                </a:solidFill>
              </a:rPr>
              <a:pPr/>
              <a:t>2</a:t>
            </a:fld>
            <a:endParaRPr lang="fr-FR">
              <a:solidFill>
                <a:prstClr val="black"/>
              </a:solidFill>
            </a:endParaRPr>
          </a:p>
        </p:txBody>
      </p:sp>
    </p:spTree>
    <p:extLst>
      <p:ext uri="{BB962C8B-B14F-4D97-AF65-F5344CB8AC3E}">
        <p14:creationId xmlns:p14="http://schemas.microsoft.com/office/powerpoint/2010/main" val="2066122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Taux de </a:t>
            </a:r>
            <a:r>
              <a:rPr lang="fr-FR" dirty="0" err="1"/>
              <a:t>ravcitivité</a:t>
            </a:r>
            <a:r>
              <a:rPr lang="fr-FR" baseline="0" dirty="0"/>
              <a:t> </a:t>
            </a:r>
          </a:p>
          <a:p>
            <a:r>
              <a:rPr lang="fr-FR" baseline="0" dirty="0"/>
              <a:t>Les graphes les chiffres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8</a:t>
            </a:fld>
            <a:endParaRPr lang="en-US"/>
          </a:p>
        </p:txBody>
      </p:sp>
    </p:spTree>
    <p:extLst>
      <p:ext uri="{BB962C8B-B14F-4D97-AF65-F5344CB8AC3E}">
        <p14:creationId xmlns:p14="http://schemas.microsoft.com/office/powerpoint/2010/main" val="3979650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a:t>La saisit par le magasinier &gt;&gt; la libération par le responsable assurance qualité  &gt;&gt;  disponibilité de la marchandise    </a:t>
            </a:r>
          </a:p>
          <a:p>
            <a:pPr marL="0" marR="0" indent="0" algn="l" defTabSz="914400" rtl="0" eaLnBrk="1" fontAlgn="auto" latinLnBrk="0" hangingPunct="1">
              <a:lnSpc>
                <a:spcPct val="100000"/>
              </a:lnSpc>
              <a:spcBef>
                <a:spcPts val="0"/>
              </a:spcBef>
              <a:spcAft>
                <a:spcPts val="0"/>
              </a:spcAft>
              <a:buClrTx/>
              <a:buSzTx/>
              <a:buFontTx/>
              <a:buNone/>
              <a:tabLst/>
              <a:defRPr/>
            </a:pPr>
            <a:r>
              <a:rPr lang="fr-FR" dirty="0"/>
              <a:t>Manque à gagner</a:t>
            </a:r>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29</a:t>
            </a:fld>
            <a:endParaRPr lang="en-US"/>
          </a:p>
        </p:txBody>
      </p:sp>
    </p:spTree>
    <p:extLst>
      <p:ext uri="{BB962C8B-B14F-4D97-AF65-F5344CB8AC3E}">
        <p14:creationId xmlns:p14="http://schemas.microsoft.com/office/powerpoint/2010/main" val="2734350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31</a:t>
            </a:fld>
            <a:endParaRPr lang="en-US"/>
          </a:p>
        </p:txBody>
      </p:sp>
    </p:spTree>
    <p:extLst>
      <p:ext uri="{BB962C8B-B14F-4D97-AF65-F5344CB8AC3E}">
        <p14:creationId xmlns:p14="http://schemas.microsoft.com/office/powerpoint/2010/main" val="39796238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bjectif annuelle du  niveau de service fournisseurs est de : 90 %, et pour l’atteindre en respectant bien évidement la politique des achats, Voici quelques actions en interne et en externe comme suit : </a:t>
            </a:r>
            <a:br>
              <a:rPr lang="fr-FR" sz="800" dirty="0"/>
            </a:b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34</a:t>
            </a:fld>
            <a:endParaRPr lang="en-US"/>
          </a:p>
        </p:txBody>
      </p:sp>
    </p:spTree>
    <p:extLst>
      <p:ext uri="{BB962C8B-B14F-4D97-AF65-F5344CB8AC3E}">
        <p14:creationId xmlns:p14="http://schemas.microsoft.com/office/powerpoint/2010/main" val="24371613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35</a:t>
            </a:fld>
            <a:endParaRPr lang="en-US"/>
          </a:p>
        </p:txBody>
      </p:sp>
    </p:spTree>
    <p:extLst>
      <p:ext uri="{BB962C8B-B14F-4D97-AF65-F5344CB8AC3E}">
        <p14:creationId xmlns:p14="http://schemas.microsoft.com/office/powerpoint/2010/main" val="24258326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4000" b="1" dirty="0"/>
              <a:t>Fiche pour</a:t>
            </a:r>
            <a:r>
              <a:rPr lang="fr-FR" sz="4000" b="1" baseline="0" dirty="0"/>
              <a:t> </a:t>
            </a:r>
            <a:r>
              <a:rPr lang="fr-FR" sz="4000" b="1" baseline="0" dirty="0" err="1"/>
              <a:t>mesuere</a:t>
            </a:r>
            <a:r>
              <a:rPr lang="fr-FR" sz="4000" b="1" baseline="0" dirty="0"/>
              <a:t> la réactivité des frs </a:t>
            </a:r>
            <a:endParaRPr lang="fr-FR" sz="4000" b="1"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36</a:t>
            </a:fld>
            <a:endParaRPr lang="en-US"/>
          </a:p>
        </p:txBody>
      </p:sp>
    </p:spTree>
    <p:extLst>
      <p:ext uri="{BB962C8B-B14F-4D97-AF65-F5344CB8AC3E}">
        <p14:creationId xmlns:p14="http://schemas.microsoft.com/office/powerpoint/2010/main" val="2771050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On va améliorer le niveau de service fournisseurs à travers une nouvelle fiche d’évaluation et assurer le suivi fournisseurs en demander à nos fournisseurs le plan d’action pour chaque point aberrants, </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kern="1200" dirty="0">
                <a:solidFill>
                  <a:prstClr val="black">
                    <a:hueOff val="0"/>
                    <a:satOff val="0"/>
                    <a:lumOff val="0"/>
                    <a:alphaOff val="0"/>
                  </a:prstClr>
                </a:solidFill>
                <a:latin typeface="Open Sans"/>
                <a:ea typeface="+mn-ea"/>
                <a:cs typeface="+mn-cs"/>
              </a:rPr>
              <a:t>Visualiser et Mesurer la performance du fournisseur</a:t>
            </a:r>
            <a:endParaRPr lang="fr-FR" dirty="0"/>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38</a:t>
            </a:fld>
            <a:endParaRPr lang="en-US"/>
          </a:p>
        </p:txBody>
      </p:sp>
    </p:spTree>
    <p:extLst>
      <p:ext uri="{BB962C8B-B14F-4D97-AF65-F5344CB8AC3E}">
        <p14:creationId xmlns:p14="http://schemas.microsoft.com/office/powerpoint/2010/main" val="5127138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 L’évaluation des fournisseurs : Un réel instrument de pilotage te d’amélioration des achats   parfaitement </a:t>
            </a:r>
            <a:r>
              <a:rPr lang="fr-FR" sz="1200" kern="1200" dirty="0" err="1">
                <a:solidFill>
                  <a:schemeClr val="tx1"/>
                </a:solidFill>
                <a:effectLst/>
                <a:latin typeface="+mn-lt"/>
                <a:ea typeface="+mn-ea"/>
                <a:cs typeface="+mn-cs"/>
              </a:rPr>
              <a:t>integré</a:t>
            </a:r>
            <a:r>
              <a:rPr lang="fr-FR" sz="1200" kern="1200" dirty="0">
                <a:solidFill>
                  <a:schemeClr val="tx1"/>
                </a:solidFill>
                <a:effectLst/>
                <a:latin typeface="+mn-lt"/>
                <a:ea typeface="+mn-ea"/>
                <a:cs typeface="+mn-cs"/>
              </a:rPr>
              <a:t> dans les  tableaux de bord de l’entreprise. </a:t>
            </a:r>
            <a:endParaRPr lang="fr-FR" dirty="0"/>
          </a:p>
          <a:p>
            <a:r>
              <a:rPr lang="fr-FR" dirty="0"/>
              <a:t>La </a:t>
            </a:r>
            <a:r>
              <a:rPr lang="fr-FR" dirty="0" err="1"/>
              <a:t>methode</a:t>
            </a:r>
            <a:r>
              <a:rPr lang="fr-FR" dirty="0"/>
              <a:t> d’évaluation 9+ Impact sur</a:t>
            </a:r>
            <a:r>
              <a:rPr lang="fr-FR" baseline="0" dirty="0"/>
              <a:t> la </a:t>
            </a:r>
            <a:r>
              <a:rPr lang="fr-FR" baseline="0" dirty="0" err="1"/>
              <a:t>perforance</a:t>
            </a:r>
            <a:r>
              <a:rPr lang="fr-FR" baseline="0" dirty="0"/>
              <a:t> indus </a:t>
            </a:r>
          </a:p>
          <a:p>
            <a:endParaRPr lang="fr-FR" baseline="0" dirty="0"/>
          </a:p>
          <a:p>
            <a:r>
              <a:rPr lang="fr-FR" baseline="0" dirty="0"/>
              <a:t>Processus d’</a:t>
            </a:r>
            <a:r>
              <a:rPr lang="fr-FR" baseline="0" dirty="0" err="1"/>
              <a:t>homologuation</a:t>
            </a:r>
            <a:r>
              <a:rPr lang="fr-FR" baseline="0" dirty="0"/>
              <a:t> </a:t>
            </a:r>
          </a:p>
          <a:p>
            <a:endParaRPr lang="fr-FR" dirty="0"/>
          </a:p>
          <a:p>
            <a:endParaRPr lang="fr-FR" dirty="0"/>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0</a:t>
            </a:fld>
            <a:endParaRPr lang="en-US"/>
          </a:p>
        </p:txBody>
      </p:sp>
    </p:spTree>
    <p:extLst>
      <p:ext uri="{BB962C8B-B14F-4D97-AF65-F5344CB8AC3E}">
        <p14:creationId xmlns:p14="http://schemas.microsoft.com/office/powerpoint/2010/main" val="4818548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F9E1ECB9-C3B7-41C7-844D-F9771FCE3B5E}" type="slidenum">
              <a:rPr lang="fr-FR" smtClean="0"/>
              <a:t>41</a:t>
            </a:fld>
            <a:endParaRPr lang="fr-FR"/>
          </a:p>
        </p:txBody>
      </p:sp>
      <p:sp>
        <p:nvSpPr>
          <p:cNvPr id="5" name="Espace réservé du pied de page 4"/>
          <p:cNvSpPr>
            <a:spLocks noGrp="1"/>
          </p:cNvSpPr>
          <p:nvPr>
            <p:ph type="ftr" sz="quarter" idx="11"/>
          </p:nvPr>
        </p:nvSpPr>
        <p:spPr/>
        <p:txBody>
          <a:bodyPr/>
          <a:lstStyle/>
          <a:p>
            <a:r>
              <a:rPr lang="fr-FR"/>
              <a:t>Présentation projet de fin d'étude </a:t>
            </a:r>
            <a:endParaRPr lang="en-US"/>
          </a:p>
        </p:txBody>
      </p:sp>
    </p:spTree>
    <p:extLst>
      <p:ext uri="{BB962C8B-B14F-4D97-AF65-F5344CB8AC3E}">
        <p14:creationId xmlns:p14="http://schemas.microsoft.com/office/powerpoint/2010/main" val="865722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kern="1200" dirty="0">
                <a:solidFill>
                  <a:schemeClr val="tx1"/>
                </a:solidFill>
                <a:effectLst/>
                <a:latin typeface="+mn-lt"/>
                <a:ea typeface="+mn-ea"/>
                <a:cs typeface="+mn-cs"/>
              </a:rPr>
              <a:t>Les inventaires erronés </a:t>
            </a:r>
          </a:p>
          <a:p>
            <a:r>
              <a:rPr lang="fr-FR" sz="1200" kern="1200" dirty="0">
                <a:solidFill>
                  <a:schemeClr val="tx1"/>
                </a:solidFill>
                <a:effectLst/>
                <a:latin typeface="+mn-lt"/>
                <a:ea typeface="+mn-ea"/>
                <a:cs typeface="+mn-cs"/>
              </a:rPr>
              <a:t>Dédouanement </a:t>
            </a:r>
          </a:p>
          <a:p>
            <a:r>
              <a:rPr lang="fr-FR" sz="1200" kern="1200" dirty="0">
                <a:solidFill>
                  <a:schemeClr val="tx1"/>
                </a:solidFill>
                <a:effectLst/>
                <a:latin typeface="+mn-lt"/>
                <a:ea typeface="+mn-ea"/>
                <a:cs typeface="+mn-cs"/>
              </a:rPr>
              <a:t>La croissance de vente   </a:t>
            </a:r>
          </a:p>
          <a:p>
            <a:r>
              <a:rPr lang="fr-FR" sz="1200" kern="1200" dirty="0">
                <a:solidFill>
                  <a:schemeClr val="tx1"/>
                </a:solidFill>
                <a:effectLst/>
                <a:latin typeface="+mn-lt"/>
                <a:ea typeface="+mn-ea"/>
                <a:cs typeface="+mn-cs"/>
              </a:rPr>
              <a:t>Non-conformité (local) </a:t>
            </a:r>
            <a:r>
              <a:rPr lang="fr-FR" sz="1200" kern="1200" baseline="0" dirty="0">
                <a:solidFill>
                  <a:schemeClr val="tx1"/>
                </a:solidFill>
                <a:effectLst/>
                <a:latin typeface="+mn-lt"/>
                <a:ea typeface="+mn-ea"/>
                <a:cs typeface="+mn-cs"/>
              </a:rPr>
              <a:t>     </a:t>
            </a:r>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2</a:t>
            </a:fld>
            <a:endParaRPr lang="en-US"/>
          </a:p>
        </p:txBody>
      </p:sp>
    </p:spTree>
    <p:extLst>
      <p:ext uri="{BB962C8B-B14F-4D97-AF65-F5344CB8AC3E}">
        <p14:creationId xmlns:p14="http://schemas.microsoft.com/office/powerpoint/2010/main" val="2602076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ecteur d’activité </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 L’histoire de Nestlé est d’une industrie alimentaire qui fit connaître en suisse en 1867, lorsqu’Henri Nestlé, son fondateur, fabrique la première farine lactée pour les nourrissons à base de blé rôti et du lait de vache connue sous le nom : Farine de Nestlé. Ils ont</a:t>
            </a:r>
            <a:r>
              <a:rPr lang="fr-FR" sz="1200" kern="1200" baseline="0" dirty="0">
                <a:solidFill>
                  <a:schemeClr val="tx1"/>
                </a:solidFill>
                <a:effectLst/>
                <a:latin typeface="+mn-lt"/>
                <a:ea typeface="+mn-ea"/>
                <a:cs typeface="+mn-cs"/>
              </a:rPr>
              <a:t> </a:t>
            </a:r>
            <a:r>
              <a:rPr lang="fr-FR" sz="1200" kern="1200" dirty="0">
                <a:solidFill>
                  <a:schemeClr val="tx1"/>
                </a:solidFill>
                <a:effectLst/>
                <a:latin typeface="+mn-lt"/>
                <a:ea typeface="+mn-ea"/>
                <a:cs typeface="+mn-cs"/>
              </a:rPr>
              <a:t>plus de 2 000 marques allant des icônes mondiales, aux marques favorites locales, et nous sommes présents dans 189 pays autour du monde.</a:t>
            </a:r>
          </a:p>
          <a:p>
            <a:endParaRPr lang="fr-FR" dirty="0"/>
          </a:p>
        </p:txBody>
      </p:sp>
      <p:sp>
        <p:nvSpPr>
          <p:cNvPr id="4" name="Slide Number Placeholder 3"/>
          <p:cNvSpPr>
            <a:spLocks noGrp="1"/>
          </p:cNvSpPr>
          <p:nvPr>
            <p:ph type="sldNum" sz="quarter" idx="10"/>
          </p:nvPr>
        </p:nvSpPr>
        <p:spPr/>
        <p:txBody>
          <a:bodyPr/>
          <a:lstStyle/>
          <a:p>
            <a:fld id="{771A808B-3162-44DD-9EBC-FCAD093EFABB}" type="slidenum">
              <a:rPr lang="fr-FR" smtClean="0">
                <a:solidFill>
                  <a:prstClr val="black"/>
                </a:solidFill>
              </a:rPr>
              <a:pPr/>
              <a:t>3</a:t>
            </a:fld>
            <a:endParaRPr lang="fr-FR">
              <a:solidFill>
                <a:prstClr val="black"/>
              </a:solidFill>
            </a:endParaRPr>
          </a:p>
        </p:txBody>
      </p:sp>
    </p:spTree>
    <p:extLst>
      <p:ext uri="{BB962C8B-B14F-4D97-AF65-F5344CB8AC3E}">
        <p14:creationId xmlns:p14="http://schemas.microsoft.com/office/powerpoint/2010/main" val="330299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4</a:t>
            </a:fld>
            <a:endParaRPr lang="en-US"/>
          </a:p>
        </p:txBody>
      </p:sp>
    </p:spTree>
    <p:extLst>
      <p:ext uri="{BB962C8B-B14F-4D97-AF65-F5344CB8AC3E}">
        <p14:creationId xmlns:p14="http://schemas.microsoft.com/office/powerpoint/2010/main" val="29620872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5</a:t>
            </a:fld>
            <a:endParaRPr lang="en-US"/>
          </a:p>
        </p:txBody>
      </p:sp>
    </p:spTree>
    <p:extLst>
      <p:ext uri="{BB962C8B-B14F-4D97-AF65-F5344CB8AC3E}">
        <p14:creationId xmlns:p14="http://schemas.microsoft.com/office/powerpoint/2010/main" val="38060373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Chantaje</a:t>
            </a:r>
            <a:r>
              <a:rPr lang="fr-FR" baseline="0" dirty="0"/>
              <a:t> muchas gracias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7</a:t>
            </a:fld>
            <a:endParaRPr lang="en-US"/>
          </a:p>
        </p:txBody>
      </p:sp>
    </p:spTree>
    <p:extLst>
      <p:ext uri="{BB962C8B-B14F-4D97-AF65-F5344CB8AC3E}">
        <p14:creationId xmlns:p14="http://schemas.microsoft.com/office/powerpoint/2010/main" val="20877302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48</a:t>
            </a:fld>
            <a:endParaRPr lang="en-US"/>
          </a:p>
        </p:txBody>
      </p:sp>
    </p:spTree>
    <p:extLst>
      <p:ext uri="{BB962C8B-B14F-4D97-AF65-F5344CB8AC3E}">
        <p14:creationId xmlns:p14="http://schemas.microsoft.com/office/powerpoint/2010/main" val="36387451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t>Critère retenu ne permet pas de mesurer avec précision l’écart par rapport aux objectifs ou n’est plus significatif (l’action suivie est achevée, le critère ne varie plus,…)          </a:t>
            </a:r>
          </a:p>
          <a:p>
            <a:r>
              <a:rPr lang="fr-FR" sz="1200" dirty="0"/>
              <a:t>(pas de grille d’évaluation fournisseurs ,que des réclamations),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51</a:t>
            </a:fld>
            <a:endParaRPr lang="en-US"/>
          </a:p>
        </p:txBody>
      </p:sp>
    </p:spTree>
    <p:extLst>
      <p:ext uri="{BB962C8B-B14F-4D97-AF65-F5344CB8AC3E}">
        <p14:creationId xmlns:p14="http://schemas.microsoft.com/office/powerpoint/2010/main" val="1516054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t>Critère retenu ne permet pas de mesurer avec précision l’écart par rapport aux objectifs ou n’est plus significatif (l’action suivie est achevée, le critère ne varie plus,…)          </a:t>
            </a:r>
          </a:p>
          <a:p>
            <a:r>
              <a:rPr lang="fr-FR" sz="1200" dirty="0"/>
              <a:t>(pas de grille d’évaluation fournisseurs ,que des réclamations), </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55</a:t>
            </a:fld>
            <a:endParaRPr lang="en-US"/>
          </a:p>
        </p:txBody>
      </p:sp>
    </p:spTree>
    <p:extLst>
      <p:ext uri="{BB962C8B-B14F-4D97-AF65-F5344CB8AC3E}">
        <p14:creationId xmlns:p14="http://schemas.microsoft.com/office/powerpoint/2010/main" val="1516054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es techniques de pesages :  pesage </a:t>
            </a:r>
          </a:p>
          <a:p>
            <a:r>
              <a:rPr lang="fr-FR" dirty="0"/>
              <a:t>Délai réaction par des niveaux  </a:t>
            </a:r>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58</a:t>
            </a:fld>
            <a:endParaRPr lang="en-US"/>
          </a:p>
        </p:txBody>
      </p:sp>
    </p:spTree>
    <p:extLst>
      <p:ext uri="{BB962C8B-B14F-4D97-AF65-F5344CB8AC3E}">
        <p14:creationId xmlns:p14="http://schemas.microsoft.com/office/powerpoint/2010/main" val="2467230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4</a:t>
            </a:fld>
            <a:endParaRPr lang="id-ID"/>
          </a:p>
        </p:txBody>
      </p:sp>
    </p:spTree>
    <p:extLst>
      <p:ext uri="{BB962C8B-B14F-4D97-AF65-F5344CB8AC3E}">
        <p14:creationId xmlns:p14="http://schemas.microsoft.com/office/powerpoint/2010/main" val="942934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Procus</a:t>
            </a:r>
            <a:r>
              <a:rPr lang="fr-FR" dirty="0"/>
              <a:t> </a:t>
            </a:r>
            <a:r>
              <a:rPr lang="fr-FR" dirty="0" err="1"/>
              <a:t>fabrc</a:t>
            </a:r>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5</a:t>
            </a:fld>
            <a:endParaRPr lang="en-US"/>
          </a:p>
        </p:txBody>
      </p:sp>
    </p:spTree>
    <p:extLst>
      <p:ext uri="{BB962C8B-B14F-4D97-AF65-F5344CB8AC3E}">
        <p14:creationId xmlns:p14="http://schemas.microsoft.com/office/powerpoint/2010/main" val="1990118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a:p>
            <a:r>
              <a:rPr lang="fr-FR" dirty="0"/>
              <a:t>Satisfaire</a:t>
            </a:r>
            <a:r>
              <a:rPr lang="fr-FR" baseline="0" dirty="0"/>
              <a:t> notre client </a:t>
            </a:r>
            <a:r>
              <a:rPr lang="fr-FR" baseline="0" dirty="0" err="1"/>
              <a:t>interen+maximiser</a:t>
            </a:r>
            <a:r>
              <a:rPr lang="fr-FR" baseline="0" dirty="0"/>
              <a:t> nos +atteindre nos objectifs + </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t> 2-tenir comptes des exigences applicables Amélioration de la satisfaction client interne </a:t>
            </a:r>
            <a:r>
              <a:rPr lang="fr-FR" sz="1200" b="1" dirty="0">
                <a:solidFill>
                  <a:schemeClr val="accent3"/>
                </a:solidFill>
              </a:rPr>
              <a:t>( à travers  ISO 9001 </a:t>
            </a:r>
            <a:r>
              <a:rPr lang="fr-FR" sz="1200" dirty="0"/>
              <a:t>.   </a:t>
            </a:r>
          </a:p>
          <a:p>
            <a:pPr algn="l"/>
            <a:r>
              <a:rPr lang="fr-FR" sz="1200" b="1" dirty="0">
                <a:solidFill>
                  <a:schemeClr val="accent2"/>
                </a:solidFill>
              </a:rPr>
              <a:t>Notoriété  qui doit protéger  donc il doit avoir </a:t>
            </a:r>
            <a:r>
              <a:rPr lang="fr-FR" sz="1200" b="1" dirty="0" err="1">
                <a:solidFill>
                  <a:schemeClr val="accent2"/>
                </a:solidFill>
              </a:rPr>
              <a:t>geval</a:t>
            </a:r>
            <a:endParaRPr lang="fr-FR" sz="1200" b="1" dirty="0">
              <a:solidFill>
                <a:schemeClr val="accent2"/>
              </a:solidFill>
            </a:endParaRPr>
          </a:p>
          <a:p>
            <a:pPr algn="l"/>
            <a:r>
              <a:rPr lang="fr-FR" sz="1200" b="1" dirty="0">
                <a:solidFill>
                  <a:schemeClr val="accent2"/>
                </a:solidFill>
              </a:rPr>
              <a:t>((Amélioration continue </a:t>
            </a:r>
          </a:p>
          <a:p>
            <a:r>
              <a:rPr lang="fr-FR" dirty="0"/>
              <a:t> S’assurer de la cohérence entre la politique et la méthodologie de l’application de ces </a:t>
            </a:r>
          </a:p>
          <a:p>
            <a:r>
              <a:rPr lang="fr-FR" dirty="0"/>
              <a:t>Communiquer sur les best practice sur la société.  </a:t>
            </a:r>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8</a:t>
            </a:fld>
            <a:endParaRPr lang="en-US"/>
          </a:p>
        </p:txBody>
      </p:sp>
    </p:spTree>
    <p:extLst>
      <p:ext uri="{BB962C8B-B14F-4D97-AF65-F5344CB8AC3E}">
        <p14:creationId xmlns:p14="http://schemas.microsoft.com/office/powerpoint/2010/main" val="945275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en-US" sz="1200" b="1" u="sng" dirty="0">
                <a:solidFill>
                  <a:schemeClr val="accent2">
                    <a:lumMod val="75000"/>
                  </a:schemeClr>
                </a:solidFill>
                <a:latin typeface="Open Sans Light" pitchFamily="34" charset="0"/>
                <a:ea typeface="Open Sans Light" pitchFamily="34" charset="0"/>
                <a:cs typeface="Open Sans Light" pitchFamily="34" charset="0"/>
              </a:rPr>
              <a:t>Service</a:t>
            </a:r>
            <a:r>
              <a:rPr lang="en-US" sz="1200" b="1" dirty="0">
                <a:solidFill>
                  <a:schemeClr val="accent2">
                    <a:lumMod val="75000"/>
                  </a:schemeClr>
                </a:solidFill>
                <a:latin typeface="Open Sans Light" pitchFamily="34" charset="0"/>
                <a:ea typeface="Open Sans Light" pitchFamily="34" charset="0"/>
                <a:cs typeface="Open Sans Light" pitchFamily="34" charset="0"/>
              </a:rPr>
              <a:t> : </a:t>
            </a:r>
            <a:r>
              <a:rPr lang="en-US" sz="1200" dirty="0" err="1">
                <a:latin typeface="Open Sans Light" pitchFamily="34" charset="0"/>
                <a:ea typeface="Open Sans Light" pitchFamily="34" charset="0"/>
                <a:cs typeface="Open Sans Light" pitchFamily="34" charset="0"/>
              </a:rPr>
              <a:t>écouter,comprendre,aligner,s’engager</a:t>
            </a:r>
            <a:r>
              <a:rPr lang="en-US" sz="1200" dirty="0">
                <a:latin typeface="Open Sans Light" pitchFamily="34" charset="0"/>
                <a:ea typeface="Open Sans Light" pitchFamily="34" charset="0"/>
                <a:cs typeface="Open Sans Light" pitchFamily="34" charset="0"/>
              </a:rPr>
              <a:t>  tot avec transparence ;</a:t>
            </a:r>
            <a:r>
              <a:rPr lang="en-US" sz="1200" dirty="0" err="1">
                <a:latin typeface="Open Sans Light" pitchFamily="34" charset="0"/>
                <a:ea typeface="Open Sans Light" pitchFamily="34" charset="0"/>
                <a:cs typeface="Open Sans Light" pitchFamily="34" charset="0"/>
              </a:rPr>
              <a:t>exécuter</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parfaitement</a:t>
            </a:r>
            <a:r>
              <a:rPr lang="en-US" sz="1200" dirty="0">
                <a:latin typeface="Open Sans Light" pitchFamily="34" charset="0"/>
                <a:ea typeface="Open Sans Light" pitchFamily="34" charset="0"/>
                <a:cs typeface="Open Sans Light" pitchFamily="34" charset="0"/>
              </a:rPr>
              <a:t> avec le  Business.</a:t>
            </a:r>
          </a:p>
          <a:p>
            <a:pPr marL="0" indent="0">
              <a:buNone/>
            </a:pPr>
            <a:r>
              <a:rPr lang="en-US" sz="1200" b="1" u="sng" dirty="0" err="1">
                <a:solidFill>
                  <a:schemeClr val="accent2">
                    <a:lumMod val="75000"/>
                  </a:schemeClr>
                </a:solidFill>
                <a:latin typeface="Open Sans Light" pitchFamily="34" charset="0"/>
                <a:ea typeface="Open Sans Light" pitchFamily="34" charset="0"/>
                <a:cs typeface="Open Sans Light" pitchFamily="34" charset="0"/>
              </a:rPr>
              <a:t>Avantages</a:t>
            </a:r>
            <a:r>
              <a:rPr lang="en-US" sz="1200" b="1" u="sng" dirty="0">
                <a:solidFill>
                  <a:schemeClr val="accent2">
                    <a:lumMod val="75000"/>
                  </a:schemeClr>
                </a:solidFill>
                <a:latin typeface="Open Sans Light" pitchFamily="34" charset="0"/>
                <a:ea typeface="Open Sans Light" pitchFamily="34" charset="0"/>
                <a:cs typeface="Open Sans Light" pitchFamily="34" charset="0"/>
              </a:rPr>
              <a:t> </a:t>
            </a:r>
            <a:r>
              <a:rPr lang="en-US" sz="1200" b="1" u="sng" dirty="0" err="1">
                <a:solidFill>
                  <a:schemeClr val="accent2">
                    <a:lumMod val="75000"/>
                  </a:schemeClr>
                </a:solidFill>
                <a:latin typeface="Open Sans Light" pitchFamily="34" charset="0"/>
                <a:ea typeface="Open Sans Light" pitchFamily="34" charset="0"/>
                <a:cs typeface="Open Sans Light" pitchFamily="34" charset="0"/>
              </a:rPr>
              <a:t>en</a:t>
            </a:r>
            <a:r>
              <a:rPr lang="en-US" sz="1200" b="1" u="sng" dirty="0">
                <a:solidFill>
                  <a:schemeClr val="accent2">
                    <a:lumMod val="75000"/>
                  </a:schemeClr>
                </a:solidFill>
                <a:latin typeface="Open Sans Light" pitchFamily="34" charset="0"/>
                <a:ea typeface="Open Sans Light" pitchFamily="34" charset="0"/>
                <a:cs typeface="Open Sans Light" pitchFamily="34" charset="0"/>
              </a:rPr>
              <a:t> </a:t>
            </a:r>
            <a:r>
              <a:rPr lang="en-US" sz="1200" b="1" u="sng" dirty="0" err="1">
                <a:solidFill>
                  <a:schemeClr val="accent2">
                    <a:lumMod val="75000"/>
                  </a:schemeClr>
                </a:solidFill>
                <a:latin typeface="Open Sans Light" pitchFamily="34" charset="0"/>
                <a:ea typeface="Open Sans Light" pitchFamily="34" charset="0"/>
                <a:cs typeface="Open Sans Light" pitchFamily="34" charset="0"/>
              </a:rPr>
              <a:t>termes</a:t>
            </a:r>
            <a:r>
              <a:rPr lang="en-US" sz="1200" b="1" u="sng" dirty="0">
                <a:solidFill>
                  <a:schemeClr val="accent2">
                    <a:lumMod val="75000"/>
                  </a:schemeClr>
                </a:solidFill>
                <a:latin typeface="Open Sans Light" pitchFamily="34" charset="0"/>
                <a:ea typeface="Open Sans Light" pitchFamily="34" charset="0"/>
                <a:cs typeface="Open Sans Light" pitchFamily="34" charset="0"/>
              </a:rPr>
              <a:t> de </a:t>
            </a:r>
            <a:r>
              <a:rPr lang="en-US" sz="1200" b="1" u="sng" dirty="0" err="1">
                <a:solidFill>
                  <a:schemeClr val="accent2">
                    <a:lumMod val="75000"/>
                  </a:schemeClr>
                </a:solidFill>
                <a:latin typeface="Open Sans Light" pitchFamily="34" charset="0"/>
                <a:ea typeface="Open Sans Light" pitchFamily="34" charset="0"/>
                <a:cs typeface="Open Sans Light" pitchFamily="34" charset="0"/>
              </a:rPr>
              <a:t>couts</a:t>
            </a:r>
            <a:r>
              <a:rPr lang="en-US" sz="1200" b="1" dirty="0">
                <a:solidFill>
                  <a:schemeClr val="accent2">
                    <a:lumMod val="75000"/>
                  </a:schemeClr>
                </a:solidFill>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Dépasser</a:t>
            </a:r>
            <a:r>
              <a:rPr lang="en-US" sz="1200" dirty="0">
                <a:latin typeface="Open Sans Light" pitchFamily="34" charset="0"/>
                <a:ea typeface="Open Sans Light" pitchFamily="34" charset="0"/>
                <a:cs typeface="Open Sans Light" pitchFamily="34" charset="0"/>
              </a:rPr>
              <a:t> la </a:t>
            </a:r>
            <a:r>
              <a:rPr lang="en-US" sz="1200" dirty="0" err="1">
                <a:latin typeface="Open Sans Light" pitchFamily="34" charset="0"/>
                <a:ea typeface="Open Sans Light" pitchFamily="34" charset="0"/>
                <a:cs typeface="Open Sans Light" pitchFamily="34" charset="0"/>
              </a:rPr>
              <a:t>concurences</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regrouper</a:t>
            </a:r>
            <a:r>
              <a:rPr lang="en-US" sz="1200" dirty="0">
                <a:latin typeface="Open Sans Light" pitchFamily="34" charset="0"/>
                <a:ea typeface="Open Sans Light" pitchFamily="34" charset="0"/>
                <a:cs typeface="Open Sans Light" pitchFamily="34" charset="0"/>
              </a:rPr>
              <a:t> les </a:t>
            </a:r>
            <a:r>
              <a:rPr lang="en-US" sz="1200" dirty="0" err="1">
                <a:latin typeface="Open Sans Light" pitchFamily="34" charset="0"/>
                <a:ea typeface="Open Sans Light" pitchFamily="34" charset="0"/>
                <a:cs typeface="Open Sans Light" pitchFamily="34" charset="0"/>
              </a:rPr>
              <a:t>dépenses</a:t>
            </a:r>
            <a:r>
              <a:rPr lang="en-US" sz="1200" dirty="0">
                <a:latin typeface="Open Sans Light" pitchFamily="34" charset="0"/>
                <a:ea typeface="Open Sans Light" pitchFamily="34" charset="0"/>
                <a:cs typeface="Open Sans Light" pitchFamily="34" charset="0"/>
              </a:rPr>
              <a:t> sous un </a:t>
            </a:r>
            <a:r>
              <a:rPr lang="en-US" sz="1200" dirty="0" err="1">
                <a:latin typeface="Open Sans Light" pitchFamily="34" charset="0"/>
                <a:ea typeface="Open Sans Light" pitchFamily="34" charset="0"/>
                <a:cs typeface="Open Sans Light" pitchFamily="34" charset="0"/>
              </a:rPr>
              <a:t>seul</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interlocuteur</a:t>
            </a:r>
            <a:r>
              <a:rPr lang="en-US" sz="1200" dirty="0">
                <a:latin typeface="Open Sans Light" pitchFamily="34" charset="0"/>
                <a:ea typeface="Open Sans Light" pitchFamily="34" charset="0"/>
                <a:cs typeface="Open Sans Light" pitchFamily="34" charset="0"/>
              </a:rPr>
              <a:t> pour le </a:t>
            </a:r>
            <a:r>
              <a:rPr lang="en-US" sz="1200" dirty="0" err="1">
                <a:latin typeface="Open Sans Light" pitchFamily="34" charset="0"/>
                <a:ea typeface="Open Sans Light" pitchFamily="34" charset="0"/>
                <a:cs typeface="Open Sans Light" pitchFamily="34" charset="0"/>
              </a:rPr>
              <a:t>fournisseur;etre</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en</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conformité</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ave</a:t>
            </a:r>
            <a:r>
              <a:rPr lang="en-US" sz="1200" dirty="0">
                <a:latin typeface="Open Sans Light" pitchFamily="34" charset="0"/>
                <a:ea typeface="Open Sans Light" pitchFamily="34" charset="0"/>
                <a:cs typeface="Open Sans Light" pitchFamily="34" charset="0"/>
              </a:rPr>
              <a:t> les 7 </a:t>
            </a:r>
            <a:r>
              <a:rPr lang="en-US" sz="1200" dirty="0" err="1">
                <a:latin typeface="Open Sans Light" pitchFamily="34" charset="0"/>
                <a:ea typeface="Open Sans Light" pitchFamily="34" charset="0"/>
                <a:cs typeface="Open Sans Light" pitchFamily="34" charset="0"/>
              </a:rPr>
              <a:t>bonnes</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pratiques</a:t>
            </a:r>
            <a:r>
              <a:rPr lang="en-US" sz="1200" dirty="0">
                <a:latin typeface="Open Sans Light" pitchFamily="34" charset="0"/>
                <a:ea typeface="Open Sans Light" pitchFamily="34" charset="0"/>
                <a:cs typeface="Open Sans Light" pitchFamily="34" charset="0"/>
              </a:rPr>
              <a:t> ,</a:t>
            </a:r>
          </a:p>
          <a:p>
            <a:pPr marL="0" indent="0">
              <a:buNone/>
            </a:pPr>
            <a:r>
              <a:rPr lang="en-US" sz="1200" b="1" u="sng" dirty="0">
                <a:solidFill>
                  <a:schemeClr val="accent2">
                    <a:lumMod val="75000"/>
                  </a:schemeClr>
                </a:solidFill>
                <a:latin typeface="Open Sans Light" pitchFamily="34" charset="0"/>
                <a:ea typeface="Open Sans Light" pitchFamily="34" charset="0"/>
                <a:cs typeface="Open Sans Light" pitchFamily="34" charset="0"/>
              </a:rPr>
              <a:t>Innovation</a:t>
            </a:r>
            <a:r>
              <a:rPr lang="en-US" sz="1200" b="1" dirty="0">
                <a:solidFill>
                  <a:schemeClr val="accent2">
                    <a:lumMod val="75000"/>
                  </a:schemeClr>
                </a:solidFill>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Etre</a:t>
            </a:r>
            <a:r>
              <a:rPr lang="en-US" sz="1200" dirty="0">
                <a:latin typeface="Open Sans Light" pitchFamily="34" charset="0"/>
                <a:ea typeface="Open Sans Light" pitchFamily="34" charset="0"/>
                <a:cs typeface="Open Sans Light" pitchFamily="34" charset="0"/>
              </a:rPr>
              <a:t> la </a:t>
            </a:r>
            <a:r>
              <a:rPr lang="en-US" sz="1200" dirty="0" err="1">
                <a:latin typeface="Open Sans Light" pitchFamily="34" charset="0"/>
                <a:ea typeface="Open Sans Light" pitchFamily="34" charset="0"/>
                <a:cs typeface="Open Sans Light" pitchFamily="34" charset="0"/>
              </a:rPr>
              <a:t>priorité</a:t>
            </a:r>
            <a:r>
              <a:rPr lang="en-US" sz="1200" dirty="0">
                <a:latin typeface="Open Sans Light" pitchFamily="34" charset="0"/>
                <a:ea typeface="Open Sans Light" pitchFamily="34" charset="0"/>
                <a:cs typeface="Open Sans Light" pitchFamily="34" charset="0"/>
              </a:rPr>
              <a:t> la plus </a:t>
            </a:r>
            <a:r>
              <a:rPr lang="en-US" sz="1200" dirty="0" err="1">
                <a:latin typeface="Open Sans Light" pitchFamily="34" charset="0"/>
                <a:ea typeface="Open Sans Light" pitchFamily="34" charset="0"/>
                <a:cs typeface="Open Sans Light" pitchFamily="34" charset="0"/>
              </a:rPr>
              <a:t>élevée</a:t>
            </a:r>
            <a:r>
              <a:rPr lang="en-US" sz="1200" dirty="0">
                <a:latin typeface="Open Sans Light" pitchFamily="34" charset="0"/>
                <a:ea typeface="Open Sans Light" pitchFamily="34" charset="0"/>
                <a:cs typeface="Open Sans Light" pitchFamily="34" charset="0"/>
              </a:rPr>
              <a:t> pour les innovations </a:t>
            </a:r>
            <a:r>
              <a:rPr lang="en-US" sz="1200" dirty="0" err="1">
                <a:latin typeface="Open Sans Light" pitchFamily="34" charset="0"/>
                <a:ea typeface="Open Sans Light" pitchFamily="34" charset="0"/>
                <a:cs typeface="Open Sans Light" pitchFamily="34" charset="0"/>
              </a:rPr>
              <a:t>proposé</a:t>
            </a:r>
            <a:r>
              <a:rPr lang="en-US" sz="1200" dirty="0">
                <a:latin typeface="Open Sans Light" pitchFamily="34" charset="0"/>
                <a:ea typeface="Open Sans Light" pitchFamily="34" charset="0"/>
                <a:cs typeface="Open Sans Light" pitchFamily="34" charset="0"/>
              </a:rPr>
              <a:t> par les </a:t>
            </a:r>
            <a:r>
              <a:rPr lang="en-US" sz="1200" dirty="0" err="1">
                <a:latin typeface="Open Sans Light" pitchFamily="34" charset="0"/>
                <a:ea typeface="Open Sans Light" pitchFamily="34" charset="0"/>
                <a:cs typeface="Open Sans Light" pitchFamily="34" charset="0"/>
              </a:rPr>
              <a:t>fournisseurs</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multifonctionnel</a:t>
            </a:r>
            <a:r>
              <a:rPr lang="en-US" sz="1200" dirty="0">
                <a:latin typeface="Open Sans Light" pitchFamily="34" charset="0"/>
                <a:ea typeface="Open Sans Light" pitchFamily="34" charset="0"/>
                <a:cs typeface="Open Sans Light" pitchFamily="34" charset="0"/>
              </a:rPr>
              <a:t> et </a:t>
            </a:r>
            <a:r>
              <a:rPr lang="en-US" sz="1200" dirty="0" err="1">
                <a:latin typeface="Open Sans Light" pitchFamily="34" charset="0"/>
                <a:ea typeface="Open Sans Light" pitchFamily="34" charset="0"/>
                <a:cs typeface="Open Sans Light" pitchFamily="34" charset="0"/>
              </a:rPr>
              <a:t>proactif</a:t>
            </a:r>
            <a:r>
              <a:rPr lang="en-US" sz="1200" dirty="0">
                <a:latin typeface="Open Sans Light" pitchFamily="34" charset="0"/>
                <a:ea typeface="Open Sans Light" pitchFamily="34" charset="0"/>
                <a:cs typeface="Open Sans Light" pitchFamily="34" charset="0"/>
              </a:rPr>
              <a:t> , </a:t>
            </a:r>
            <a:r>
              <a:rPr lang="en-US" sz="1200" dirty="0" err="1">
                <a:latin typeface="Open Sans Light" pitchFamily="34" charset="0"/>
                <a:ea typeface="Open Sans Light" pitchFamily="34" charset="0"/>
                <a:cs typeface="Open Sans Light" pitchFamily="34" charset="0"/>
              </a:rPr>
              <a:t>ainsi</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qu’une</a:t>
            </a:r>
            <a:r>
              <a:rPr lang="en-US" sz="1200" dirty="0">
                <a:latin typeface="Open Sans Light" pitchFamily="34" charset="0"/>
                <a:ea typeface="Open Sans Light" pitchFamily="34" charset="0"/>
                <a:cs typeface="Open Sans Light" pitchFamily="34" charset="0"/>
              </a:rPr>
              <a:t> exploration </a:t>
            </a:r>
            <a:r>
              <a:rPr lang="en-US" sz="1200" dirty="0" err="1">
                <a:latin typeface="Open Sans Light" pitchFamily="34" charset="0"/>
                <a:ea typeface="Open Sans Light" pitchFamily="34" charset="0"/>
                <a:cs typeface="Open Sans Light" pitchFamily="34" charset="0"/>
              </a:rPr>
              <a:t>en</a:t>
            </a:r>
            <a:r>
              <a:rPr lang="en-US" sz="1200" dirty="0">
                <a:latin typeface="Open Sans Light" pitchFamily="34" charset="0"/>
                <a:ea typeface="Open Sans Light" pitchFamily="34" charset="0"/>
                <a:cs typeface="Open Sans Light" pitchFamily="34" charset="0"/>
              </a:rPr>
              <a:t> continue de </a:t>
            </a:r>
            <a:r>
              <a:rPr lang="en-US" sz="1200" dirty="0" err="1">
                <a:latin typeface="Open Sans Light" pitchFamily="34" charset="0"/>
                <a:ea typeface="Open Sans Light" pitchFamily="34" charset="0"/>
                <a:cs typeface="Open Sans Light" pitchFamily="34" charset="0"/>
              </a:rPr>
              <a:t>l’environnement</a:t>
            </a:r>
            <a:r>
              <a:rPr lang="en-US" sz="1200" dirty="0">
                <a:latin typeface="Open Sans Light" pitchFamily="34" charset="0"/>
                <a:ea typeface="Open Sans Light" pitchFamily="34" charset="0"/>
                <a:cs typeface="Open Sans Light" pitchFamily="34" charset="0"/>
              </a:rPr>
              <a:t> </a:t>
            </a:r>
            <a:r>
              <a:rPr lang="en-US" sz="1200" dirty="0" err="1">
                <a:latin typeface="Open Sans Light" pitchFamily="34" charset="0"/>
                <a:ea typeface="Open Sans Light" pitchFamily="34" charset="0"/>
                <a:cs typeface="Open Sans Light" pitchFamily="34" charset="0"/>
              </a:rPr>
              <a:t>d’approvisionnement</a:t>
            </a:r>
            <a:r>
              <a:rPr lang="en-US" sz="1200" dirty="0">
                <a:latin typeface="Open Sans Light" pitchFamily="34" charset="0"/>
                <a:ea typeface="Open Sans Light" pitchFamily="34" charset="0"/>
                <a:cs typeface="Open Sans Light" pitchFamily="34" charset="0"/>
              </a:rPr>
              <a:t>, </a:t>
            </a:r>
            <a:endParaRPr lang="fr-FR" dirty="0"/>
          </a:p>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9</a:t>
            </a:fld>
            <a:endParaRPr lang="en-US"/>
          </a:p>
        </p:txBody>
      </p:sp>
    </p:spTree>
    <p:extLst>
      <p:ext uri="{BB962C8B-B14F-4D97-AF65-F5344CB8AC3E}">
        <p14:creationId xmlns:p14="http://schemas.microsoft.com/office/powerpoint/2010/main" val="3160180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  </a:t>
            </a:r>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0</a:t>
            </a:fld>
            <a:endParaRPr lang="en-US"/>
          </a:p>
        </p:txBody>
      </p:sp>
    </p:spTree>
    <p:extLst>
      <p:ext uri="{BB962C8B-B14F-4D97-AF65-F5344CB8AC3E}">
        <p14:creationId xmlns:p14="http://schemas.microsoft.com/office/powerpoint/2010/main" val="41261479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2432A70-A70B-4CC5-8452-D4A384B300AE}" type="slidenum">
              <a:rPr lang="en-US" smtClean="0"/>
              <a:t>12</a:t>
            </a:fld>
            <a:endParaRPr lang="en-US"/>
          </a:p>
        </p:txBody>
      </p:sp>
    </p:spTree>
    <p:extLst>
      <p:ext uri="{BB962C8B-B14F-4D97-AF65-F5344CB8AC3E}">
        <p14:creationId xmlns:p14="http://schemas.microsoft.com/office/powerpoint/2010/main" val="13649679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9" name="Content Placeholder 20"/>
          <p:cNvSpPr>
            <a:spLocks noGrp="1"/>
          </p:cNvSpPr>
          <p:nvPr>
            <p:ph sz="quarter" idx="16" hasCustomPrompt="1"/>
          </p:nvPr>
        </p:nvSpPr>
        <p:spPr>
          <a:xfrm>
            <a:off x="6360330" y="2343835"/>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10" name="Text Placeholder 17"/>
          <p:cNvSpPr>
            <a:spLocks noGrp="1"/>
          </p:cNvSpPr>
          <p:nvPr>
            <p:ph type="body" sz="quarter" idx="21" hasCustomPrompt="1"/>
          </p:nvPr>
        </p:nvSpPr>
        <p:spPr>
          <a:xfrm>
            <a:off x="6360326" y="2576069"/>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
        <p:nvSpPr>
          <p:cNvPr id="70" name="Picture Placeholder 2"/>
          <p:cNvSpPr>
            <a:spLocks noGrp="1"/>
          </p:cNvSpPr>
          <p:nvPr>
            <p:ph type="pic" sz="quarter" idx="43"/>
          </p:nvPr>
        </p:nvSpPr>
        <p:spPr>
          <a:xfrm>
            <a:off x="8047344" y="4770680"/>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69" name="Picture Placeholder 2"/>
          <p:cNvSpPr>
            <a:spLocks noGrp="1"/>
          </p:cNvSpPr>
          <p:nvPr>
            <p:ph type="pic" sz="quarter" idx="42"/>
          </p:nvPr>
        </p:nvSpPr>
        <p:spPr>
          <a:xfrm>
            <a:off x="5291635" y="4774705"/>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68" name="Picture Placeholder 2"/>
          <p:cNvSpPr>
            <a:spLocks noGrp="1"/>
          </p:cNvSpPr>
          <p:nvPr>
            <p:ph type="pic" sz="quarter" idx="41"/>
          </p:nvPr>
        </p:nvSpPr>
        <p:spPr>
          <a:xfrm>
            <a:off x="5297581" y="1905000"/>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67" name="Picture Placeholder 2"/>
          <p:cNvSpPr>
            <a:spLocks noGrp="1"/>
          </p:cNvSpPr>
          <p:nvPr>
            <p:ph type="pic" sz="quarter" idx="40"/>
          </p:nvPr>
        </p:nvSpPr>
        <p:spPr>
          <a:xfrm>
            <a:off x="3886567" y="3319514"/>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58" name="Picture Placeholder 2"/>
          <p:cNvSpPr>
            <a:spLocks noGrp="1"/>
          </p:cNvSpPr>
          <p:nvPr>
            <p:ph type="pic" sz="quarter" idx="24"/>
          </p:nvPr>
        </p:nvSpPr>
        <p:spPr>
          <a:xfrm>
            <a:off x="2545567" y="4773163"/>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42" name="Shape 335"/>
          <p:cNvSpPr/>
          <p:nvPr userDrawn="1"/>
        </p:nvSpPr>
        <p:spPr>
          <a:xfrm>
            <a:off x="8847336" y="5268966"/>
            <a:ext cx="119032" cy="334963"/>
          </a:xfrm>
          <a:prstGeom prst="rect">
            <a:avLst/>
          </a:prstGeom>
          <a:solidFill>
            <a:schemeClr val="accent4"/>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3" name="Shape 336"/>
          <p:cNvSpPr/>
          <p:nvPr userDrawn="1"/>
        </p:nvSpPr>
        <p:spPr>
          <a:xfrm>
            <a:off x="6095990" y="5268966"/>
            <a:ext cx="119032" cy="334963"/>
          </a:xfrm>
          <a:prstGeom prst="rect">
            <a:avLst/>
          </a:prstGeom>
          <a:solidFill>
            <a:schemeClr val="accent2"/>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4" name="Shape 337"/>
          <p:cNvSpPr/>
          <p:nvPr userDrawn="1"/>
        </p:nvSpPr>
        <p:spPr>
          <a:xfrm>
            <a:off x="3350749" y="5268966"/>
            <a:ext cx="119032" cy="334963"/>
          </a:xfrm>
          <a:prstGeom prst="rect">
            <a:avLst/>
          </a:prstGeom>
          <a:solidFill>
            <a:schemeClr val="accent3"/>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5" name="Shape 338"/>
          <p:cNvSpPr/>
          <p:nvPr userDrawn="1"/>
        </p:nvSpPr>
        <p:spPr>
          <a:xfrm>
            <a:off x="4690232" y="3816655"/>
            <a:ext cx="119032" cy="334963"/>
          </a:xfrm>
          <a:prstGeom prst="rect">
            <a:avLst/>
          </a:prstGeom>
          <a:solidFill>
            <a:schemeClr val="accent5"/>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46" name="Shape 339"/>
          <p:cNvSpPr/>
          <p:nvPr userDrawn="1"/>
        </p:nvSpPr>
        <p:spPr>
          <a:xfrm>
            <a:off x="6095990" y="2397155"/>
            <a:ext cx="119032" cy="336676"/>
          </a:xfrm>
          <a:prstGeom prst="rect">
            <a:avLst/>
          </a:prstGeom>
          <a:solidFill>
            <a:schemeClr val="accent1">
              <a:lumMod val="75000"/>
            </a:schemeClr>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60" name="Shape 354"/>
          <p:cNvSpPr/>
          <p:nvPr userDrawn="1"/>
        </p:nvSpPr>
        <p:spPr>
          <a:xfrm flipH="1" flipV="1">
            <a:off x="3234598" y="3042902"/>
            <a:ext cx="5756174" cy="1"/>
          </a:xfrm>
          <a:prstGeom prst="line">
            <a:avLst/>
          </a:prstGeom>
          <a:ln w="19050">
            <a:solidFill>
              <a:schemeClr val="bg1">
                <a:lumMod val="85000"/>
              </a:schemeClr>
            </a:solidFill>
            <a:custDash>
              <a:ds d="200000" sp="200000"/>
            </a:custDash>
            <a:miter lim="400000"/>
          </a:ln>
        </p:spPr>
        <p:txBody>
          <a:bodyPr lIns="0" tIns="0" rIns="0" bIns="0"/>
          <a:lstStyle/>
          <a:p>
            <a:pPr defTabSz="228539">
              <a:defRPr sz="1200">
                <a:solidFill>
                  <a:srgbClr val="000000"/>
                </a:solidFill>
                <a:latin typeface="Helvetica"/>
                <a:ea typeface="Helvetica"/>
                <a:cs typeface="Helvetica"/>
                <a:sym typeface="Helvetica"/>
              </a:defRPr>
            </a:pPr>
            <a:endParaRPr dirty="0"/>
          </a:p>
        </p:txBody>
      </p:sp>
      <p:sp>
        <p:nvSpPr>
          <p:cNvPr id="61" name="Shape 355"/>
          <p:cNvSpPr/>
          <p:nvPr userDrawn="1"/>
        </p:nvSpPr>
        <p:spPr>
          <a:xfrm flipH="1" flipV="1">
            <a:off x="1942472" y="4479092"/>
            <a:ext cx="8340429" cy="1"/>
          </a:xfrm>
          <a:prstGeom prst="line">
            <a:avLst/>
          </a:prstGeom>
          <a:ln w="19050">
            <a:solidFill>
              <a:schemeClr val="bg1">
                <a:lumMod val="85000"/>
              </a:schemeClr>
            </a:solidFill>
            <a:custDash>
              <a:ds d="200000" sp="200000"/>
            </a:custDash>
            <a:miter lim="400000"/>
          </a:ln>
        </p:spPr>
        <p:txBody>
          <a:bodyPr lIns="0" tIns="0" rIns="0" bIns="0"/>
          <a:lstStyle/>
          <a:p>
            <a:pPr defTabSz="228539">
              <a:defRPr sz="1200">
                <a:solidFill>
                  <a:srgbClr val="000000"/>
                </a:solidFill>
                <a:latin typeface="Helvetica"/>
                <a:ea typeface="Helvetica"/>
                <a:cs typeface="Helvetica"/>
                <a:sym typeface="Helvetica"/>
              </a:defRPr>
            </a:pPr>
            <a:endParaRPr dirty="0"/>
          </a:p>
        </p:txBody>
      </p:sp>
      <p:sp>
        <p:nvSpPr>
          <p:cNvPr id="71" name="Content Placeholder 20"/>
          <p:cNvSpPr>
            <a:spLocks noGrp="1"/>
          </p:cNvSpPr>
          <p:nvPr>
            <p:ph sz="quarter" idx="44" hasCustomPrompt="1"/>
          </p:nvPr>
        </p:nvSpPr>
        <p:spPr>
          <a:xfrm>
            <a:off x="4955974" y="3761184"/>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72" name="Text Placeholder 17"/>
          <p:cNvSpPr>
            <a:spLocks noGrp="1"/>
          </p:cNvSpPr>
          <p:nvPr>
            <p:ph type="body" sz="quarter" idx="45" hasCustomPrompt="1"/>
          </p:nvPr>
        </p:nvSpPr>
        <p:spPr>
          <a:xfrm>
            <a:off x="4955971" y="3993419"/>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
        <p:nvSpPr>
          <p:cNvPr id="73" name="Content Placeholder 20"/>
          <p:cNvSpPr>
            <a:spLocks noGrp="1"/>
          </p:cNvSpPr>
          <p:nvPr>
            <p:ph sz="quarter" idx="46" hasCustomPrompt="1"/>
          </p:nvPr>
        </p:nvSpPr>
        <p:spPr>
          <a:xfrm>
            <a:off x="3646355" y="5204212"/>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74" name="Text Placeholder 17"/>
          <p:cNvSpPr>
            <a:spLocks noGrp="1"/>
          </p:cNvSpPr>
          <p:nvPr>
            <p:ph type="body" sz="quarter" idx="47" hasCustomPrompt="1"/>
          </p:nvPr>
        </p:nvSpPr>
        <p:spPr>
          <a:xfrm>
            <a:off x="3646350" y="5436447"/>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
        <p:nvSpPr>
          <p:cNvPr id="75" name="Content Placeholder 20"/>
          <p:cNvSpPr>
            <a:spLocks noGrp="1"/>
          </p:cNvSpPr>
          <p:nvPr>
            <p:ph sz="quarter" idx="48" hasCustomPrompt="1"/>
          </p:nvPr>
        </p:nvSpPr>
        <p:spPr>
          <a:xfrm>
            <a:off x="6376686" y="5214721"/>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76" name="Text Placeholder 17"/>
          <p:cNvSpPr>
            <a:spLocks noGrp="1"/>
          </p:cNvSpPr>
          <p:nvPr>
            <p:ph type="body" sz="quarter" idx="49" hasCustomPrompt="1"/>
          </p:nvPr>
        </p:nvSpPr>
        <p:spPr>
          <a:xfrm>
            <a:off x="6376682" y="5446956"/>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
        <p:nvSpPr>
          <p:cNvPr id="77" name="Content Placeholder 20"/>
          <p:cNvSpPr>
            <a:spLocks noGrp="1"/>
          </p:cNvSpPr>
          <p:nvPr>
            <p:ph sz="quarter" idx="50" hasCustomPrompt="1"/>
          </p:nvPr>
        </p:nvSpPr>
        <p:spPr>
          <a:xfrm>
            <a:off x="9147612" y="5214721"/>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78" name="Text Placeholder 17"/>
          <p:cNvSpPr>
            <a:spLocks noGrp="1"/>
          </p:cNvSpPr>
          <p:nvPr>
            <p:ph type="body" sz="quarter" idx="51" hasCustomPrompt="1"/>
          </p:nvPr>
        </p:nvSpPr>
        <p:spPr>
          <a:xfrm>
            <a:off x="9147608" y="5446956"/>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
        <p:nvSpPr>
          <p:cNvPr id="26" name="Picture Placeholder 2"/>
          <p:cNvSpPr>
            <a:spLocks noGrp="1"/>
          </p:cNvSpPr>
          <p:nvPr>
            <p:ph type="pic" sz="quarter" idx="52"/>
          </p:nvPr>
        </p:nvSpPr>
        <p:spPr>
          <a:xfrm>
            <a:off x="6519956" y="3319514"/>
            <a:ext cx="804672" cy="83210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7" name="Shape 338"/>
          <p:cNvSpPr/>
          <p:nvPr userDrawn="1"/>
        </p:nvSpPr>
        <p:spPr>
          <a:xfrm>
            <a:off x="7323623" y="3816655"/>
            <a:ext cx="119032" cy="334963"/>
          </a:xfrm>
          <a:prstGeom prst="rect">
            <a:avLst/>
          </a:prstGeom>
          <a:solidFill>
            <a:srgbClr val="FFC000"/>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8" name="Content Placeholder 20"/>
          <p:cNvSpPr>
            <a:spLocks noGrp="1"/>
          </p:cNvSpPr>
          <p:nvPr>
            <p:ph sz="quarter" idx="53" hasCustomPrompt="1"/>
          </p:nvPr>
        </p:nvSpPr>
        <p:spPr>
          <a:xfrm>
            <a:off x="7589362" y="3761184"/>
            <a:ext cx="854795"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Phon</a:t>
            </a:r>
            <a:endParaRPr lang="en-GB" dirty="0"/>
          </a:p>
        </p:txBody>
      </p:sp>
      <p:sp>
        <p:nvSpPr>
          <p:cNvPr id="29" name="Text Placeholder 17"/>
          <p:cNvSpPr>
            <a:spLocks noGrp="1"/>
          </p:cNvSpPr>
          <p:nvPr>
            <p:ph type="body" sz="quarter" idx="54" hasCustomPrompt="1"/>
          </p:nvPr>
        </p:nvSpPr>
        <p:spPr>
          <a:xfrm>
            <a:off x="7589359" y="3993419"/>
            <a:ext cx="980880" cy="367387"/>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Owner</a:t>
            </a:r>
          </a:p>
        </p:txBody>
      </p:sp>
    </p:spTree>
    <p:extLst>
      <p:ext uri="{BB962C8B-B14F-4D97-AF65-F5344CB8AC3E}">
        <p14:creationId xmlns:p14="http://schemas.microsoft.com/office/powerpoint/2010/main" val="1534551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wipe(left)">
                                      <p:cBhvr>
                                        <p:cTn id="11" dur="500"/>
                                        <p:tgtEl>
                                          <p:spTgt spid="46"/>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wipe(left)">
                                      <p:cBhvr>
                                        <p:cTn id="15" dur="500"/>
                                        <p:tgtEl>
                                          <p:spTgt spid="9">
                                            <p:txEl>
                                              <p:pRg st="0" end="0"/>
                                            </p:txEl>
                                          </p:spTgt>
                                        </p:tgtEl>
                                      </p:cBhvr>
                                    </p:animEffect>
                                  </p:childTnLst>
                                </p:cTn>
                              </p:par>
                            </p:childTnLst>
                          </p:cTn>
                        </p:par>
                        <p:par>
                          <p:cTn id="16" fill="hold">
                            <p:stCondLst>
                              <p:cond delay="1500"/>
                            </p:stCondLst>
                            <p:childTnLst>
                              <p:par>
                                <p:cTn id="17" presetID="9" presetClass="entr" presetSubtype="0" fill="hold" grpId="0" nodeType="after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Effect transition="in" filter="dissolve">
                                      <p:cBhvr>
                                        <p:cTn id="19" dur="500"/>
                                        <p:tgtEl>
                                          <p:spTgt spid="10">
                                            <p:txEl>
                                              <p:pRg st="0" end="0"/>
                                            </p:txEl>
                                          </p:spTgt>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ipe(left)">
                                      <p:cBhvr>
                                        <p:cTn id="23" dur="500"/>
                                        <p:tgtEl>
                                          <p:spTgt spid="60"/>
                                        </p:tgtEl>
                                      </p:cBhvr>
                                    </p:animEffect>
                                  </p:childTnLst>
                                </p:cTn>
                              </p:par>
                            </p:childTnLst>
                          </p:cTn>
                        </p:par>
                        <p:par>
                          <p:cTn id="24" fill="hold">
                            <p:stCondLst>
                              <p:cond delay="25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wipe(left)">
                                      <p:cBhvr>
                                        <p:cTn id="31" dur="500"/>
                                        <p:tgtEl>
                                          <p:spTgt spid="45"/>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71">
                                            <p:txEl>
                                              <p:pRg st="0" end="0"/>
                                            </p:txEl>
                                          </p:spTgt>
                                        </p:tgtEl>
                                        <p:attrNameLst>
                                          <p:attrName>style.visibility</p:attrName>
                                        </p:attrNameLst>
                                      </p:cBhvr>
                                      <p:to>
                                        <p:strVal val="visible"/>
                                      </p:to>
                                    </p:set>
                                    <p:animEffect transition="in" filter="wipe(left)">
                                      <p:cBhvr>
                                        <p:cTn id="35" dur="500"/>
                                        <p:tgtEl>
                                          <p:spTgt spid="71">
                                            <p:txEl>
                                              <p:pRg st="0" end="0"/>
                                            </p:txEl>
                                          </p:spTgt>
                                        </p:tgtEl>
                                      </p:cBhvr>
                                    </p:animEffect>
                                  </p:childTnLst>
                                </p:cTn>
                              </p:par>
                            </p:childTnLst>
                          </p:cTn>
                        </p:par>
                        <p:par>
                          <p:cTn id="36" fill="hold">
                            <p:stCondLst>
                              <p:cond delay="4000"/>
                            </p:stCondLst>
                            <p:childTnLst>
                              <p:par>
                                <p:cTn id="37" presetID="9" presetClass="entr" presetSubtype="0" fill="hold" grpId="0" nodeType="afterEffect">
                                  <p:stCondLst>
                                    <p:cond delay="0"/>
                                  </p:stCondLst>
                                  <p:childTnLst>
                                    <p:set>
                                      <p:cBhvr>
                                        <p:cTn id="38" dur="1" fill="hold">
                                          <p:stCondLst>
                                            <p:cond delay="0"/>
                                          </p:stCondLst>
                                        </p:cTn>
                                        <p:tgtEl>
                                          <p:spTgt spid="72">
                                            <p:txEl>
                                              <p:pRg st="0" end="0"/>
                                            </p:txEl>
                                          </p:spTgt>
                                        </p:tgtEl>
                                        <p:attrNameLst>
                                          <p:attrName>style.visibility</p:attrName>
                                        </p:attrNameLst>
                                      </p:cBhvr>
                                      <p:to>
                                        <p:strVal val="visible"/>
                                      </p:to>
                                    </p:set>
                                    <p:animEffect transition="in" filter="dissolve">
                                      <p:cBhvr>
                                        <p:cTn id="39" dur="500"/>
                                        <p:tgtEl>
                                          <p:spTgt spid="72">
                                            <p:txEl>
                                              <p:pRg st="0" end="0"/>
                                            </p:txEl>
                                          </p:spTgt>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wipe(left)">
                                      <p:cBhvr>
                                        <p:cTn id="43" dur="500"/>
                                        <p:tgtEl>
                                          <p:spTgt spid="61"/>
                                        </p:tgtEl>
                                      </p:cBhvr>
                                    </p:animEffect>
                                  </p:childTnLst>
                                </p:cTn>
                              </p:par>
                            </p:childTnLst>
                          </p:cTn>
                        </p:par>
                        <p:par>
                          <p:cTn id="44" fill="hold">
                            <p:stCondLst>
                              <p:cond delay="5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childTnLst>
                                </p:cTn>
                              </p:par>
                            </p:childTnLst>
                          </p:cTn>
                        </p:par>
                        <p:par>
                          <p:cTn id="48" fill="hold">
                            <p:stCondLst>
                              <p:cond delay="5500"/>
                            </p:stCondLst>
                            <p:childTnLst>
                              <p:par>
                                <p:cTn id="49" presetID="22" presetClass="entr" presetSubtype="8" fill="hold" grpId="0" nodeType="after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wipe(left)">
                                      <p:cBhvr>
                                        <p:cTn id="51" dur="500"/>
                                        <p:tgtEl>
                                          <p:spTgt spid="44"/>
                                        </p:tgtEl>
                                      </p:cBhvr>
                                    </p:animEffect>
                                  </p:childTnLst>
                                </p:cTn>
                              </p:par>
                            </p:childTnLst>
                          </p:cTn>
                        </p:par>
                        <p:par>
                          <p:cTn id="52" fill="hold">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73">
                                            <p:txEl>
                                              <p:pRg st="0" end="0"/>
                                            </p:txEl>
                                          </p:spTgt>
                                        </p:tgtEl>
                                        <p:attrNameLst>
                                          <p:attrName>style.visibility</p:attrName>
                                        </p:attrNameLst>
                                      </p:cBhvr>
                                      <p:to>
                                        <p:strVal val="visible"/>
                                      </p:to>
                                    </p:set>
                                    <p:animEffect transition="in" filter="wipe(left)">
                                      <p:cBhvr>
                                        <p:cTn id="55" dur="500"/>
                                        <p:tgtEl>
                                          <p:spTgt spid="73">
                                            <p:txEl>
                                              <p:pRg st="0" end="0"/>
                                            </p:txEl>
                                          </p:spTgt>
                                        </p:tgtEl>
                                      </p:cBhvr>
                                    </p:animEffect>
                                  </p:childTnLst>
                                </p:cTn>
                              </p:par>
                            </p:childTnLst>
                          </p:cTn>
                        </p:par>
                        <p:par>
                          <p:cTn id="56" fill="hold">
                            <p:stCondLst>
                              <p:cond delay="6500"/>
                            </p:stCondLst>
                            <p:childTnLst>
                              <p:par>
                                <p:cTn id="57" presetID="9" presetClass="entr" presetSubtype="0" fill="hold" grpId="0" nodeType="afterEffect">
                                  <p:stCondLst>
                                    <p:cond delay="0"/>
                                  </p:stCondLst>
                                  <p:childTnLst>
                                    <p:set>
                                      <p:cBhvr>
                                        <p:cTn id="58" dur="1" fill="hold">
                                          <p:stCondLst>
                                            <p:cond delay="0"/>
                                          </p:stCondLst>
                                        </p:cTn>
                                        <p:tgtEl>
                                          <p:spTgt spid="74">
                                            <p:txEl>
                                              <p:pRg st="0" end="0"/>
                                            </p:txEl>
                                          </p:spTgt>
                                        </p:tgtEl>
                                        <p:attrNameLst>
                                          <p:attrName>style.visibility</p:attrName>
                                        </p:attrNameLst>
                                      </p:cBhvr>
                                      <p:to>
                                        <p:strVal val="visible"/>
                                      </p:to>
                                    </p:set>
                                    <p:animEffect transition="in" filter="dissolve">
                                      <p:cBhvr>
                                        <p:cTn id="59" dur="500"/>
                                        <p:tgtEl>
                                          <p:spTgt spid="74">
                                            <p:txEl>
                                              <p:pRg st="0" end="0"/>
                                            </p:txEl>
                                          </p:spTgt>
                                        </p:tgtEl>
                                      </p:cBhvr>
                                    </p:animEffect>
                                  </p:childTnLst>
                                </p:cTn>
                              </p:par>
                            </p:childTnLst>
                          </p:cTn>
                        </p:par>
                        <p:par>
                          <p:cTn id="60" fill="hold">
                            <p:stCondLst>
                              <p:cond delay="7000"/>
                            </p:stCondLst>
                            <p:childTnLst>
                              <p:par>
                                <p:cTn id="61" presetID="10" presetClass="entr" presetSubtype="0" fill="hold" grpId="0" nodeType="afterEffect" nodePh="1">
                                  <p:stCondLst>
                                    <p:cond delay="0"/>
                                  </p:stCondLst>
                                  <p:endCondLst>
                                    <p:cond evt="begin" delay="0">
                                      <p:tn val="61"/>
                                    </p:cond>
                                  </p:end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childTnLst>
                          </p:cTn>
                        </p:par>
                        <p:par>
                          <p:cTn id="64" fill="hold">
                            <p:stCondLst>
                              <p:cond delay="7500"/>
                            </p:stCondLst>
                            <p:childTnLst>
                              <p:par>
                                <p:cTn id="65" presetID="22" presetClass="entr" presetSubtype="8" fill="hold" grpId="0" nodeType="after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wipe(left)">
                                      <p:cBhvr>
                                        <p:cTn id="67" dur="500"/>
                                        <p:tgtEl>
                                          <p:spTgt spid="43"/>
                                        </p:tgtEl>
                                      </p:cBhvr>
                                    </p:animEffect>
                                  </p:childTnLst>
                                </p:cTn>
                              </p:par>
                            </p:childTnLst>
                          </p:cTn>
                        </p:par>
                        <p:par>
                          <p:cTn id="68" fill="hold">
                            <p:stCondLst>
                              <p:cond delay="8000"/>
                            </p:stCondLst>
                            <p:childTnLst>
                              <p:par>
                                <p:cTn id="69" presetID="22" presetClass="entr" presetSubtype="8" fill="hold" grpId="0" nodeType="afterEffect">
                                  <p:stCondLst>
                                    <p:cond delay="0"/>
                                  </p:stCondLst>
                                  <p:childTnLst>
                                    <p:set>
                                      <p:cBhvr>
                                        <p:cTn id="70" dur="1" fill="hold">
                                          <p:stCondLst>
                                            <p:cond delay="0"/>
                                          </p:stCondLst>
                                        </p:cTn>
                                        <p:tgtEl>
                                          <p:spTgt spid="75">
                                            <p:txEl>
                                              <p:pRg st="0" end="0"/>
                                            </p:txEl>
                                          </p:spTgt>
                                        </p:tgtEl>
                                        <p:attrNameLst>
                                          <p:attrName>style.visibility</p:attrName>
                                        </p:attrNameLst>
                                      </p:cBhvr>
                                      <p:to>
                                        <p:strVal val="visible"/>
                                      </p:to>
                                    </p:set>
                                    <p:animEffect transition="in" filter="wipe(left)">
                                      <p:cBhvr>
                                        <p:cTn id="71" dur="500"/>
                                        <p:tgtEl>
                                          <p:spTgt spid="75">
                                            <p:txEl>
                                              <p:pRg st="0" end="0"/>
                                            </p:txEl>
                                          </p:spTgt>
                                        </p:tgtEl>
                                      </p:cBhvr>
                                    </p:animEffect>
                                  </p:childTnLst>
                                </p:cTn>
                              </p:par>
                            </p:childTnLst>
                          </p:cTn>
                        </p:par>
                        <p:par>
                          <p:cTn id="72" fill="hold">
                            <p:stCondLst>
                              <p:cond delay="8500"/>
                            </p:stCondLst>
                            <p:childTnLst>
                              <p:par>
                                <p:cTn id="73" presetID="9" presetClass="entr" presetSubtype="0" fill="hold" grpId="0" nodeType="afterEffect">
                                  <p:stCondLst>
                                    <p:cond delay="0"/>
                                  </p:stCondLst>
                                  <p:childTnLst>
                                    <p:set>
                                      <p:cBhvr>
                                        <p:cTn id="74" dur="1" fill="hold">
                                          <p:stCondLst>
                                            <p:cond delay="0"/>
                                          </p:stCondLst>
                                        </p:cTn>
                                        <p:tgtEl>
                                          <p:spTgt spid="76">
                                            <p:txEl>
                                              <p:pRg st="0" end="0"/>
                                            </p:txEl>
                                          </p:spTgt>
                                        </p:tgtEl>
                                        <p:attrNameLst>
                                          <p:attrName>style.visibility</p:attrName>
                                        </p:attrNameLst>
                                      </p:cBhvr>
                                      <p:to>
                                        <p:strVal val="visible"/>
                                      </p:to>
                                    </p:set>
                                    <p:animEffect transition="in" filter="dissolve">
                                      <p:cBhvr>
                                        <p:cTn id="75" dur="500"/>
                                        <p:tgtEl>
                                          <p:spTgt spid="76">
                                            <p:txEl>
                                              <p:pRg st="0" end="0"/>
                                            </p:txEl>
                                          </p:spTgt>
                                        </p:tgtEl>
                                      </p:cBhvr>
                                    </p:animEffect>
                                  </p:childTnLst>
                                </p:cTn>
                              </p:par>
                            </p:childTnLst>
                          </p:cTn>
                        </p:par>
                        <p:par>
                          <p:cTn id="76" fill="hold">
                            <p:stCondLst>
                              <p:cond delay="9000"/>
                            </p:stCondLst>
                            <p:childTnLst>
                              <p:par>
                                <p:cTn id="77" presetID="10" presetClass="entr" presetSubtype="0" fill="hold" grpId="0" nodeType="afterEffect" nodePh="1">
                                  <p:stCondLst>
                                    <p:cond delay="0"/>
                                  </p:stCondLst>
                                  <p:endCondLst>
                                    <p:cond evt="begin" delay="0">
                                      <p:tn val="77"/>
                                    </p:cond>
                                  </p:endCondLst>
                                  <p:childTnLst>
                                    <p:set>
                                      <p:cBhvr>
                                        <p:cTn id="78" dur="1" fill="hold">
                                          <p:stCondLst>
                                            <p:cond delay="0"/>
                                          </p:stCondLst>
                                        </p:cTn>
                                        <p:tgtEl>
                                          <p:spTgt spid="70"/>
                                        </p:tgtEl>
                                        <p:attrNameLst>
                                          <p:attrName>style.visibility</p:attrName>
                                        </p:attrNameLst>
                                      </p:cBhvr>
                                      <p:to>
                                        <p:strVal val="visible"/>
                                      </p:to>
                                    </p:set>
                                    <p:animEffect transition="in" filter="fade">
                                      <p:cBhvr>
                                        <p:cTn id="79" dur="500"/>
                                        <p:tgtEl>
                                          <p:spTgt spid="70"/>
                                        </p:tgtEl>
                                      </p:cBhvr>
                                    </p:animEffect>
                                  </p:childTnLst>
                                </p:cTn>
                              </p:par>
                            </p:childTnLst>
                          </p:cTn>
                        </p:par>
                        <p:par>
                          <p:cTn id="80" fill="hold">
                            <p:stCondLst>
                              <p:cond delay="9500"/>
                            </p:stCondLst>
                            <p:childTnLst>
                              <p:par>
                                <p:cTn id="81" presetID="22" presetClass="entr" presetSubtype="8" fill="hold" grpId="0"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wipe(left)">
                                      <p:cBhvr>
                                        <p:cTn id="83" dur="500"/>
                                        <p:tgtEl>
                                          <p:spTgt spid="42"/>
                                        </p:tgtEl>
                                      </p:cBhvr>
                                    </p:animEffect>
                                  </p:childTnLst>
                                </p:cTn>
                              </p:par>
                            </p:childTnLst>
                          </p:cTn>
                        </p:par>
                        <p:par>
                          <p:cTn id="84" fill="hold">
                            <p:stCondLst>
                              <p:cond delay="10000"/>
                            </p:stCondLst>
                            <p:childTnLst>
                              <p:par>
                                <p:cTn id="85" presetID="22" presetClass="entr" presetSubtype="8" fill="hold" grpId="0" nodeType="afterEffect">
                                  <p:stCondLst>
                                    <p:cond delay="0"/>
                                  </p:stCondLst>
                                  <p:childTnLst>
                                    <p:set>
                                      <p:cBhvr>
                                        <p:cTn id="86" dur="1" fill="hold">
                                          <p:stCondLst>
                                            <p:cond delay="0"/>
                                          </p:stCondLst>
                                        </p:cTn>
                                        <p:tgtEl>
                                          <p:spTgt spid="77">
                                            <p:txEl>
                                              <p:pRg st="0" end="0"/>
                                            </p:txEl>
                                          </p:spTgt>
                                        </p:tgtEl>
                                        <p:attrNameLst>
                                          <p:attrName>style.visibility</p:attrName>
                                        </p:attrNameLst>
                                      </p:cBhvr>
                                      <p:to>
                                        <p:strVal val="visible"/>
                                      </p:to>
                                    </p:set>
                                    <p:animEffect transition="in" filter="wipe(left)">
                                      <p:cBhvr>
                                        <p:cTn id="87" dur="500"/>
                                        <p:tgtEl>
                                          <p:spTgt spid="77">
                                            <p:txEl>
                                              <p:pRg st="0" end="0"/>
                                            </p:txEl>
                                          </p:spTgt>
                                        </p:tgtEl>
                                      </p:cBhvr>
                                    </p:animEffect>
                                  </p:childTnLst>
                                </p:cTn>
                              </p:par>
                            </p:childTnLst>
                          </p:cTn>
                        </p:par>
                        <p:par>
                          <p:cTn id="88" fill="hold">
                            <p:stCondLst>
                              <p:cond delay="10500"/>
                            </p:stCondLst>
                            <p:childTnLst>
                              <p:par>
                                <p:cTn id="89" presetID="9" presetClass="entr" presetSubtype="0" fill="hold" grpId="0" nodeType="afterEffect">
                                  <p:stCondLst>
                                    <p:cond delay="0"/>
                                  </p:stCondLst>
                                  <p:childTnLst>
                                    <p:set>
                                      <p:cBhvr>
                                        <p:cTn id="90" dur="1" fill="hold">
                                          <p:stCondLst>
                                            <p:cond delay="0"/>
                                          </p:stCondLst>
                                        </p:cTn>
                                        <p:tgtEl>
                                          <p:spTgt spid="78">
                                            <p:txEl>
                                              <p:pRg st="0" end="0"/>
                                            </p:txEl>
                                          </p:spTgt>
                                        </p:tgtEl>
                                        <p:attrNameLst>
                                          <p:attrName>style.visibility</p:attrName>
                                        </p:attrNameLst>
                                      </p:cBhvr>
                                      <p:to>
                                        <p:strVal val="visible"/>
                                      </p:to>
                                    </p:set>
                                    <p:animEffect transition="in" filter="dissolve">
                                      <p:cBhvr>
                                        <p:cTn id="91" dur="500"/>
                                        <p:tgtEl>
                                          <p:spTgt spid="78">
                                            <p:txEl>
                                              <p:pRg st="0" end="0"/>
                                            </p:txEl>
                                          </p:spTgt>
                                        </p:tgtEl>
                                      </p:cBhvr>
                                    </p:animEffect>
                                  </p:childTnLst>
                                </p:cTn>
                              </p:par>
                            </p:childTnLst>
                          </p:cTn>
                        </p:par>
                        <p:par>
                          <p:cTn id="92" fill="hold">
                            <p:stCondLst>
                              <p:cond delay="11000"/>
                            </p:stCondLst>
                            <p:childTnLst>
                              <p:par>
                                <p:cTn id="93" presetID="10" presetClass="entr" presetSubtype="0" fill="hold" grpId="0" nodeType="afterEffect" nodePh="1">
                                  <p:stCondLst>
                                    <p:cond delay="0"/>
                                  </p:stCondLst>
                                  <p:endCondLst>
                                    <p:cond evt="begin" delay="0">
                                      <p:tn val="93"/>
                                    </p:cond>
                                  </p:endCondLst>
                                  <p:childTnLst>
                                    <p:set>
                                      <p:cBhvr>
                                        <p:cTn id="94" dur="1" fill="hold">
                                          <p:stCondLst>
                                            <p:cond delay="0"/>
                                          </p:stCondLst>
                                        </p:cTn>
                                        <p:tgtEl>
                                          <p:spTgt spid="26"/>
                                        </p:tgtEl>
                                        <p:attrNameLst>
                                          <p:attrName>style.visibility</p:attrName>
                                        </p:attrNameLst>
                                      </p:cBhvr>
                                      <p:to>
                                        <p:strVal val="visible"/>
                                      </p:to>
                                    </p:set>
                                    <p:animEffect transition="in" filter="fade">
                                      <p:cBhvr>
                                        <p:cTn id="95" dur="500"/>
                                        <p:tgtEl>
                                          <p:spTgt spid="26"/>
                                        </p:tgtEl>
                                      </p:cBhvr>
                                    </p:animEffect>
                                  </p:childTnLst>
                                </p:cTn>
                              </p:par>
                            </p:childTnLst>
                          </p:cTn>
                        </p:par>
                        <p:par>
                          <p:cTn id="96" fill="hold">
                            <p:stCondLst>
                              <p:cond delay="11500"/>
                            </p:stCondLst>
                            <p:childTnLst>
                              <p:par>
                                <p:cTn id="97" presetID="22" presetClass="entr" presetSubtype="8" fill="hold" grpId="0" nodeType="afterEffect">
                                  <p:stCondLst>
                                    <p:cond delay="0"/>
                                  </p:stCondLst>
                                  <p:childTnLst>
                                    <p:set>
                                      <p:cBhvr>
                                        <p:cTn id="98" dur="1" fill="hold">
                                          <p:stCondLst>
                                            <p:cond delay="0"/>
                                          </p:stCondLst>
                                        </p:cTn>
                                        <p:tgtEl>
                                          <p:spTgt spid="27"/>
                                        </p:tgtEl>
                                        <p:attrNameLst>
                                          <p:attrName>style.visibility</p:attrName>
                                        </p:attrNameLst>
                                      </p:cBhvr>
                                      <p:to>
                                        <p:strVal val="visible"/>
                                      </p:to>
                                    </p:set>
                                    <p:animEffect transition="in" filter="wipe(left)">
                                      <p:cBhvr>
                                        <p:cTn id="99" dur="500"/>
                                        <p:tgtEl>
                                          <p:spTgt spid="27"/>
                                        </p:tgtEl>
                                      </p:cBhvr>
                                    </p:animEffect>
                                  </p:childTnLst>
                                </p:cTn>
                              </p:par>
                            </p:childTnLst>
                          </p:cTn>
                        </p:par>
                        <p:par>
                          <p:cTn id="100" fill="hold">
                            <p:stCondLst>
                              <p:cond delay="12000"/>
                            </p:stCondLst>
                            <p:childTnLst>
                              <p:par>
                                <p:cTn id="101" presetID="22" presetClass="entr" presetSubtype="8" fill="hold" grpId="0" nodeType="afterEffect">
                                  <p:stCondLst>
                                    <p:cond delay="0"/>
                                  </p:stCondLst>
                                  <p:childTnLst>
                                    <p:set>
                                      <p:cBhvr>
                                        <p:cTn id="102" dur="1" fill="hold">
                                          <p:stCondLst>
                                            <p:cond delay="0"/>
                                          </p:stCondLst>
                                        </p:cTn>
                                        <p:tgtEl>
                                          <p:spTgt spid="28">
                                            <p:txEl>
                                              <p:pRg st="0" end="0"/>
                                            </p:txEl>
                                          </p:spTgt>
                                        </p:tgtEl>
                                        <p:attrNameLst>
                                          <p:attrName>style.visibility</p:attrName>
                                        </p:attrNameLst>
                                      </p:cBhvr>
                                      <p:to>
                                        <p:strVal val="visible"/>
                                      </p:to>
                                    </p:set>
                                    <p:animEffect transition="in" filter="wipe(left)">
                                      <p:cBhvr>
                                        <p:cTn id="103" dur="500"/>
                                        <p:tgtEl>
                                          <p:spTgt spid="28">
                                            <p:txEl>
                                              <p:pRg st="0" end="0"/>
                                            </p:txEl>
                                          </p:spTgt>
                                        </p:tgtEl>
                                      </p:cBhvr>
                                    </p:animEffect>
                                  </p:childTnLst>
                                </p:cTn>
                              </p:par>
                            </p:childTnLst>
                          </p:cTn>
                        </p:par>
                        <p:par>
                          <p:cTn id="104" fill="hold">
                            <p:stCondLst>
                              <p:cond delay="12500"/>
                            </p:stCondLst>
                            <p:childTnLst>
                              <p:par>
                                <p:cTn id="105" presetID="9" presetClass="entr" presetSubtype="0" fill="hold" grpId="0" nodeType="afterEffect">
                                  <p:stCondLst>
                                    <p:cond delay="0"/>
                                  </p:stCondLst>
                                  <p:childTnLst>
                                    <p:set>
                                      <p:cBhvr>
                                        <p:cTn id="106" dur="1" fill="hold">
                                          <p:stCondLst>
                                            <p:cond delay="0"/>
                                          </p:stCondLst>
                                        </p:cTn>
                                        <p:tgtEl>
                                          <p:spTgt spid="29">
                                            <p:txEl>
                                              <p:pRg st="0" end="0"/>
                                            </p:txEl>
                                          </p:spTgt>
                                        </p:tgtEl>
                                        <p:attrNameLst>
                                          <p:attrName>style.visibility</p:attrName>
                                        </p:attrNameLst>
                                      </p:cBhvr>
                                      <p:to>
                                        <p:strVal val="visible"/>
                                      </p:to>
                                    </p:set>
                                    <p:animEffect transition="in" filter="dissolve">
                                      <p:cBhvr>
                                        <p:cTn id="107" dur="500"/>
                                        <p:tgtEl>
                                          <p:spTgt spid="2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2" presetClass="entr" presetSubtype="8"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left)">
                      <p:cBhvr>
                        <p:cTn dur="500"/>
                        <p:tgtEl>
                          <p:spTgt spid="9"/>
                        </p:tgtEl>
                      </p:cBhvr>
                    </p:animEffect>
                  </p:childTnLst>
                </p:cTn>
              </p:par>
            </p:tnLst>
          </p:tmpl>
        </p:tmplLst>
      </p:bldP>
      <p:bldP spid="10" grpId="0" build="p">
        <p:tmplLst>
          <p:tmpl lvl="1">
            <p:tnLst>
              <p:par>
                <p:cTn presetID="9"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70" grpId="0"/>
      <p:bldP spid="69" grpId="0"/>
      <p:bldP spid="68" grpId="0"/>
      <p:bldP spid="67" grpId="0"/>
      <p:bldP spid="58" grpId="0"/>
      <p:bldP spid="42" grpId="0" animBg="1"/>
      <p:bldP spid="43" grpId="0" animBg="1"/>
      <p:bldP spid="44" grpId="0" animBg="1"/>
      <p:bldP spid="45" grpId="0" animBg="1"/>
      <p:bldP spid="46" grpId="0" animBg="1"/>
      <p:bldP spid="60" grpId="0" animBg="1"/>
      <p:bldP spid="61" grpId="0" animBg="1"/>
      <p:bldP spid="71" grpId="0" build="p">
        <p:tmplLst>
          <p:tmpl lvl="1">
            <p:tnLst>
              <p:par>
                <p:cTn presetID="22" presetClass="entr" presetSubtype="8"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wipe(left)">
                      <p:cBhvr>
                        <p:cTn dur="500"/>
                        <p:tgtEl>
                          <p:spTgt spid="71"/>
                        </p:tgtEl>
                      </p:cBhvr>
                    </p:animEffect>
                  </p:childTnLst>
                </p:cTn>
              </p:par>
            </p:tnLst>
          </p:tmpl>
        </p:tmplLst>
      </p:bldP>
      <p:bldP spid="72" grpId="0" build="p">
        <p:tmplLst>
          <p:tmpl lvl="1">
            <p:tnLst>
              <p:par>
                <p:cTn presetID="9" presetClass="entr" presetSubtype="0"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dissolve">
                      <p:cBhvr>
                        <p:cTn dur="500"/>
                        <p:tgtEl>
                          <p:spTgt spid="72"/>
                        </p:tgtEl>
                      </p:cBhvr>
                    </p:animEffect>
                  </p:childTnLst>
                </p:cTn>
              </p:par>
            </p:tnLst>
          </p:tmpl>
        </p:tmplLst>
      </p:bldP>
      <p:bldP spid="73" grpId="0" build="p">
        <p:tmplLst>
          <p:tmpl lvl="1">
            <p:tnLst>
              <p:par>
                <p:cTn presetID="22" presetClass="entr" presetSubtype="8"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Effect transition="in" filter="wipe(left)">
                      <p:cBhvr>
                        <p:cTn dur="500"/>
                        <p:tgtEl>
                          <p:spTgt spid="73"/>
                        </p:tgtEl>
                      </p:cBhvr>
                    </p:animEffect>
                  </p:childTnLst>
                </p:cTn>
              </p:par>
            </p:tnLst>
          </p:tmpl>
        </p:tmplLst>
      </p:bldP>
      <p:bldP spid="74" grpId="0" build="p">
        <p:tmplLst>
          <p:tmpl lvl="1">
            <p:tnLst>
              <p:par>
                <p:cTn presetID="9" presetClass="entr" presetSubtype="0"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Effect transition="in" filter="dissolve">
                      <p:cBhvr>
                        <p:cTn dur="500"/>
                        <p:tgtEl>
                          <p:spTgt spid="74"/>
                        </p:tgtEl>
                      </p:cBhvr>
                    </p:animEffect>
                  </p:childTnLst>
                </p:cTn>
              </p:par>
            </p:tnLst>
          </p:tmpl>
        </p:tmplLst>
      </p:bldP>
      <p:bldP spid="75" grpId="0" build="p">
        <p:tmplLst>
          <p:tmpl lvl="1">
            <p:tnLst>
              <p:par>
                <p:cTn presetID="22" presetClass="entr" presetSubtype="8"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wipe(left)">
                      <p:cBhvr>
                        <p:cTn dur="500"/>
                        <p:tgtEl>
                          <p:spTgt spid="75"/>
                        </p:tgtEl>
                      </p:cBhvr>
                    </p:animEffect>
                  </p:childTnLst>
                </p:cTn>
              </p:par>
            </p:tnLst>
          </p:tmpl>
        </p:tmplLst>
      </p:bldP>
      <p:bldP spid="76" grpId="0" build="p">
        <p:tmplLst>
          <p:tmpl lvl="1">
            <p:tnLst>
              <p:par>
                <p:cTn presetID="9" presetClass="entr" presetSubtype="0"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Effect transition="in" filter="dissolve">
                      <p:cBhvr>
                        <p:cTn dur="500"/>
                        <p:tgtEl>
                          <p:spTgt spid="76"/>
                        </p:tgtEl>
                      </p:cBhvr>
                    </p:animEffect>
                  </p:childTnLst>
                </p:cTn>
              </p:par>
            </p:tnLst>
          </p:tmpl>
        </p:tmplLst>
      </p:bldP>
      <p:bldP spid="77" grpId="0" build="p">
        <p:tmplLst>
          <p:tmpl lvl="1">
            <p:tnLst>
              <p:par>
                <p:cTn presetID="22" presetClass="entr" presetSubtype="8"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Effect transition="in" filter="wipe(left)">
                      <p:cBhvr>
                        <p:cTn dur="500"/>
                        <p:tgtEl>
                          <p:spTgt spid="77"/>
                        </p:tgtEl>
                      </p:cBhvr>
                    </p:animEffect>
                  </p:childTnLst>
                </p:cTn>
              </p:par>
            </p:tnLst>
          </p:tmpl>
        </p:tmplLst>
      </p:bldP>
      <p:bldP spid="78" grpId="0" build="p">
        <p:tmplLst>
          <p:tmpl lvl="1">
            <p:tnLst>
              <p:par>
                <p:cTn presetID="9" presetClass="entr" presetSubtype="0" fill="hold" nodeType="afterEffect">
                  <p:stCondLst>
                    <p:cond delay="0"/>
                  </p:stCondLst>
                  <p:childTnLst>
                    <p:set>
                      <p:cBhvr>
                        <p:cTn dur="1" fill="hold">
                          <p:stCondLst>
                            <p:cond delay="0"/>
                          </p:stCondLst>
                        </p:cTn>
                        <p:tgtEl>
                          <p:spTgt spid="78"/>
                        </p:tgtEl>
                        <p:attrNameLst>
                          <p:attrName>style.visibility</p:attrName>
                        </p:attrNameLst>
                      </p:cBhvr>
                      <p:to>
                        <p:strVal val="visible"/>
                      </p:to>
                    </p:set>
                    <p:animEffect transition="in" filter="dissolve">
                      <p:cBhvr>
                        <p:cTn dur="500"/>
                        <p:tgtEl>
                          <p:spTgt spid="78"/>
                        </p:tgtEl>
                      </p:cBhvr>
                    </p:animEffect>
                  </p:childTnLst>
                </p:cTn>
              </p:par>
            </p:tnLst>
          </p:tmpl>
        </p:tmplLst>
      </p:bldP>
      <p:bldP spid="26" grpId="0"/>
      <p:bldP spid="27" grpId="0" animBg="1"/>
      <p:bldP spid="28" grpId="0" build="p">
        <p:tmplLst>
          <p:tmpl lvl="1">
            <p:tnLst>
              <p:par>
                <p:cTn presetID="22" presetClass="entr" presetSubtype="8" fill="hold" nodeType="afterEffect">
                  <p:stCondLst>
                    <p:cond delay="0"/>
                  </p:stCondLst>
                  <p:childTnLst>
                    <p:set>
                      <p:cBhvr>
                        <p:cTn dur="1" fill="hold">
                          <p:stCondLst>
                            <p:cond delay="0"/>
                          </p:stCondLst>
                        </p:cTn>
                        <p:tgtEl>
                          <p:spTgt spid="28"/>
                        </p:tgtEl>
                        <p:attrNameLst>
                          <p:attrName>style.visibility</p:attrName>
                        </p:attrNameLst>
                      </p:cBhvr>
                      <p:to>
                        <p:strVal val="visible"/>
                      </p:to>
                    </p:set>
                    <p:animEffect transition="in" filter="wipe(left)">
                      <p:cBhvr>
                        <p:cTn dur="500"/>
                        <p:tgtEl>
                          <p:spTgt spid="28"/>
                        </p:tgtEl>
                      </p:cBhvr>
                    </p:animEffect>
                  </p:childTnLst>
                </p:cTn>
              </p:par>
            </p:tnLst>
          </p:tmpl>
        </p:tmplLst>
      </p:bldP>
      <p:bldP spid="29" grpId="0" build="p">
        <p:tmplLst>
          <p:tmpl lvl="1">
            <p:tnLst>
              <p:par>
                <p:cTn presetID="9" presetClass="entr" presetSubtype="0"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dissolve">
                      <p:cBhvr>
                        <p:cTn dur="500"/>
                        <p:tgtEl>
                          <p:spTgt spid="29"/>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88825" cy="4343400"/>
          </a:xfrm>
        </p:spPr>
        <p:txBody>
          <a:bodyPr/>
          <a:lstStyle/>
          <a:p>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55127" y="1783041"/>
            <a:ext cx="4778401" cy="3883456"/>
          </a:xfrm>
        </p:spPr>
        <p:txBody>
          <a:bodyPr/>
          <a:lstStyle/>
          <a:p>
            <a:endParaRPr lang="en-US"/>
          </a:p>
        </p:txBody>
      </p:sp>
    </p:spTree>
    <p:extLst>
      <p:ext uri="{BB962C8B-B14F-4D97-AF65-F5344CB8AC3E}">
        <p14:creationId xmlns:p14="http://schemas.microsoft.com/office/powerpoint/2010/main" val="4113034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21" name="Text Placeholder 17"/>
          <p:cNvSpPr>
            <a:spLocks noGrp="1"/>
          </p:cNvSpPr>
          <p:nvPr>
            <p:ph type="body" sz="quarter" idx="36" hasCustomPrompt="1"/>
          </p:nvPr>
        </p:nvSpPr>
        <p:spPr>
          <a:xfrm>
            <a:off x="7884423" y="3086089"/>
            <a:ext cx="2515825" cy="721552"/>
          </a:xfrm>
        </p:spPr>
        <p:txBody>
          <a:bodyPr lIns="0" tIns="0" rIns="0" bIns="0" anchor="t">
            <a:normAutofit/>
          </a:bodyPr>
          <a:lstStyle>
            <a:lvl1pPr marL="0" indent="0" algn="l">
              <a:lnSpc>
                <a:spcPts val="1700"/>
              </a:lnSpc>
              <a:buNone/>
              <a:defRPr sz="1200">
                <a:solidFill>
                  <a:schemeClr val="tx2"/>
                </a:solidFill>
              </a:defRPr>
            </a:lvl1pPr>
          </a:lstStyle>
          <a:p>
            <a:pPr lvl="0"/>
            <a:r>
              <a:rPr lang="id-ID" dirty="0"/>
              <a:t>Click to edit Master text  styles lorem ipsum dolor sit amet aleh pue h om alah hai meutuwah ka abeh cara pen</a:t>
            </a:r>
          </a:p>
        </p:txBody>
      </p:sp>
      <p:sp>
        <p:nvSpPr>
          <p:cNvPr id="15" name="Text Placeholder 17"/>
          <p:cNvSpPr>
            <a:spLocks noGrp="1"/>
          </p:cNvSpPr>
          <p:nvPr>
            <p:ph type="body" sz="quarter" idx="39" hasCustomPrompt="1"/>
          </p:nvPr>
        </p:nvSpPr>
        <p:spPr>
          <a:xfrm>
            <a:off x="8411560" y="2634645"/>
            <a:ext cx="1887115" cy="303488"/>
          </a:xfrm>
        </p:spPr>
        <p:txBody>
          <a:bodyPr lIns="0" tIns="0" rIns="0" bIns="0" anchor="ctr">
            <a:normAutofit/>
          </a:bodyPr>
          <a:lstStyle>
            <a:lvl1pPr marL="0" indent="0" algn="l">
              <a:lnSpc>
                <a:spcPts val="1700"/>
              </a:lnSpc>
              <a:buNone/>
              <a:defRPr sz="1600" b="1">
                <a:solidFill>
                  <a:schemeClr val="bg1"/>
                </a:solidFill>
              </a:defRPr>
            </a:lvl1pPr>
          </a:lstStyle>
          <a:p>
            <a:pPr lvl="0"/>
            <a:r>
              <a:rPr lang="id-ID" dirty="0"/>
              <a:t>Info Portofolio</a:t>
            </a:r>
          </a:p>
        </p:txBody>
      </p:sp>
      <p:grpSp>
        <p:nvGrpSpPr>
          <p:cNvPr id="2" name="Group 13"/>
          <p:cNvGrpSpPr/>
          <p:nvPr userDrawn="1"/>
        </p:nvGrpSpPr>
        <p:grpSpPr>
          <a:xfrm>
            <a:off x="6821145" y="2619073"/>
            <a:ext cx="378241" cy="346346"/>
            <a:chOff x="1166868" y="2106605"/>
            <a:chExt cx="780242" cy="714264"/>
          </a:xfrm>
        </p:grpSpPr>
        <p:sp>
          <p:nvSpPr>
            <p:cNvPr id="20" name="Shape 1716"/>
            <p:cNvSpPr/>
            <p:nvPr/>
          </p:nvSpPr>
          <p:spPr>
            <a:xfrm>
              <a:off x="1166868" y="2106605"/>
              <a:ext cx="714263" cy="714264"/>
            </a:xfrm>
            <a:prstGeom prst="rect">
              <a:avLst/>
            </a:prstGeom>
            <a:solidFill>
              <a:schemeClr val="accent1"/>
            </a:solidFill>
            <a:ln w="12700" cap="flat">
              <a:noFill/>
              <a:miter lim="400000"/>
            </a:ln>
            <a:effectLst/>
          </p:spPr>
          <p:txBody>
            <a:bodyPr wrap="square" lIns="50800" tIns="50800" rIns="50800" bIns="50800"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sp>
          <p:nvSpPr>
            <p:cNvPr id="22" name="Shape 1934"/>
            <p:cNvSpPr/>
            <p:nvPr/>
          </p:nvSpPr>
          <p:spPr>
            <a:xfrm>
              <a:off x="1353147" y="2189791"/>
              <a:ext cx="593963" cy="623019"/>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wrap="square" lIns="43656" tIns="43656" rIns="43656" bIns="43656"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grpSp>
      <p:grpSp>
        <p:nvGrpSpPr>
          <p:cNvPr id="3" name="Group 23"/>
          <p:cNvGrpSpPr/>
          <p:nvPr userDrawn="1"/>
        </p:nvGrpSpPr>
        <p:grpSpPr>
          <a:xfrm>
            <a:off x="6821145" y="4395527"/>
            <a:ext cx="378241" cy="346346"/>
            <a:chOff x="1166868" y="2106605"/>
            <a:chExt cx="780242" cy="714264"/>
          </a:xfrm>
        </p:grpSpPr>
        <p:sp>
          <p:nvSpPr>
            <p:cNvPr id="25" name="Shape 1716"/>
            <p:cNvSpPr/>
            <p:nvPr/>
          </p:nvSpPr>
          <p:spPr>
            <a:xfrm>
              <a:off x="1166868" y="2106605"/>
              <a:ext cx="714263" cy="714264"/>
            </a:xfrm>
            <a:prstGeom prst="rect">
              <a:avLst/>
            </a:prstGeom>
            <a:solidFill>
              <a:schemeClr val="accent3"/>
            </a:solidFill>
            <a:ln w="12700" cap="flat">
              <a:noFill/>
              <a:miter lim="400000"/>
            </a:ln>
            <a:effectLst/>
          </p:spPr>
          <p:txBody>
            <a:bodyPr wrap="square" lIns="50800" tIns="50800" rIns="50800" bIns="50800"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sp>
          <p:nvSpPr>
            <p:cNvPr id="26" name="Shape 1934"/>
            <p:cNvSpPr/>
            <p:nvPr/>
          </p:nvSpPr>
          <p:spPr>
            <a:xfrm>
              <a:off x="1353147" y="2189791"/>
              <a:ext cx="593963" cy="623019"/>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wrap="square" lIns="43656" tIns="43656" rIns="43656" bIns="43656"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grpSp>
      <p:grpSp>
        <p:nvGrpSpPr>
          <p:cNvPr id="4" name="Group 26"/>
          <p:cNvGrpSpPr/>
          <p:nvPr userDrawn="1"/>
        </p:nvGrpSpPr>
        <p:grpSpPr>
          <a:xfrm>
            <a:off x="7884423" y="2619073"/>
            <a:ext cx="378241" cy="346346"/>
            <a:chOff x="1166868" y="2106605"/>
            <a:chExt cx="780242" cy="714264"/>
          </a:xfrm>
        </p:grpSpPr>
        <p:sp>
          <p:nvSpPr>
            <p:cNvPr id="28" name="Shape 1716"/>
            <p:cNvSpPr/>
            <p:nvPr/>
          </p:nvSpPr>
          <p:spPr>
            <a:xfrm>
              <a:off x="1166868" y="2106605"/>
              <a:ext cx="714263" cy="714264"/>
            </a:xfrm>
            <a:prstGeom prst="rect">
              <a:avLst/>
            </a:prstGeom>
            <a:solidFill>
              <a:schemeClr val="accent2"/>
            </a:solidFill>
            <a:ln w="12700" cap="flat">
              <a:noFill/>
              <a:miter lim="400000"/>
            </a:ln>
            <a:effectLst/>
          </p:spPr>
          <p:txBody>
            <a:bodyPr wrap="square" lIns="50800" tIns="50800" rIns="50800" bIns="50800"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sp>
          <p:nvSpPr>
            <p:cNvPr id="29" name="Shape 1934"/>
            <p:cNvSpPr/>
            <p:nvPr/>
          </p:nvSpPr>
          <p:spPr>
            <a:xfrm>
              <a:off x="1353147" y="2189791"/>
              <a:ext cx="593963" cy="623019"/>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wrap="square" lIns="43656" tIns="43656" rIns="43656" bIns="43656"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grpSp>
      <p:grpSp>
        <p:nvGrpSpPr>
          <p:cNvPr id="5" name="Group 29"/>
          <p:cNvGrpSpPr/>
          <p:nvPr userDrawn="1"/>
        </p:nvGrpSpPr>
        <p:grpSpPr>
          <a:xfrm>
            <a:off x="7884423" y="4395527"/>
            <a:ext cx="378241" cy="346346"/>
            <a:chOff x="1166868" y="2106605"/>
            <a:chExt cx="780242" cy="714264"/>
          </a:xfrm>
        </p:grpSpPr>
        <p:sp>
          <p:nvSpPr>
            <p:cNvPr id="31" name="Shape 1716"/>
            <p:cNvSpPr/>
            <p:nvPr/>
          </p:nvSpPr>
          <p:spPr>
            <a:xfrm>
              <a:off x="1166868" y="2106605"/>
              <a:ext cx="714263" cy="714264"/>
            </a:xfrm>
            <a:prstGeom prst="rect">
              <a:avLst/>
            </a:prstGeom>
            <a:solidFill>
              <a:schemeClr val="accent4"/>
            </a:solidFill>
            <a:ln w="12700" cap="flat">
              <a:noFill/>
              <a:miter lim="400000"/>
            </a:ln>
            <a:effectLst/>
          </p:spPr>
          <p:txBody>
            <a:bodyPr wrap="square" lIns="50800" tIns="50800" rIns="50800" bIns="50800"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sp>
          <p:nvSpPr>
            <p:cNvPr id="32" name="Shape 1934"/>
            <p:cNvSpPr/>
            <p:nvPr/>
          </p:nvSpPr>
          <p:spPr>
            <a:xfrm>
              <a:off x="1353147" y="2189791"/>
              <a:ext cx="593963" cy="623019"/>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wrap="square" lIns="43656" tIns="43656" rIns="43656" bIns="43656" numCol="1" anchor="ctr">
              <a:noAutofit/>
            </a:bodyPr>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grpSp>
      <p:sp>
        <p:nvSpPr>
          <p:cNvPr id="35" name="Shape 1737"/>
          <p:cNvSpPr/>
          <p:nvPr/>
        </p:nvSpPr>
        <p:spPr>
          <a:xfrm>
            <a:off x="1618660" y="1973305"/>
            <a:ext cx="2328480" cy="4122695"/>
          </a:xfrm>
          <a:custGeom>
            <a:avLst/>
            <a:gdLst/>
            <a:ahLst/>
            <a:cxnLst>
              <a:cxn ang="0">
                <a:pos x="wd2" y="hd2"/>
              </a:cxn>
              <a:cxn ang="5400000">
                <a:pos x="wd2" y="hd2"/>
              </a:cxn>
              <a:cxn ang="10800000">
                <a:pos x="wd2" y="hd2"/>
              </a:cxn>
              <a:cxn ang="16200000">
                <a:pos x="wd2" y="hd2"/>
              </a:cxn>
            </a:cxnLst>
            <a:rect l="0" t="0" r="r" b="b"/>
            <a:pathLst>
              <a:path w="21600" h="21600" extrusionOk="0">
                <a:moveTo>
                  <a:pt x="19529" y="17270"/>
                </a:moveTo>
                <a:cubicBezTo>
                  <a:pt x="10800" y="17270"/>
                  <a:pt x="6436" y="17270"/>
                  <a:pt x="4253" y="17270"/>
                </a:cubicBezTo>
                <a:cubicBezTo>
                  <a:pt x="2071" y="17270"/>
                  <a:pt x="2071" y="17270"/>
                  <a:pt x="2071" y="17270"/>
                </a:cubicBezTo>
                <a:cubicBezTo>
                  <a:pt x="2071" y="9999"/>
                  <a:pt x="2071" y="6362"/>
                  <a:pt x="2071" y="4542"/>
                </a:cubicBezTo>
                <a:cubicBezTo>
                  <a:pt x="2071" y="2679"/>
                  <a:pt x="2071" y="2679"/>
                  <a:pt x="2071" y="2679"/>
                </a:cubicBezTo>
                <a:cubicBezTo>
                  <a:pt x="10800" y="2679"/>
                  <a:pt x="15164" y="2679"/>
                  <a:pt x="17347" y="2679"/>
                </a:cubicBezTo>
                <a:cubicBezTo>
                  <a:pt x="19529" y="2679"/>
                  <a:pt x="19529" y="2679"/>
                  <a:pt x="19529" y="2679"/>
                </a:cubicBezTo>
                <a:cubicBezTo>
                  <a:pt x="19529" y="3607"/>
                  <a:pt x="19529" y="4535"/>
                  <a:pt x="19529" y="5463"/>
                </a:cubicBezTo>
                <a:cubicBezTo>
                  <a:pt x="19529" y="8083"/>
                  <a:pt x="19529" y="10703"/>
                  <a:pt x="19529" y="13323"/>
                </a:cubicBezTo>
                <a:cubicBezTo>
                  <a:pt x="20564" y="13323"/>
                  <a:pt x="21082" y="13323"/>
                  <a:pt x="21341" y="13323"/>
                </a:cubicBezTo>
                <a:cubicBezTo>
                  <a:pt x="21600" y="13323"/>
                  <a:pt x="21600" y="13323"/>
                  <a:pt x="21600" y="13323"/>
                </a:cubicBezTo>
                <a:cubicBezTo>
                  <a:pt x="21600" y="9615"/>
                  <a:pt x="21600" y="5906"/>
                  <a:pt x="21600" y="2198"/>
                </a:cubicBezTo>
                <a:cubicBezTo>
                  <a:pt x="21600" y="2023"/>
                  <a:pt x="21600" y="1849"/>
                  <a:pt x="21600" y="1674"/>
                </a:cubicBezTo>
                <a:cubicBezTo>
                  <a:pt x="21600" y="837"/>
                  <a:pt x="20121" y="0"/>
                  <a:pt x="18641" y="0"/>
                </a:cubicBezTo>
                <a:cubicBezTo>
                  <a:pt x="2663" y="0"/>
                  <a:pt x="2663" y="0"/>
                  <a:pt x="2663" y="0"/>
                </a:cubicBezTo>
                <a:cubicBezTo>
                  <a:pt x="1184" y="0"/>
                  <a:pt x="0" y="837"/>
                  <a:pt x="0" y="1674"/>
                </a:cubicBezTo>
                <a:cubicBezTo>
                  <a:pt x="0" y="20093"/>
                  <a:pt x="0" y="20093"/>
                  <a:pt x="0" y="20093"/>
                </a:cubicBezTo>
                <a:cubicBezTo>
                  <a:pt x="0" y="20930"/>
                  <a:pt x="1184" y="21600"/>
                  <a:pt x="2663" y="21600"/>
                </a:cubicBezTo>
                <a:cubicBezTo>
                  <a:pt x="18641" y="21600"/>
                  <a:pt x="18641" y="21600"/>
                  <a:pt x="18641" y="21600"/>
                </a:cubicBezTo>
                <a:cubicBezTo>
                  <a:pt x="20121" y="21600"/>
                  <a:pt x="21600" y="20930"/>
                  <a:pt x="21600" y="20093"/>
                </a:cubicBezTo>
                <a:cubicBezTo>
                  <a:pt x="21600" y="13228"/>
                  <a:pt x="21600" y="13228"/>
                  <a:pt x="21600" y="13228"/>
                </a:cubicBezTo>
                <a:cubicBezTo>
                  <a:pt x="20564" y="13228"/>
                  <a:pt x="20047" y="13228"/>
                  <a:pt x="19788" y="13228"/>
                </a:cubicBezTo>
                <a:cubicBezTo>
                  <a:pt x="19529" y="13228"/>
                  <a:pt x="19529" y="13228"/>
                  <a:pt x="19529" y="13228"/>
                </a:cubicBezTo>
                <a:lnTo>
                  <a:pt x="19529" y="17270"/>
                </a:lnTo>
                <a:close/>
                <a:moveTo>
                  <a:pt x="16866" y="1005"/>
                </a:moveTo>
                <a:cubicBezTo>
                  <a:pt x="17162" y="1005"/>
                  <a:pt x="17753" y="1172"/>
                  <a:pt x="17753" y="1507"/>
                </a:cubicBezTo>
                <a:cubicBezTo>
                  <a:pt x="17753" y="1674"/>
                  <a:pt x="17162" y="1842"/>
                  <a:pt x="16866" y="1842"/>
                </a:cubicBezTo>
                <a:cubicBezTo>
                  <a:pt x="16570" y="1842"/>
                  <a:pt x="16274" y="1674"/>
                  <a:pt x="16274" y="1507"/>
                </a:cubicBezTo>
                <a:cubicBezTo>
                  <a:pt x="16274" y="1172"/>
                  <a:pt x="16570" y="1005"/>
                  <a:pt x="16866" y="1005"/>
                </a:cubicBezTo>
                <a:close/>
                <a:moveTo>
                  <a:pt x="7101" y="1172"/>
                </a:moveTo>
                <a:cubicBezTo>
                  <a:pt x="10800" y="1172"/>
                  <a:pt x="12649" y="1172"/>
                  <a:pt x="13574" y="1172"/>
                </a:cubicBezTo>
                <a:cubicBezTo>
                  <a:pt x="14499" y="1172"/>
                  <a:pt x="14499" y="1172"/>
                  <a:pt x="14499" y="1172"/>
                </a:cubicBezTo>
                <a:cubicBezTo>
                  <a:pt x="14499" y="1423"/>
                  <a:pt x="14499" y="1549"/>
                  <a:pt x="14499" y="1612"/>
                </a:cubicBezTo>
                <a:cubicBezTo>
                  <a:pt x="14499" y="1674"/>
                  <a:pt x="14499" y="1674"/>
                  <a:pt x="14499" y="1674"/>
                </a:cubicBezTo>
                <a:cubicBezTo>
                  <a:pt x="10800" y="1674"/>
                  <a:pt x="8951" y="1674"/>
                  <a:pt x="8026" y="1674"/>
                </a:cubicBezTo>
                <a:cubicBezTo>
                  <a:pt x="7101" y="1674"/>
                  <a:pt x="7101" y="1674"/>
                  <a:pt x="7101" y="1674"/>
                </a:cubicBezTo>
                <a:lnTo>
                  <a:pt x="7101" y="1172"/>
                </a:lnTo>
                <a:close/>
                <a:moveTo>
                  <a:pt x="14203" y="19926"/>
                </a:moveTo>
                <a:cubicBezTo>
                  <a:pt x="10800" y="19926"/>
                  <a:pt x="9099" y="19926"/>
                  <a:pt x="8248" y="19926"/>
                </a:cubicBezTo>
                <a:cubicBezTo>
                  <a:pt x="7397" y="19926"/>
                  <a:pt x="7397" y="19926"/>
                  <a:pt x="7397" y="19926"/>
                </a:cubicBezTo>
                <a:cubicBezTo>
                  <a:pt x="7397" y="19340"/>
                  <a:pt x="7397" y="19047"/>
                  <a:pt x="7397" y="18900"/>
                </a:cubicBezTo>
                <a:cubicBezTo>
                  <a:pt x="7397" y="18753"/>
                  <a:pt x="7397" y="18753"/>
                  <a:pt x="7397" y="18753"/>
                </a:cubicBezTo>
                <a:cubicBezTo>
                  <a:pt x="10800" y="18753"/>
                  <a:pt x="12501" y="18753"/>
                  <a:pt x="13352" y="18753"/>
                </a:cubicBezTo>
                <a:cubicBezTo>
                  <a:pt x="14203" y="18753"/>
                  <a:pt x="14203" y="18753"/>
                  <a:pt x="14203" y="18753"/>
                </a:cubicBezTo>
                <a:lnTo>
                  <a:pt x="14203" y="19926"/>
                </a:lnTo>
                <a:close/>
              </a:path>
            </a:pathLst>
          </a:custGeom>
          <a:solidFill>
            <a:schemeClr val="accent1"/>
          </a:solidFill>
          <a:ln w="12700">
            <a:miter lim="400000"/>
          </a:ln>
        </p:spPr>
        <p:txBody>
          <a:bodyPr lIns="45719" rIns="45719"/>
          <a:lstStyle/>
          <a:p>
            <a:pPr lvl="0" algn="ctr" defTabSz="457200">
              <a:lnSpc>
                <a:spcPct val="100000"/>
              </a:lnSpc>
              <a:spcBef>
                <a:spcPts val="0"/>
              </a:spcBef>
              <a:defRPr sz="3000">
                <a:solidFill>
                  <a:srgbClr val="FFFFFF"/>
                </a:solidFill>
                <a:effectLst>
                  <a:outerShdw blurRad="38100" dist="12700" dir="5400000" rotWithShape="0">
                    <a:srgbClr val="000000">
                      <a:alpha val="50000"/>
                    </a:srgbClr>
                  </a:outerShdw>
                </a:effectLst>
                <a:latin typeface="Sinkin Sans 400 Regular"/>
                <a:ea typeface="Sinkin Sans 400 Regular"/>
                <a:cs typeface="Sinkin Sans 400 Regular"/>
                <a:sym typeface="Sinkin Sans 400 Regular"/>
              </a:defRPr>
            </a:pPr>
            <a:endParaRPr/>
          </a:p>
        </p:txBody>
      </p:sp>
      <p:sp>
        <p:nvSpPr>
          <p:cNvPr id="47" name="Picture Placeholder 6"/>
          <p:cNvSpPr>
            <a:spLocks noGrp="1"/>
          </p:cNvSpPr>
          <p:nvPr>
            <p:ph type="pic" sz="quarter" idx="27"/>
          </p:nvPr>
        </p:nvSpPr>
        <p:spPr>
          <a:xfrm>
            <a:off x="1828324" y="2453919"/>
            <a:ext cx="1920240" cy="2849218"/>
          </a:xfrm>
          <a:prstGeom prst="rect">
            <a:avLst/>
          </a:prstGeom>
          <a:noFill/>
          <a:ln w="6350">
            <a:noFill/>
          </a:ln>
        </p:spPr>
        <p:txBody>
          <a:bodyPr>
            <a:normAutofit/>
          </a:bodyPr>
          <a:lstStyle>
            <a:lvl1pPr>
              <a:defRPr sz="1400"/>
            </a:lvl1pPr>
          </a:lstStyle>
          <a:p>
            <a:endParaRPr lang="en-GB" dirty="0"/>
          </a:p>
        </p:txBody>
      </p:sp>
      <p:sp>
        <p:nvSpPr>
          <p:cNvPr id="46" name="Text Placeholder 17"/>
          <p:cNvSpPr>
            <a:spLocks noGrp="1"/>
          </p:cNvSpPr>
          <p:nvPr>
            <p:ph type="body" sz="quarter" idx="40" hasCustomPrompt="1"/>
          </p:nvPr>
        </p:nvSpPr>
        <p:spPr>
          <a:xfrm>
            <a:off x="4695016" y="3086089"/>
            <a:ext cx="2472386" cy="721552"/>
          </a:xfrm>
        </p:spPr>
        <p:txBody>
          <a:bodyPr lIns="0" tIns="0" rIns="0" bIns="0" anchor="t">
            <a:normAutofit/>
          </a:bodyPr>
          <a:lstStyle>
            <a:lvl1pPr marL="0" indent="0" algn="r">
              <a:lnSpc>
                <a:spcPts val="1700"/>
              </a:lnSpc>
              <a:buNone/>
              <a:defRPr sz="1200">
                <a:solidFill>
                  <a:schemeClr val="tx2"/>
                </a:solidFill>
              </a:defRPr>
            </a:lvl1pPr>
          </a:lstStyle>
          <a:p>
            <a:pPr lvl="0"/>
            <a:r>
              <a:rPr lang="id-ID" dirty="0"/>
              <a:t>Click to edit Master text  styles lorem ipsum dolor sit amet aleh pue h om alah hai meutuwah ka</a:t>
            </a:r>
          </a:p>
        </p:txBody>
      </p:sp>
      <p:sp>
        <p:nvSpPr>
          <p:cNvPr id="48" name="Text Placeholder 17"/>
          <p:cNvSpPr>
            <a:spLocks noGrp="1"/>
          </p:cNvSpPr>
          <p:nvPr>
            <p:ph type="body" sz="quarter" idx="41" hasCustomPrompt="1"/>
          </p:nvPr>
        </p:nvSpPr>
        <p:spPr>
          <a:xfrm>
            <a:off x="4895767" y="2619405"/>
            <a:ext cx="1674911" cy="303488"/>
          </a:xfrm>
        </p:spPr>
        <p:txBody>
          <a:bodyPr lIns="0" tIns="0" rIns="0" bIns="0" anchor="ctr">
            <a:normAutofit/>
          </a:bodyPr>
          <a:lstStyle>
            <a:lvl1pPr marL="0" indent="0" algn="r">
              <a:lnSpc>
                <a:spcPts val="1700"/>
              </a:lnSpc>
              <a:buNone/>
              <a:defRPr sz="1600" b="1">
                <a:solidFill>
                  <a:schemeClr val="bg1"/>
                </a:solidFill>
              </a:defRPr>
            </a:lvl1pPr>
          </a:lstStyle>
          <a:p>
            <a:pPr lvl="0"/>
            <a:r>
              <a:rPr lang="id-ID" dirty="0"/>
              <a:t>Info Portofolio</a:t>
            </a:r>
          </a:p>
        </p:txBody>
      </p:sp>
      <p:sp>
        <p:nvSpPr>
          <p:cNvPr id="49" name="Text Placeholder 17"/>
          <p:cNvSpPr>
            <a:spLocks noGrp="1"/>
          </p:cNvSpPr>
          <p:nvPr>
            <p:ph type="body" sz="quarter" idx="42" hasCustomPrompt="1"/>
          </p:nvPr>
        </p:nvSpPr>
        <p:spPr>
          <a:xfrm>
            <a:off x="4695016" y="4942361"/>
            <a:ext cx="2472386" cy="721552"/>
          </a:xfrm>
        </p:spPr>
        <p:txBody>
          <a:bodyPr lIns="0" tIns="0" rIns="0" bIns="0" anchor="t">
            <a:normAutofit/>
          </a:bodyPr>
          <a:lstStyle>
            <a:lvl1pPr marL="0" indent="0" algn="r">
              <a:lnSpc>
                <a:spcPts val="1700"/>
              </a:lnSpc>
              <a:buNone/>
              <a:defRPr sz="1200">
                <a:solidFill>
                  <a:schemeClr val="tx2"/>
                </a:solidFill>
              </a:defRPr>
            </a:lvl1pPr>
          </a:lstStyle>
          <a:p>
            <a:pPr lvl="0"/>
            <a:r>
              <a:rPr lang="id-ID" dirty="0"/>
              <a:t>Click to edit Master text  styles lorem ipsum dolor sit amet aleh pue h om alah hai meutuwah ka</a:t>
            </a:r>
          </a:p>
        </p:txBody>
      </p:sp>
      <p:sp>
        <p:nvSpPr>
          <p:cNvPr id="50" name="Text Placeholder 17"/>
          <p:cNvSpPr>
            <a:spLocks noGrp="1"/>
          </p:cNvSpPr>
          <p:nvPr>
            <p:ph type="body" sz="quarter" idx="43" hasCustomPrompt="1"/>
          </p:nvPr>
        </p:nvSpPr>
        <p:spPr>
          <a:xfrm>
            <a:off x="4895767" y="4422337"/>
            <a:ext cx="1674911" cy="303488"/>
          </a:xfrm>
        </p:spPr>
        <p:txBody>
          <a:bodyPr lIns="0" tIns="0" rIns="0" bIns="0" anchor="ctr">
            <a:normAutofit/>
          </a:bodyPr>
          <a:lstStyle>
            <a:lvl1pPr marL="0" indent="0" algn="r">
              <a:lnSpc>
                <a:spcPts val="1700"/>
              </a:lnSpc>
              <a:buNone/>
              <a:defRPr sz="1600" b="1">
                <a:solidFill>
                  <a:schemeClr val="bg1"/>
                </a:solidFill>
              </a:defRPr>
            </a:lvl1pPr>
          </a:lstStyle>
          <a:p>
            <a:pPr lvl="0"/>
            <a:r>
              <a:rPr lang="id-ID" dirty="0"/>
              <a:t>Info Portofolio</a:t>
            </a:r>
          </a:p>
        </p:txBody>
      </p:sp>
      <p:sp>
        <p:nvSpPr>
          <p:cNvPr id="51" name="Text Placeholder 17"/>
          <p:cNvSpPr>
            <a:spLocks noGrp="1"/>
          </p:cNvSpPr>
          <p:nvPr>
            <p:ph type="body" sz="quarter" idx="44" hasCustomPrompt="1"/>
          </p:nvPr>
        </p:nvSpPr>
        <p:spPr>
          <a:xfrm>
            <a:off x="7884423" y="4953688"/>
            <a:ext cx="2515825" cy="721552"/>
          </a:xfrm>
        </p:spPr>
        <p:txBody>
          <a:bodyPr lIns="0" tIns="0" rIns="0" bIns="0" anchor="t">
            <a:normAutofit/>
          </a:bodyPr>
          <a:lstStyle>
            <a:lvl1pPr marL="0" indent="0" algn="l">
              <a:lnSpc>
                <a:spcPts val="1700"/>
              </a:lnSpc>
              <a:buNone/>
              <a:defRPr sz="1200">
                <a:solidFill>
                  <a:schemeClr val="tx2"/>
                </a:solidFill>
              </a:defRPr>
            </a:lvl1pPr>
          </a:lstStyle>
          <a:p>
            <a:pPr lvl="0"/>
            <a:r>
              <a:rPr lang="id-ID" dirty="0"/>
              <a:t>Click to edit Master text  styles lorem ipsum dolor sit amet aleh pue h om alah hai meutuwah ka abeh cara pen</a:t>
            </a:r>
          </a:p>
        </p:txBody>
      </p:sp>
      <p:sp>
        <p:nvSpPr>
          <p:cNvPr id="52" name="Text Placeholder 17"/>
          <p:cNvSpPr>
            <a:spLocks noGrp="1"/>
          </p:cNvSpPr>
          <p:nvPr>
            <p:ph type="body" sz="quarter" idx="45" hasCustomPrompt="1"/>
          </p:nvPr>
        </p:nvSpPr>
        <p:spPr>
          <a:xfrm>
            <a:off x="8411560" y="4433664"/>
            <a:ext cx="1887115" cy="303488"/>
          </a:xfrm>
        </p:spPr>
        <p:txBody>
          <a:bodyPr lIns="0" tIns="0" rIns="0" bIns="0" anchor="ctr">
            <a:normAutofit/>
          </a:bodyPr>
          <a:lstStyle>
            <a:lvl1pPr marL="0" indent="0" algn="l">
              <a:lnSpc>
                <a:spcPts val="1700"/>
              </a:lnSpc>
              <a:buNone/>
              <a:defRPr sz="1600" b="1">
                <a:solidFill>
                  <a:schemeClr val="bg1"/>
                </a:solidFill>
              </a:defRPr>
            </a:lvl1pPr>
          </a:lstStyle>
          <a:p>
            <a:pPr lvl="0"/>
            <a:r>
              <a:rPr lang="id-ID" dirty="0"/>
              <a:t>Info Portofolio</a:t>
            </a:r>
          </a:p>
        </p:txBody>
      </p:sp>
    </p:spTree>
    <p:extLst>
      <p:ext uri="{BB962C8B-B14F-4D97-AF65-F5344CB8AC3E}">
        <p14:creationId xmlns:p14="http://schemas.microsoft.com/office/powerpoint/2010/main" val="2641902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0-#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47"/>
                                        </p:tgtEl>
                                        <p:attrNameLst>
                                          <p:attrName>style.visibility</p:attrName>
                                        </p:attrNameLst>
                                      </p:cBhvr>
                                      <p:to>
                                        <p:strVal val="visible"/>
                                      </p:to>
                                    </p:set>
                                    <p:anim calcmode="lin" valueType="num">
                                      <p:cBhvr additive="base">
                                        <p:cTn id="11" dur="500" fill="hold"/>
                                        <p:tgtEl>
                                          <p:spTgt spid="47"/>
                                        </p:tgtEl>
                                        <p:attrNameLst>
                                          <p:attrName>ppt_x</p:attrName>
                                        </p:attrNameLst>
                                      </p:cBhvr>
                                      <p:tavLst>
                                        <p:tav tm="0">
                                          <p:val>
                                            <p:strVal val="0-#ppt_w/2"/>
                                          </p:val>
                                        </p:tav>
                                        <p:tav tm="100000">
                                          <p:val>
                                            <p:strVal val="#ppt_x"/>
                                          </p:val>
                                        </p:tav>
                                      </p:tavLst>
                                    </p:anim>
                                    <p:anim calcmode="lin" valueType="num">
                                      <p:cBhvr additive="base">
                                        <p:cTn id="12" dur="500" fill="hold"/>
                                        <p:tgtEl>
                                          <p:spTgt spid="4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fill="hold"/>
                                        <p:tgtEl>
                                          <p:spTgt spid="2"/>
                                        </p:tgtEl>
                                        <p:attrNameLst>
                                          <p:attrName>ppt_w</p:attrName>
                                        </p:attrNameLst>
                                      </p:cBhvr>
                                      <p:tavLst>
                                        <p:tav tm="0">
                                          <p:val>
                                            <p:fltVal val="0"/>
                                          </p:val>
                                        </p:tav>
                                        <p:tav tm="100000">
                                          <p:val>
                                            <p:strVal val="#ppt_w"/>
                                          </p:val>
                                        </p:tav>
                                      </p:tavLst>
                                    </p:anim>
                                    <p:anim calcmode="lin" valueType="num">
                                      <p:cBhvr>
                                        <p:cTn id="17" dur="500" fill="hold"/>
                                        <p:tgtEl>
                                          <p:spTgt spid="2"/>
                                        </p:tgtEl>
                                        <p:attrNameLst>
                                          <p:attrName>ppt_h</p:attrName>
                                        </p:attrNameLst>
                                      </p:cBhvr>
                                      <p:tavLst>
                                        <p:tav tm="0">
                                          <p:val>
                                            <p:fltVal val="0"/>
                                          </p:val>
                                        </p:tav>
                                        <p:tav tm="100000">
                                          <p:val>
                                            <p:strVal val="#ppt_h"/>
                                          </p:val>
                                        </p:tav>
                                      </p:tavLst>
                                    </p:anim>
                                    <p:animEffect transition="in" filter="fade">
                                      <p:cBhvr>
                                        <p:cTn id="18" dur="500"/>
                                        <p:tgtEl>
                                          <p:spTgt spid="2"/>
                                        </p:tgtEl>
                                      </p:cBhvr>
                                    </p:animEffect>
                                  </p:childTnLst>
                                </p:cTn>
                              </p:par>
                            </p:childTnLst>
                          </p:cTn>
                        </p:par>
                        <p:par>
                          <p:cTn id="19" fill="hold">
                            <p:stCondLst>
                              <p:cond delay="1000"/>
                            </p:stCondLst>
                            <p:childTnLst>
                              <p:par>
                                <p:cTn id="20" presetID="22" presetClass="entr" presetSubtype="2" fill="hold" grpId="0" nodeType="afterEffect">
                                  <p:stCondLst>
                                    <p:cond delay="0"/>
                                  </p:stCondLst>
                                  <p:childTnLst>
                                    <p:set>
                                      <p:cBhvr>
                                        <p:cTn id="21" dur="1" fill="hold">
                                          <p:stCondLst>
                                            <p:cond delay="0"/>
                                          </p:stCondLst>
                                        </p:cTn>
                                        <p:tgtEl>
                                          <p:spTgt spid="48">
                                            <p:txEl>
                                              <p:pRg st="0" end="0"/>
                                            </p:txEl>
                                          </p:spTgt>
                                        </p:tgtEl>
                                        <p:attrNameLst>
                                          <p:attrName>style.visibility</p:attrName>
                                        </p:attrNameLst>
                                      </p:cBhvr>
                                      <p:to>
                                        <p:strVal val="visible"/>
                                      </p:to>
                                    </p:set>
                                    <p:animEffect transition="in" filter="wipe(right)">
                                      <p:cBhvr>
                                        <p:cTn id="22" dur="500"/>
                                        <p:tgtEl>
                                          <p:spTgt spid="48">
                                            <p:txEl>
                                              <p:pRg st="0" end="0"/>
                                            </p:txEl>
                                          </p:spTgt>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46">
                                            <p:txEl>
                                              <p:pRg st="0" end="0"/>
                                            </p:txEl>
                                          </p:spTgt>
                                        </p:tgtEl>
                                        <p:attrNameLst>
                                          <p:attrName>style.visibility</p:attrName>
                                        </p:attrNameLst>
                                      </p:cBhvr>
                                      <p:to>
                                        <p:strVal val="visible"/>
                                      </p:to>
                                    </p:set>
                                    <p:animEffect transition="in" filter="fade">
                                      <p:cBhvr>
                                        <p:cTn id="26" dur="500"/>
                                        <p:tgtEl>
                                          <p:spTgt spid="46">
                                            <p:txEl>
                                              <p:pRg st="0" end="0"/>
                                            </p:txEl>
                                          </p:spTgt>
                                        </p:tgtEl>
                                      </p:cBhvr>
                                    </p:animEffect>
                                  </p:childTnLst>
                                </p:cTn>
                              </p:par>
                            </p:childTnLst>
                          </p:cTn>
                        </p:par>
                        <p:par>
                          <p:cTn id="27" fill="hold">
                            <p:stCondLst>
                              <p:cond delay="2000"/>
                            </p:stCondLst>
                            <p:childTnLst>
                              <p:par>
                                <p:cTn id="28" presetID="53" presetClass="entr" presetSubtype="16"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 calcmode="lin" valueType="num">
                                      <p:cBhvr>
                                        <p:cTn id="30" dur="500" fill="hold"/>
                                        <p:tgtEl>
                                          <p:spTgt spid="3"/>
                                        </p:tgtEl>
                                        <p:attrNameLst>
                                          <p:attrName>ppt_w</p:attrName>
                                        </p:attrNameLst>
                                      </p:cBhvr>
                                      <p:tavLst>
                                        <p:tav tm="0">
                                          <p:val>
                                            <p:fltVal val="0"/>
                                          </p:val>
                                        </p:tav>
                                        <p:tav tm="100000">
                                          <p:val>
                                            <p:strVal val="#ppt_w"/>
                                          </p:val>
                                        </p:tav>
                                      </p:tavLst>
                                    </p:anim>
                                    <p:anim calcmode="lin" valueType="num">
                                      <p:cBhvr>
                                        <p:cTn id="31" dur="500" fill="hold"/>
                                        <p:tgtEl>
                                          <p:spTgt spid="3"/>
                                        </p:tgtEl>
                                        <p:attrNameLst>
                                          <p:attrName>ppt_h</p:attrName>
                                        </p:attrNameLst>
                                      </p:cBhvr>
                                      <p:tavLst>
                                        <p:tav tm="0">
                                          <p:val>
                                            <p:fltVal val="0"/>
                                          </p:val>
                                        </p:tav>
                                        <p:tav tm="100000">
                                          <p:val>
                                            <p:strVal val="#ppt_h"/>
                                          </p:val>
                                        </p:tav>
                                      </p:tavLst>
                                    </p:anim>
                                    <p:animEffect transition="in" filter="fade">
                                      <p:cBhvr>
                                        <p:cTn id="32" dur="500"/>
                                        <p:tgtEl>
                                          <p:spTgt spid="3"/>
                                        </p:tgtEl>
                                      </p:cBhvr>
                                    </p:animEffect>
                                  </p:childTnLst>
                                </p:cTn>
                              </p:par>
                            </p:childTnLst>
                          </p:cTn>
                        </p:par>
                        <p:par>
                          <p:cTn id="33" fill="hold">
                            <p:stCondLst>
                              <p:cond delay="2500"/>
                            </p:stCondLst>
                            <p:childTnLst>
                              <p:par>
                                <p:cTn id="34" presetID="22" presetClass="entr" presetSubtype="2" fill="hold" grpId="0" nodeType="afterEffect">
                                  <p:stCondLst>
                                    <p:cond delay="0"/>
                                  </p:stCondLst>
                                  <p:childTnLst>
                                    <p:set>
                                      <p:cBhvr>
                                        <p:cTn id="35" dur="1" fill="hold">
                                          <p:stCondLst>
                                            <p:cond delay="0"/>
                                          </p:stCondLst>
                                        </p:cTn>
                                        <p:tgtEl>
                                          <p:spTgt spid="50">
                                            <p:txEl>
                                              <p:pRg st="0" end="0"/>
                                            </p:txEl>
                                          </p:spTgt>
                                        </p:tgtEl>
                                        <p:attrNameLst>
                                          <p:attrName>style.visibility</p:attrName>
                                        </p:attrNameLst>
                                      </p:cBhvr>
                                      <p:to>
                                        <p:strVal val="visible"/>
                                      </p:to>
                                    </p:set>
                                    <p:animEffect transition="in" filter="wipe(right)">
                                      <p:cBhvr>
                                        <p:cTn id="36" dur="500"/>
                                        <p:tgtEl>
                                          <p:spTgt spid="50">
                                            <p:txEl>
                                              <p:pRg st="0" end="0"/>
                                            </p:txEl>
                                          </p:spTgt>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9">
                                            <p:txEl>
                                              <p:pRg st="0" end="0"/>
                                            </p:txEl>
                                          </p:spTgt>
                                        </p:tgtEl>
                                        <p:attrNameLst>
                                          <p:attrName>style.visibility</p:attrName>
                                        </p:attrNameLst>
                                      </p:cBhvr>
                                      <p:to>
                                        <p:strVal val="visible"/>
                                      </p:to>
                                    </p:set>
                                    <p:animEffect transition="in" filter="fade">
                                      <p:cBhvr>
                                        <p:cTn id="40" dur="500"/>
                                        <p:tgtEl>
                                          <p:spTgt spid="49">
                                            <p:txEl>
                                              <p:pRg st="0" end="0"/>
                                            </p:txEl>
                                          </p:spTgt>
                                        </p:tgtEl>
                                      </p:cBhvr>
                                    </p:animEffect>
                                  </p:childTnLst>
                                </p:cTn>
                              </p:par>
                            </p:childTnLst>
                          </p:cTn>
                        </p:par>
                        <p:par>
                          <p:cTn id="41" fill="hold">
                            <p:stCondLst>
                              <p:cond delay="3500"/>
                            </p:stCondLst>
                            <p:childTnLst>
                              <p:par>
                                <p:cTn id="42" presetID="53" presetClass="entr" presetSubtype="16" fill="hold" nodeType="afterEffect">
                                  <p:stCondLst>
                                    <p:cond delay="0"/>
                                  </p:stCondLst>
                                  <p:childTnLst>
                                    <p:set>
                                      <p:cBhvr>
                                        <p:cTn id="43" dur="1" fill="hold">
                                          <p:stCondLst>
                                            <p:cond delay="0"/>
                                          </p:stCondLst>
                                        </p:cTn>
                                        <p:tgtEl>
                                          <p:spTgt spid="4"/>
                                        </p:tgtEl>
                                        <p:attrNameLst>
                                          <p:attrName>style.visibility</p:attrName>
                                        </p:attrNameLst>
                                      </p:cBhvr>
                                      <p:to>
                                        <p:strVal val="visible"/>
                                      </p:to>
                                    </p:set>
                                    <p:anim calcmode="lin" valueType="num">
                                      <p:cBhvr>
                                        <p:cTn id="44" dur="500" fill="hold"/>
                                        <p:tgtEl>
                                          <p:spTgt spid="4"/>
                                        </p:tgtEl>
                                        <p:attrNameLst>
                                          <p:attrName>ppt_w</p:attrName>
                                        </p:attrNameLst>
                                      </p:cBhvr>
                                      <p:tavLst>
                                        <p:tav tm="0">
                                          <p:val>
                                            <p:fltVal val="0"/>
                                          </p:val>
                                        </p:tav>
                                        <p:tav tm="100000">
                                          <p:val>
                                            <p:strVal val="#ppt_w"/>
                                          </p:val>
                                        </p:tav>
                                      </p:tavLst>
                                    </p:anim>
                                    <p:anim calcmode="lin" valueType="num">
                                      <p:cBhvr>
                                        <p:cTn id="45" dur="500" fill="hold"/>
                                        <p:tgtEl>
                                          <p:spTgt spid="4"/>
                                        </p:tgtEl>
                                        <p:attrNameLst>
                                          <p:attrName>ppt_h</p:attrName>
                                        </p:attrNameLst>
                                      </p:cBhvr>
                                      <p:tavLst>
                                        <p:tav tm="0">
                                          <p:val>
                                            <p:fltVal val="0"/>
                                          </p:val>
                                        </p:tav>
                                        <p:tav tm="100000">
                                          <p:val>
                                            <p:strVal val="#ppt_h"/>
                                          </p:val>
                                        </p:tav>
                                      </p:tavLst>
                                    </p:anim>
                                    <p:animEffect transition="in" filter="fade">
                                      <p:cBhvr>
                                        <p:cTn id="46" dur="500"/>
                                        <p:tgtEl>
                                          <p:spTgt spid="4"/>
                                        </p:tgtEl>
                                      </p:cBhvr>
                                    </p:animEffect>
                                  </p:childTnLst>
                                </p:cTn>
                              </p:par>
                            </p:childTnLst>
                          </p:cTn>
                        </p:par>
                        <p:par>
                          <p:cTn id="47" fill="hold">
                            <p:stCondLst>
                              <p:cond delay="4000"/>
                            </p:stCondLst>
                            <p:childTnLst>
                              <p:par>
                                <p:cTn id="48" presetID="22" presetClass="entr" presetSubtype="8" fill="hold" grpId="0" nodeType="afterEffect">
                                  <p:stCondLst>
                                    <p:cond delay="0"/>
                                  </p:stCondLst>
                                  <p:childTnLst>
                                    <p:set>
                                      <p:cBhvr>
                                        <p:cTn id="49" dur="1" fill="hold">
                                          <p:stCondLst>
                                            <p:cond delay="0"/>
                                          </p:stCondLst>
                                        </p:cTn>
                                        <p:tgtEl>
                                          <p:spTgt spid="15">
                                            <p:txEl>
                                              <p:pRg st="0" end="0"/>
                                            </p:txEl>
                                          </p:spTgt>
                                        </p:tgtEl>
                                        <p:attrNameLst>
                                          <p:attrName>style.visibility</p:attrName>
                                        </p:attrNameLst>
                                      </p:cBhvr>
                                      <p:to>
                                        <p:strVal val="visible"/>
                                      </p:to>
                                    </p:set>
                                    <p:animEffect transition="in" filter="wipe(left)">
                                      <p:cBhvr>
                                        <p:cTn id="50" dur="500"/>
                                        <p:tgtEl>
                                          <p:spTgt spid="15">
                                            <p:txEl>
                                              <p:pRg st="0" end="0"/>
                                            </p:txEl>
                                          </p:spTgt>
                                        </p:tgtEl>
                                      </p:cBhvr>
                                    </p:animEffect>
                                  </p:childTnLst>
                                </p:cTn>
                              </p:par>
                            </p:childTnLst>
                          </p:cTn>
                        </p:par>
                        <p:par>
                          <p:cTn id="51" fill="hold">
                            <p:stCondLst>
                              <p:cond delay="4500"/>
                            </p:stCondLst>
                            <p:childTnLst>
                              <p:par>
                                <p:cTn id="52" presetID="10" presetClass="entr" presetSubtype="0" fill="hold" grpId="0" nodeType="afterEffect">
                                  <p:stCondLst>
                                    <p:cond delay="0"/>
                                  </p:stCondLst>
                                  <p:childTnLst>
                                    <p:set>
                                      <p:cBhvr>
                                        <p:cTn id="53" dur="1" fill="hold">
                                          <p:stCondLst>
                                            <p:cond delay="0"/>
                                          </p:stCondLst>
                                        </p:cTn>
                                        <p:tgtEl>
                                          <p:spTgt spid="21">
                                            <p:txEl>
                                              <p:pRg st="0" end="0"/>
                                            </p:txEl>
                                          </p:spTgt>
                                        </p:tgtEl>
                                        <p:attrNameLst>
                                          <p:attrName>style.visibility</p:attrName>
                                        </p:attrNameLst>
                                      </p:cBhvr>
                                      <p:to>
                                        <p:strVal val="visible"/>
                                      </p:to>
                                    </p:set>
                                    <p:animEffect transition="in" filter="fade">
                                      <p:cBhvr>
                                        <p:cTn id="54" dur="500"/>
                                        <p:tgtEl>
                                          <p:spTgt spid="21">
                                            <p:txEl>
                                              <p:pRg st="0" end="0"/>
                                            </p:txEl>
                                          </p:spTgt>
                                        </p:tgtEl>
                                      </p:cBhvr>
                                    </p:animEffect>
                                  </p:childTnLst>
                                </p:cTn>
                              </p:par>
                            </p:childTnLst>
                          </p:cTn>
                        </p:par>
                        <p:par>
                          <p:cTn id="55" fill="hold">
                            <p:stCondLst>
                              <p:cond delay="5000"/>
                            </p:stCondLst>
                            <p:childTnLst>
                              <p:par>
                                <p:cTn id="56" presetID="53" presetClass="entr" presetSubtype="16" fill="hold" nodeType="afterEffect">
                                  <p:stCondLst>
                                    <p:cond delay="0"/>
                                  </p:stCondLst>
                                  <p:childTnLst>
                                    <p:set>
                                      <p:cBhvr>
                                        <p:cTn id="57" dur="1" fill="hold">
                                          <p:stCondLst>
                                            <p:cond delay="0"/>
                                          </p:stCondLst>
                                        </p:cTn>
                                        <p:tgtEl>
                                          <p:spTgt spid="5"/>
                                        </p:tgtEl>
                                        <p:attrNameLst>
                                          <p:attrName>style.visibility</p:attrName>
                                        </p:attrNameLst>
                                      </p:cBhvr>
                                      <p:to>
                                        <p:strVal val="visible"/>
                                      </p:to>
                                    </p:set>
                                    <p:anim calcmode="lin" valueType="num">
                                      <p:cBhvr>
                                        <p:cTn id="58" dur="500" fill="hold"/>
                                        <p:tgtEl>
                                          <p:spTgt spid="5"/>
                                        </p:tgtEl>
                                        <p:attrNameLst>
                                          <p:attrName>ppt_w</p:attrName>
                                        </p:attrNameLst>
                                      </p:cBhvr>
                                      <p:tavLst>
                                        <p:tav tm="0">
                                          <p:val>
                                            <p:fltVal val="0"/>
                                          </p:val>
                                        </p:tav>
                                        <p:tav tm="100000">
                                          <p:val>
                                            <p:strVal val="#ppt_w"/>
                                          </p:val>
                                        </p:tav>
                                      </p:tavLst>
                                    </p:anim>
                                    <p:anim calcmode="lin" valueType="num">
                                      <p:cBhvr>
                                        <p:cTn id="59" dur="500" fill="hold"/>
                                        <p:tgtEl>
                                          <p:spTgt spid="5"/>
                                        </p:tgtEl>
                                        <p:attrNameLst>
                                          <p:attrName>ppt_h</p:attrName>
                                        </p:attrNameLst>
                                      </p:cBhvr>
                                      <p:tavLst>
                                        <p:tav tm="0">
                                          <p:val>
                                            <p:fltVal val="0"/>
                                          </p:val>
                                        </p:tav>
                                        <p:tav tm="100000">
                                          <p:val>
                                            <p:strVal val="#ppt_h"/>
                                          </p:val>
                                        </p:tav>
                                      </p:tavLst>
                                    </p:anim>
                                    <p:animEffect transition="in" filter="fade">
                                      <p:cBhvr>
                                        <p:cTn id="60" dur="500"/>
                                        <p:tgtEl>
                                          <p:spTgt spid="5"/>
                                        </p:tgtEl>
                                      </p:cBhvr>
                                    </p:animEffect>
                                  </p:childTnLst>
                                </p:cTn>
                              </p:par>
                            </p:childTnLst>
                          </p:cTn>
                        </p:par>
                        <p:par>
                          <p:cTn id="61" fill="hold">
                            <p:stCondLst>
                              <p:cond delay="5500"/>
                            </p:stCondLst>
                            <p:childTnLst>
                              <p:par>
                                <p:cTn id="62" presetID="22" presetClass="entr" presetSubtype="8" fill="hold" grpId="0" nodeType="afterEffect">
                                  <p:stCondLst>
                                    <p:cond delay="0"/>
                                  </p:stCondLst>
                                  <p:childTnLst>
                                    <p:set>
                                      <p:cBhvr>
                                        <p:cTn id="63" dur="1" fill="hold">
                                          <p:stCondLst>
                                            <p:cond delay="0"/>
                                          </p:stCondLst>
                                        </p:cTn>
                                        <p:tgtEl>
                                          <p:spTgt spid="52">
                                            <p:txEl>
                                              <p:pRg st="0" end="0"/>
                                            </p:txEl>
                                          </p:spTgt>
                                        </p:tgtEl>
                                        <p:attrNameLst>
                                          <p:attrName>style.visibility</p:attrName>
                                        </p:attrNameLst>
                                      </p:cBhvr>
                                      <p:to>
                                        <p:strVal val="visible"/>
                                      </p:to>
                                    </p:set>
                                    <p:animEffect transition="in" filter="wipe(left)">
                                      <p:cBhvr>
                                        <p:cTn id="64" dur="500"/>
                                        <p:tgtEl>
                                          <p:spTgt spid="52">
                                            <p:txEl>
                                              <p:pRg st="0" end="0"/>
                                            </p:txEl>
                                          </p:spTgt>
                                        </p:tgtEl>
                                      </p:cBhvr>
                                    </p:animEffect>
                                  </p:childTnLst>
                                </p:cTn>
                              </p:par>
                            </p:childTnLst>
                          </p:cTn>
                        </p:par>
                        <p:par>
                          <p:cTn id="65" fill="hold">
                            <p:stCondLst>
                              <p:cond delay="6000"/>
                            </p:stCondLst>
                            <p:childTnLst>
                              <p:par>
                                <p:cTn id="66" presetID="10" presetClass="entr" presetSubtype="0" fill="hold" grpId="0" nodeType="afterEffect">
                                  <p:stCondLst>
                                    <p:cond delay="0"/>
                                  </p:stCondLst>
                                  <p:childTnLst>
                                    <p:set>
                                      <p:cBhvr>
                                        <p:cTn id="67" dur="1" fill="hold">
                                          <p:stCondLst>
                                            <p:cond delay="0"/>
                                          </p:stCondLst>
                                        </p:cTn>
                                        <p:tgtEl>
                                          <p:spTgt spid="51">
                                            <p:txEl>
                                              <p:pRg st="0" end="0"/>
                                            </p:txEl>
                                          </p:spTgt>
                                        </p:tgtEl>
                                        <p:attrNameLst>
                                          <p:attrName>style.visibility</p:attrName>
                                        </p:attrNameLst>
                                      </p:cBhvr>
                                      <p:to>
                                        <p:strVal val="visible"/>
                                      </p:to>
                                    </p:set>
                                    <p:animEffect transition="in" filter="fade">
                                      <p:cBhvr>
                                        <p:cTn id="68"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15" grpId="0" build="p">
        <p:tmplLst>
          <p:tmpl lvl="1">
            <p:tnLst>
              <p:par>
                <p:cTn presetID="22" presetClass="entr" presetSubtype="8"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wipe(left)">
                      <p:cBhvr>
                        <p:cTn dur="500"/>
                        <p:tgtEl>
                          <p:spTgt spid="15"/>
                        </p:tgtEl>
                      </p:cBhvr>
                    </p:animEffect>
                  </p:childTnLst>
                </p:cTn>
              </p:par>
            </p:tnLst>
          </p:tmpl>
        </p:tmplLst>
      </p:bldP>
      <p:bldP spid="35" grpId="0" animBg="1"/>
      <p:bldP spid="47" grpId="0"/>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8" grpId="0" build="p">
        <p:tmplLst>
          <p:tmpl lvl="1">
            <p:tnLst>
              <p:par>
                <p:cTn presetID="22" presetClass="entr" presetSubtype="2" fill="hold" nodeType="afterEffect">
                  <p:stCondLst>
                    <p:cond delay="0"/>
                  </p:stCondLst>
                  <p:childTnLst>
                    <p:set>
                      <p:cBhvr>
                        <p:cTn dur="1" fill="hold">
                          <p:stCondLst>
                            <p:cond delay="0"/>
                          </p:stCondLst>
                        </p:cTn>
                        <p:tgtEl>
                          <p:spTgt spid="48"/>
                        </p:tgtEl>
                        <p:attrNameLst>
                          <p:attrName>style.visibility</p:attrName>
                        </p:attrNameLst>
                      </p:cBhvr>
                      <p:to>
                        <p:strVal val="visible"/>
                      </p:to>
                    </p:set>
                    <p:animEffect transition="in" filter="wipe(right)">
                      <p:cBhvr>
                        <p:cTn dur="500"/>
                        <p:tgtEl>
                          <p:spTgt spid="48"/>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0" grpId="0" build="p">
        <p:tmplLst>
          <p:tmpl lvl="1">
            <p:tnLst>
              <p:par>
                <p:cTn presetID="22" presetClass="entr" presetSubtype="2" fill="hold" nodeType="afterEffect">
                  <p:stCondLst>
                    <p:cond delay="0"/>
                  </p:stCondLst>
                  <p:childTnLst>
                    <p:set>
                      <p:cBhvr>
                        <p:cTn dur="1" fill="hold">
                          <p:stCondLst>
                            <p:cond delay="0"/>
                          </p:stCondLst>
                        </p:cTn>
                        <p:tgtEl>
                          <p:spTgt spid="50"/>
                        </p:tgtEl>
                        <p:attrNameLst>
                          <p:attrName>style.visibility</p:attrName>
                        </p:attrNameLst>
                      </p:cBhvr>
                      <p:to>
                        <p:strVal val="visible"/>
                      </p:to>
                    </p:set>
                    <p:animEffect transition="in" filter="wipe(right)">
                      <p:cBhvr>
                        <p:cTn dur="500"/>
                        <p:tgtEl>
                          <p:spTgt spid="50"/>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build="p">
        <p:tmplLst>
          <p:tmpl lvl="1">
            <p:tnLst>
              <p:par>
                <p:cTn presetID="22" presetClass="entr" presetSubtype="8" fill="hold" nodeType="afterEffect">
                  <p:stCondLst>
                    <p:cond delay="0"/>
                  </p:stCondLst>
                  <p:childTnLst>
                    <p:set>
                      <p:cBhvr>
                        <p:cTn dur="1" fill="hold">
                          <p:stCondLst>
                            <p:cond delay="0"/>
                          </p:stCondLst>
                        </p:cTn>
                        <p:tgtEl>
                          <p:spTgt spid="52"/>
                        </p:tgtEl>
                        <p:attrNameLst>
                          <p:attrName>style.visibility</p:attrName>
                        </p:attrNameLst>
                      </p:cBhvr>
                      <p:to>
                        <p:strVal val="visible"/>
                      </p:to>
                    </p:set>
                    <p:animEffect transition="in" filter="wipe(left)">
                      <p:cBhvr>
                        <p:cTn dur="500"/>
                        <p:tgtEl>
                          <p:spTgt spid="52"/>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3" name="phone-white.png"/>
          <p:cNvPicPr/>
          <p:nvPr userDrawn="1"/>
        </p:nvPicPr>
        <p:blipFill>
          <a:blip r:embed="rId2" cstate="print">
            <a:extLst/>
          </a:blip>
          <a:stretch>
            <a:fillRect/>
          </a:stretch>
        </p:blipFill>
        <p:spPr>
          <a:xfrm>
            <a:off x="1899028" y="2152649"/>
            <a:ext cx="2031471" cy="4019551"/>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4524860" y="2590800"/>
            <a:ext cx="29718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4524860" y="2971800"/>
            <a:ext cx="5264578"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grpSp>
        <p:nvGrpSpPr>
          <p:cNvPr id="2" name="Group 684"/>
          <p:cNvGrpSpPr/>
          <p:nvPr userDrawn="1"/>
        </p:nvGrpSpPr>
        <p:grpSpPr>
          <a:xfrm>
            <a:off x="4527858" y="4634270"/>
            <a:ext cx="455687" cy="455814"/>
            <a:chOff x="0" y="0"/>
            <a:chExt cx="911610" cy="911627"/>
          </a:xfrm>
        </p:grpSpPr>
        <p:sp>
          <p:nvSpPr>
            <p:cNvPr id="46" name="Shape 682"/>
            <p:cNvSpPr/>
            <p:nvPr/>
          </p:nvSpPr>
          <p:spPr>
            <a:xfrm>
              <a:off x="0" y="0"/>
              <a:ext cx="911611" cy="911628"/>
            </a:xfrm>
            <a:custGeom>
              <a:avLst/>
              <a:gdLst/>
              <a:ahLst/>
              <a:cxnLst>
                <a:cxn ang="0">
                  <a:pos x="wd2" y="hd2"/>
                </a:cxn>
                <a:cxn ang="5400000">
                  <a:pos x="wd2" y="hd2"/>
                </a:cxn>
                <a:cxn ang="10800000">
                  <a:pos x="wd2" y="hd2"/>
                </a:cxn>
                <a:cxn ang="16200000">
                  <a:pos x="wd2" y="hd2"/>
                </a:cxn>
              </a:cxnLst>
              <a:rect l="0" t="0" r="r" b="b"/>
              <a:pathLst>
                <a:path w="19806" h="19807" extrusionOk="0">
                  <a:moveTo>
                    <a:pt x="7908" y="205"/>
                  </a:moveTo>
                  <a:cubicBezTo>
                    <a:pt x="13264" y="-897"/>
                    <a:pt x="18499" y="2552"/>
                    <a:pt x="19601" y="7908"/>
                  </a:cubicBezTo>
                  <a:cubicBezTo>
                    <a:pt x="20703" y="13265"/>
                    <a:pt x="17255" y="18500"/>
                    <a:pt x="11899" y="19602"/>
                  </a:cubicBezTo>
                  <a:cubicBezTo>
                    <a:pt x="6545" y="20703"/>
                    <a:pt x="1313" y="17258"/>
                    <a:pt x="207" y="11907"/>
                  </a:cubicBezTo>
                  <a:cubicBezTo>
                    <a:pt x="207" y="11904"/>
                    <a:pt x="206" y="11901"/>
                    <a:pt x="206" y="11899"/>
                  </a:cubicBezTo>
                  <a:cubicBezTo>
                    <a:pt x="-897" y="6543"/>
                    <a:pt x="2552" y="1307"/>
                    <a:pt x="7908" y="205"/>
                  </a:cubicBezTo>
                  <a:close/>
                </a:path>
              </a:pathLst>
            </a:custGeom>
            <a:solidFill>
              <a:schemeClr val="accent4"/>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47" name="Shape 683"/>
            <p:cNvSpPr/>
            <p:nvPr/>
          </p:nvSpPr>
          <p:spPr>
            <a:xfrm>
              <a:off x="291291" y="290673"/>
              <a:ext cx="278230" cy="313031"/>
            </a:xfrm>
            <a:custGeom>
              <a:avLst/>
              <a:gdLst/>
              <a:ahLst/>
              <a:cxnLst>
                <a:cxn ang="0">
                  <a:pos x="wd2" y="hd2"/>
                </a:cxn>
                <a:cxn ang="5400000">
                  <a:pos x="wd2" y="hd2"/>
                </a:cxn>
                <a:cxn ang="10800000">
                  <a:pos x="wd2" y="hd2"/>
                </a:cxn>
                <a:cxn ang="16200000">
                  <a:pos x="wd2" y="hd2"/>
                </a:cxn>
              </a:cxnLst>
              <a:rect l="0" t="0" r="r" b="b"/>
              <a:pathLst>
                <a:path w="21600" h="21600" extrusionOk="0">
                  <a:moveTo>
                    <a:pt x="4049" y="14400"/>
                  </a:moveTo>
                  <a:lnTo>
                    <a:pt x="1079" y="14400"/>
                  </a:lnTo>
                  <a:cubicBezTo>
                    <a:pt x="333" y="14400"/>
                    <a:pt x="0" y="14938"/>
                    <a:pt x="0" y="15599"/>
                  </a:cubicBezTo>
                  <a:lnTo>
                    <a:pt x="0" y="21600"/>
                  </a:lnTo>
                  <a:lnTo>
                    <a:pt x="5400" y="21600"/>
                  </a:lnTo>
                  <a:lnTo>
                    <a:pt x="5400" y="15599"/>
                  </a:lnTo>
                  <a:cubicBezTo>
                    <a:pt x="5400" y="14938"/>
                    <a:pt x="4796" y="14400"/>
                    <a:pt x="4049" y="14400"/>
                  </a:cubicBezTo>
                  <a:close/>
                  <a:moveTo>
                    <a:pt x="12150" y="7200"/>
                  </a:moveTo>
                  <a:lnTo>
                    <a:pt x="9180" y="7200"/>
                  </a:lnTo>
                  <a:cubicBezTo>
                    <a:pt x="8434" y="7200"/>
                    <a:pt x="8099" y="7738"/>
                    <a:pt x="8099" y="8401"/>
                  </a:cubicBezTo>
                  <a:lnTo>
                    <a:pt x="8099" y="21600"/>
                  </a:lnTo>
                  <a:lnTo>
                    <a:pt x="13499" y="21600"/>
                  </a:lnTo>
                  <a:lnTo>
                    <a:pt x="13499" y="8401"/>
                  </a:lnTo>
                  <a:cubicBezTo>
                    <a:pt x="13499" y="7738"/>
                    <a:pt x="12895" y="7200"/>
                    <a:pt x="12150" y="7200"/>
                  </a:cubicBezTo>
                  <a:close/>
                  <a:moveTo>
                    <a:pt x="20251" y="0"/>
                  </a:moveTo>
                  <a:lnTo>
                    <a:pt x="17281" y="0"/>
                  </a:lnTo>
                  <a:cubicBezTo>
                    <a:pt x="16534" y="0"/>
                    <a:pt x="16200" y="538"/>
                    <a:pt x="16200" y="1201"/>
                  </a:cubicBezTo>
                  <a:lnTo>
                    <a:pt x="16200" y="21600"/>
                  </a:lnTo>
                  <a:lnTo>
                    <a:pt x="21600" y="21600"/>
                  </a:lnTo>
                  <a:lnTo>
                    <a:pt x="21600" y="1201"/>
                  </a:lnTo>
                  <a:cubicBezTo>
                    <a:pt x="21600" y="538"/>
                    <a:pt x="20995" y="0"/>
                    <a:pt x="20251"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3" name="Group 687"/>
          <p:cNvGrpSpPr/>
          <p:nvPr userDrawn="1"/>
        </p:nvGrpSpPr>
        <p:grpSpPr>
          <a:xfrm>
            <a:off x="7569985" y="4634270"/>
            <a:ext cx="455700" cy="455814"/>
            <a:chOff x="0" y="0"/>
            <a:chExt cx="911635" cy="911627"/>
          </a:xfrm>
        </p:grpSpPr>
        <p:sp>
          <p:nvSpPr>
            <p:cNvPr id="49" name="Shape 685"/>
            <p:cNvSpPr/>
            <p:nvPr/>
          </p:nvSpPr>
          <p:spPr>
            <a:xfrm>
              <a:off x="-1" y="-1"/>
              <a:ext cx="911637" cy="911629"/>
            </a:xfrm>
            <a:custGeom>
              <a:avLst/>
              <a:gdLst/>
              <a:ahLst/>
              <a:cxnLst>
                <a:cxn ang="0">
                  <a:pos x="wd2" y="hd2"/>
                </a:cxn>
                <a:cxn ang="5400000">
                  <a:pos x="wd2" y="hd2"/>
                </a:cxn>
                <a:cxn ang="10800000">
                  <a:pos x="wd2" y="hd2"/>
                </a:cxn>
                <a:cxn ang="16200000">
                  <a:pos x="wd2" y="hd2"/>
                </a:cxn>
              </a:cxnLst>
              <a:rect l="0" t="0" r="r" b="b"/>
              <a:pathLst>
                <a:path w="19807" h="19806" extrusionOk="0">
                  <a:moveTo>
                    <a:pt x="7908" y="205"/>
                  </a:moveTo>
                  <a:cubicBezTo>
                    <a:pt x="13264" y="-897"/>
                    <a:pt x="18500" y="2551"/>
                    <a:pt x="19602" y="7907"/>
                  </a:cubicBezTo>
                  <a:cubicBezTo>
                    <a:pt x="20703" y="13264"/>
                    <a:pt x="17254" y="18499"/>
                    <a:pt x="11899" y="19601"/>
                  </a:cubicBezTo>
                  <a:cubicBezTo>
                    <a:pt x="6545" y="20703"/>
                    <a:pt x="1312" y="17258"/>
                    <a:pt x="207" y="11907"/>
                  </a:cubicBezTo>
                  <a:cubicBezTo>
                    <a:pt x="206" y="11904"/>
                    <a:pt x="206" y="11901"/>
                    <a:pt x="205" y="11898"/>
                  </a:cubicBezTo>
                  <a:cubicBezTo>
                    <a:pt x="-897" y="6542"/>
                    <a:pt x="2552" y="1307"/>
                    <a:pt x="7908" y="205"/>
                  </a:cubicBezTo>
                  <a:close/>
                </a:path>
              </a:pathLst>
            </a:custGeom>
            <a:solidFill>
              <a:schemeClr val="accent2"/>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0" name="Shape 686"/>
            <p:cNvSpPr/>
            <p:nvPr/>
          </p:nvSpPr>
          <p:spPr>
            <a:xfrm>
              <a:off x="259862" y="305627"/>
              <a:ext cx="391913" cy="313520"/>
            </a:xfrm>
            <a:custGeom>
              <a:avLst/>
              <a:gdLst/>
              <a:ahLst/>
              <a:cxnLst>
                <a:cxn ang="0">
                  <a:pos x="wd2" y="hd2"/>
                </a:cxn>
                <a:cxn ang="5400000">
                  <a:pos x="wd2" y="hd2"/>
                </a:cxn>
                <a:cxn ang="10800000">
                  <a:pos x="wd2" y="hd2"/>
                </a:cxn>
                <a:cxn ang="16200000">
                  <a:pos x="wd2" y="hd2"/>
                </a:cxn>
              </a:cxnLst>
              <a:rect l="0" t="0" r="r" b="b"/>
              <a:pathLst>
                <a:path w="21600" h="21600" extrusionOk="0">
                  <a:moveTo>
                    <a:pt x="18143" y="10800"/>
                  </a:moveTo>
                  <a:cubicBezTo>
                    <a:pt x="17065" y="10800"/>
                    <a:pt x="16800" y="11898"/>
                    <a:pt x="16709" y="12419"/>
                  </a:cubicBezTo>
                  <a:cubicBezTo>
                    <a:pt x="16115" y="15817"/>
                    <a:pt x="13696" y="18359"/>
                    <a:pt x="10800" y="18359"/>
                  </a:cubicBezTo>
                  <a:cubicBezTo>
                    <a:pt x="9130" y="18359"/>
                    <a:pt x="7618" y="17514"/>
                    <a:pt x="6524" y="16146"/>
                  </a:cubicBezTo>
                  <a:cubicBezTo>
                    <a:pt x="6018" y="15513"/>
                    <a:pt x="5198" y="15513"/>
                    <a:pt x="4691" y="16146"/>
                  </a:cubicBezTo>
                  <a:cubicBezTo>
                    <a:pt x="4185" y="16779"/>
                    <a:pt x="4185" y="17804"/>
                    <a:pt x="4691" y="18437"/>
                  </a:cubicBezTo>
                  <a:cubicBezTo>
                    <a:pt x="6255" y="20391"/>
                    <a:pt x="8415" y="21600"/>
                    <a:pt x="10800" y="21600"/>
                  </a:cubicBezTo>
                  <a:cubicBezTo>
                    <a:pt x="14669" y="21600"/>
                    <a:pt x="17943" y="18421"/>
                    <a:pt x="19043" y="14039"/>
                  </a:cubicBezTo>
                  <a:lnTo>
                    <a:pt x="21600" y="14039"/>
                  </a:lnTo>
                  <a:lnTo>
                    <a:pt x="21600" y="10800"/>
                  </a:lnTo>
                  <a:cubicBezTo>
                    <a:pt x="21600" y="10800"/>
                    <a:pt x="18143" y="10800"/>
                    <a:pt x="18143" y="10800"/>
                  </a:cubicBezTo>
                  <a:close/>
                  <a:moveTo>
                    <a:pt x="4891" y="9180"/>
                  </a:moveTo>
                  <a:cubicBezTo>
                    <a:pt x="5484" y="5783"/>
                    <a:pt x="7904" y="3240"/>
                    <a:pt x="10800" y="3240"/>
                  </a:cubicBezTo>
                  <a:cubicBezTo>
                    <a:pt x="12470" y="3240"/>
                    <a:pt x="13982" y="4086"/>
                    <a:pt x="15076" y="5454"/>
                  </a:cubicBezTo>
                  <a:cubicBezTo>
                    <a:pt x="15582" y="6086"/>
                    <a:pt x="16404" y="6086"/>
                    <a:pt x="16909" y="5454"/>
                  </a:cubicBezTo>
                  <a:cubicBezTo>
                    <a:pt x="17415" y="4821"/>
                    <a:pt x="17415" y="3796"/>
                    <a:pt x="16909" y="3163"/>
                  </a:cubicBezTo>
                  <a:cubicBezTo>
                    <a:pt x="15346" y="1209"/>
                    <a:pt x="13186" y="0"/>
                    <a:pt x="10800" y="0"/>
                  </a:cubicBezTo>
                  <a:cubicBezTo>
                    <a:pt x="6931" y="0"/>
                    <a:pt x="3658" y="3178"/>
                    <a:pt x="2557" y="7560"/>
                  </a:cubicBezTo>
                  <a:lnTo>
                    <a:pt x="0" y="7560"/>
                  </a:lnTo>
                  <a:lnTo>
                    <a:pt x="0" y="10800"/>
                  </a:lnTo>
                  <a:lnTo>
                    <a:pt x="3457" y="10800"/>
                  </a:lnTo>
                  <a:cubicBezTo>
                    <a:pt x="4535" y="10800"/>
                    <a:pt x="4800" y="9702"/>
                    <a:pt x="4891" y="9180"/>
                  </a:cubicBezTo>
                  <a:close/>
                  <a:moveTo>
                    <a:pt x="7343" y="10800"/>
                  </a:moveTo>
                  <a:cubicBezTo>
                    <a:pt x="7343" y="13185"/>
                    <a:pt x="8891" y="15120"/>
                    <a:pt x="10800" y="15120"/>
                  </a:cubicBezTo>
                  <a:cubicBezTo>
                    <a:pt x="12709" y="15120"/>
                    <a:pt x="14255" y="13185"/>
                    <a:pt x="14255" y="10800"/>
                  </a:cubicBezTo>
                  <a:cubicBezTo>
                    <a:pt x="14255" y="8415"/>
                    <a:pt x="12709" y="6480"/>
                    <a:pt x="10800" y="6480"/>
                  </a:cubicBezTo>
                  <a:cubicBezTo>
                    <a:pt x="8891" y="6480"/>
                    <a:pt x="7343" y="8415"/>
                    <a:pt x="7343" y="1080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4" name="Group 690"/>
          <p:cNvGrpSpPr/>
          <p:nvPr userDrawn="1"/>
        </p:nvGrpSpPr>
        <p:grpSpPr>
          <a:xfrm>
            <a:off x="4527856" y="5478327"/>
            <a:ext cx="455691" cy="455814"/>
            <a:chOff x="0" y="0"/>
            <a:chExt cx="911618" cy="911627"/>
          </a:xfrm>
        </p:grpSpPr>
        <p:sp>
          <p:nvSpPr>
            <p:cNvPr id="52" name="Shape 688"/>
            <p:cNvSpPr/>
            <p:nvPr/>
          </p:nvSpPr>
          <p:spPr>
            <a:xfrm>
              <a:off x="-1" y="-1"/>
              <a:ext cx="911620" cy="911629"/>
            </a:xfrm>
            <a:custGeom>
              <a:avLst/>
              <a:gdLst/>
              <a:ahLst/>
              <a:cxnLst>
                <a:cxn ang="0">
                  <a:pos x="wd2" y="hd2"/>
                </a:cxn>
                <a:cxn ang="5400000">
                  <a:pos x="wd2" y="hd2"/>
                </a:cxn>
                <a:cxn ang="10800000">
                  <a:pos x="wd2" y="hd2"/>
                </a:cxn>
                <a:cxn ang="16200000">
                  <a:pos x="wd2" y="hd2"/>
                </a:cxn>
              </a:cxnLst>
              <a:rect l="0" t="0" r="r" b="b"/>
              <a:pathLst>
                <a:path w="19807" h="19807" extrusionOk="0">
                  <a:moveTo>
                    <a:pt x="7907" y="205"/>
                  </a:moveTo>
                  <a:cubicBezTo>
                    <a:pt x="13264" y="-897"/>
                    <a:pt x="18498" y="2551"/>
                    <a:pt x="19601" y="7908"/>
                  </a:cubicBezTo>
                  <a:cubicBezTo>
                    <a:pt x="20703" y="13264"/>
                    <a:pt x="17254" y="18500"/>
                    <a:pt x="11898" y="19602"/>
                  </a:cubicBezTo>
                  <a:cubicBezTo>
                    <a:pt x="6545" y="20703"/>
                    <a:pt x="1312" y="17258"/>
                    <a:pt x="206" y="11907"/>
                  </a:cubicBezTo>
                  <a:cubicBezTo>
                    <a:pt x="206" y="11904"/>
                    <a:pt x="205" y="11901"/>
                    <a:pt x="204" y="11899"/>
                  </a:cubicBezTo>
                  <a:cubicBezTo>
                    <a:pt x="-897" y="6542"/>
                    <a:pt x="2551" y="1307"/>
                    <a:pt x="7907" y="205"/>
                  </a:cubicBezTo>
                  <a:close/>
                </a:path>
              </a:pathLst>
            </a:custGeom>
            <a:solidFill>
              <a:schemeClr val="accent1"/>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3" name="Shape 689"/>
            <p:cNvSpPr/>
            <p:nvPr/>
          </p:nvSpPr>
          <p:spPr>
            <a:xfrm>
              <a:off x="331710" y="251864"/>
              <a:ext cx="248199" cy="397101"/>
            </a:xfrm>
            <a:custGeom>
              <a:avLst/>
              <a:gdLst/>
              <a:ahLst/>
              <a:cxnLst>
                <a:cxn ang="0">
                  <a:pos x="wd2" y="hd2"/>
                </a:cxn>
                <a:cxn ang="5400000">
                  <a:pos x="wd2" y="hd2"/>
                </a:cxn>
                <a:cxn ang="10800000">
                  <a:pos x="wd2" y="hd2"/>
                </a:cxn>
                <a:cxn ang="16200000">
                  <a:pos x="wd2" y="hd2"/>
                </a:cxn>
              </a:cxnLst>
              <a:rect l="0" t="0" r="r" b="b"/>
              <a:pathLst>
                <a:path w="21600" h="21600" extrusionOk="0">
                  <a:moveTo>
                    <a:pt x="10801" y="10476"/>
                  </a:moveTo>
                  <a:cubicBezTo>
                    <a:pt x="7579" y="10476"/>
                    <a:pt x="4968" y="8844"/>
                    <a:pt x="4968" y="6831"/>
                  </a:cubicBezTo>
                  <a:cubicBezTo>
                    <a:pt x="4968" y="4818"/>
                    <a:pt x="7579" y="3186"/>
                    <a:pt x="10801" y="3186"/>
                  </a:cubicBezTo>
                  <a:cubicBezTo>
                    <a:pt x="14021" y="3186"/>
                    <a:pt x="16632" y="4818"/>
                    <a:pt x="16632" y="6831"/>
                  </a:cubicBezTo>
                  <a:cubicBezTo>
                    <a:pt x="16632" y="8844"/>
                    <a:pt x="14021" y="10476"/>
                    <a:pt x="10801" y="10476"/>
                  </a:cubicBezTo>
                  <a:close/>
                  <a:moveTo>
                    <a:pt x="10801" y="0"/>
                  </a:moveTo>
                  <a:cubicBezTo>
                    <a:pt x="4835" y="0"/>
                    <a:pt x="0" y="3022"/>
                    <a:pt x="0" y="6749"/>
                  </a:cubicBezTo>
                  <a:cubicBezTo>
                    <a:pt x="0" y="13195"/>
                    <a:pt x="10801" y="21600"/>
                    <a:pt x="10801" y="21600"/>
                  </a:cubicBezTo>
                  <a:cubicBezTo>
                    <a:pt x="10801" y="21600"/>
                    <a:pt x="21600" y="13195"/>
                    <a:pt x="21600" y="6749"/>
                  </a:cubicBezTo>
                  <a:cubicBezTo>
                    <a:pt x="21600" y="3022"/>
                    <a:pt x="16765" y="0"/>
                    <a:pt x="10801"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5" name="Group 693"/>
          <p:cNvGrpSpPr/>
          <p:nvPr userDrawn="1"/>
        </p:nvGrpSpPr>
        <p:grpSpPr>
          <a:xfrm>
            <a:off x="7569995" y="5478327"/>
            <a:ext cx="455680" cy="455814"/>
            <a:chOff x="0" y="0"/>
            <a:chExt cx="911596" cy="911627"/>
          </a:xfrm>
        </p:grpSpPr>
        <p:sp>
          <p:nvSpPr>
            <p:cNvPr id="55" name="Shape 691"/>
            <p:cNvSpPr/>
            <p:nvPr/>
          </p:nvSpPr>
          <p:spPr>
            <a:xfrm>
              <a:off x="-1" y="0"/>
              <a:ext cx="911598" cy="911628"/>
            </a:xfrm>
            <a:custGeom>
              <a:avLst/>
              <a:gdLst/>
              <a:ahLst/>
              <a:cxnLst>
                <a:cxn ang="0">
                  <a:pos x="wd2" y="hd2"/>
                </a:cxn>
                <a:cxn ang="5400000">
                  <a:pos x="wd2" y="hd2"/>
                </a:cxn>
                <a:cxn ang="10800000">
                  <a:pos x="wd2" y="hd2"/>
                </a:cxn>
                <a:cxn ang="16200000">
                  <a:pos x="wd2" y="hd2"/>
                </a:cxn>
              </a:cxnLst>
              <a:rect l="0" t="0" r="r" b="b"/>
              <a:pathLst>
                <a:path w="19806" h="19806" extrusionOk="0">
                  <a:moveTo>
                    <a:pt x="11898" y="19600"/>
                  </a:moveTo>
                  <a:cubicBezTo>
                    <a:pt x="6542" y="20703"/>
                    <a:pt x="1307" y="17254"/>
                    <a:pt x="205" y="11898"/>
                  </a:cubicBezTo>
                  <a:cubicBezTo>
                    <a:pt x="-897" y="6542"/>
                    <a:pt x="2551" y="1307"/>
                    <a:pt x="7908" y="205"/>
                  </a:cubicBezTo>
                  <a:cubicBezTo>
                    <a:pt x="13261" y="-897"/>
                    <a:pt x="18494" y="2548"/>
                    <a:pt x="19599" y="7899"/>
                  </a:cubicBezTo>
                  <a:cubicBezTo>
                    <a:pt x="19600" y="7902"/>
                    <a:pt x="19600" y="7905"/>
                    <a:pt x="19600" y="7907"/>
                  </a:cubicBezTo>
                  <a:cubicBezTo>
                    <a:pt x="20703" y="13263"/>
                    <a:pt x="17254" y="18499"/>
                    <a:pt x="11898" y="19600"/>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6" name="Shape 692"/>
            <p:cNvSpPr/>
            <p:nvPr/>
          </p:nvSpPr>
          <p:spPr>
            <a:xfrm>
              <a:off x="295953" y="290581"/>
              <a:ext cx="319690" cy="319667"/>
            </a:xfrm>
            <a:custGeom>
              <a:avLst/>
              <a:gdLst/>
              <a:ahLst/>
              <a:cxnLst>
                <a:cxn ang="0">
                  <a:pos x="wd2" y="hd2"/>
                </a:cxn>
                <a:cxn ang="5400000">
                  <a:pos x="wd2" y="hd2"/>
                </a:cxn>
                <a:cxn ang="10800000">
                  <a:pos x="wd2" y="hd2"/>
                </a:cxn>
                <a:cxn ang="16200000">
                  <a:pos x="wd2" y="hd2"/>
                </a:cxn>
              </a:cxnLst>
              <a:rect l="0" t="0" r="r" b="b"/>
              <a:pathLst>
                <a:path w="21600" h="21600" extrusionOk="0">
                  <a:moveTo>
                    <a:pt x="10800" y="15497"/>
                  </a:moveTo>
                  <a:cubicBezTo>
                    <a:pt x="8207" y="15497"/>
                    <a:pt x="6104" y="13394"/>
                    <a:pt x="6104" y="10801"/>
                  </a:cubicBezTo>
                  <a:cubicBezTo>
                    <a:pt x="6104" y="8206"/>
                    <a:pt x="8207" y="6103"/>
                    <a:pt x="10800" y="6103"/>
                  </a:cubicBezTo>
                  <a:cubicBezTo>
                    <a:pt x="13395" y="6103"/>
                    <a:pt x="15497" y="8206"/>
                    <a:pt x="15497" y="10801"/>
                  </a:cubicBezTo>
                  <a:cubicBezTo>
                    <a:pt x="15497" y="13394"/>
                    <a:pt x="13395" y="15497"/>
                    <a:pt x="10800" y="15497"/>
                  </a:cubicBezTo>
                  <a:close/>
                  <a:moveTo>
                    <a:pt x="19522" y="10801"/>
                  </a:moveTo>
                  <a:cubicBezTo>
                    <a:pt x="19522" y="9454"/>
                    <a:pt x="20352" y="8390"/>
                    <a:pt x="21600" y="7659"/>
                  </a:cubicBezTo>
                  <a:cubicBezTo>
                    <a:pt x="21376" y="6908"/>
                    <a:pt x="21077" y="6187"/>
                    <a:pt x="20711" y="5509"/>
                  </a:cubicBezTo>
                  <a:cubicBezTo>
                    <a:pt x="19310" y="5876"/>
                    <a:pt x="18177" y="5328"/>
                    <a:pt x="17225" y="4375"/>
                  </a:cubicBezTo>
                  <a:cubicBezTo>
                    <a:pt x="16273" y="3423"/>
                    <a:pt x="15982" y="2288"/>
                    <a:pt x="16347" y="889"/>
                  </a:cubicBezTo>
                  <a:cubicBezTo>
                    <a:pt x="15671" y="522"/>
                    <a:pt x="14951" y="225"/>
                    <a:pt x="14198" y="0"/>
                  </a:cubicBezTo>
                  <a:cubicBezTo>
                    <a:pt x="13467" y="1248"/>
                    <a:pt x="12147" y="2078"/>
                    <a:pt x="10800" y="2078"/>
                  </a:cubicBezTo>
                  <a:cubicBezTo>
                    <a:pt x="9453" y="2078"/>
                    <a:pt x="8134" y="1248"/>
                    <a:pt x="7403" y="0"/>
                  </a:cubicBezTo>
                  <a:cubicBezTo>
                    <a:pt x="6651" y="225"/>
                    <a:pt x="5931" y="522"/>
                    <a:pt x="5253" y="889"/>
                  </a:cubicBezTo>
                  <a:cubicBezTo>
                    <a:pt x="5620" y="2288"/>
                    <a:pt x="5329" y="3422"/>
                    <a:pt x="4375" y="4375"/>
                  </a:cubicBezTo>
                  <a:cubicBezTo>
                    <a:pt x="3423" y="5328"/>
                    <a:pt x="2290" y="5876"/>
                    <a:pt x="890" y="5510"/>
                  </a:cubicBezTo>
                  <a:cubicBezTo>
                    <a:pt x="523" y="6187"/>
                    <a:pt x="224" y="6908"/>
                    <a:pt x="0" y="7659"/>
                  </a:cubicBezTo>
                  <a:cubicBezTo>
                    <a:pt x="1249" y="8390"/>
                    <a:pt x="2078" y="9454"/>
                    <a:pt x="2078" y="10801"/>
                  </a:cubicBezTo>
                  <a:cubicBezTo>
                    <a:pt x="2078" y="12146"/>
                    <a:pt x="1249" y="13467"/>
                    <a:pt x="0" y="14198"/>
                  </a:cubicBezTo>
                  <a:cubicBezTo>
                    <a:pt x="224" y="14950"/>
                    <a:pt x="523" y="15670"/>
                    <a:pt x="890" y="16348"/>
                  </a:cubicBezTo>
                  <a:cubicBezTo>
                    <a:pt x="2290" y="15981"/>
                    <a:pt x="3423" y="16272"/>
                    <a:pt x="4375" y="17226"/>
                  </a:cubicBezTo>
                  <a:cubicBezTo>
                    <a:pt x="5327" y="18178"/>
                    <a:pt x="5620" y="19312"/>
                    <a:pt x="5253" y="20711"/>
                  </a:cubicBezTo>
                  <a:cubicBezTo>
                    <a:pt x="5931" y="21078"/>
                    <a:pt x="6651" y="21377"/>
                    <a:pt x="7403" y="21600"/>
                  </a:cubicBezTo>
                  <a:cubicBezTo>
                    <a:pt x="8134" y="20352"/>
                    <a:pt x="9453" y="19524"/>
                    <a:pt x="10800" y="19524"/>
                  </a:cubicBezTo>
                  <a:cubicBezTo>
                    <a:pt x="12147" y="19524"/>
                    <a:pt x="13467" y="20352"/>
                    <a:pt x="14198" y="21600"/>
                  </a:cubicBezTo>
                  <a:cubicBezTo>
                    <a:pt x="14951" y="21376"/>
                    <a:pt x="15671" y="21078"/>
                    <a:pt x="16349" y="20711"/>
                  </a:cubicBezTo>
                  <a:cubicBezTo>
                    <a:pt x="15982" y="19312"/>
                    <a:pt x="16273" y="18178"/>
                    <a:pt x="17225" y="17226"/>
                  </a:cubicBezTo>
                  <a:cubicBezTo>
                    <a:pt x="18177" y="16272"/>
                    <a:pt x="19310" y="15724"/>
                    <a:pt x="20711" y="16091"/>
                  </a:cubicBezTo>
                  <a:cubicBezTo>
                    <a:pt x="21077" y="15413"/>
                    <a:pt x="21376" y="14693"/>
                    <a:pt x="21600" y="13941"/>
                  </a:cubicBezTo>
                  <a:cubicBezTo>
                    <a:pt x="20352" y="13210"/>
                    <a:pt x="19522" y="12146"/>
                    <a:pt x="19522" y="10801"/>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57" name="Picture Placeholder 2"/>
          <p:cNvSpPr>
            <a:spLocks noGrp="1"/>
          </p:cNvSpPr>
          <p:nvPr>
            <p:ph type="pic" sz="quarter" idx="23"/>
          </p:nvPr>
        </p:nvSpPr>
        <p:spPr>
          <a:xfrm>
            <a:off x="2139597" y="2747968"/>
            <a:ext cx="1550332" cy="2828912"/>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59" name="Content Placeholder 20"/>
          <p:cNvSpPr>
            <a:spLocks noGrp="1"/>
          </p:cNvSpPr>
          <p:nvPr>
            <p:ph sz="quarter" idx="25"/>
          </p:nvPr>
        </p:nvSpPr>
        <p:spPr>
          <a:xfrm>
            <a:off x="5256212" y="4659024"/>
            <a:ext cx="16764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60" name="Text Placeholder 17"/>
          <p:cNvSpPr>
            <a:spLocks noGrp="1"/>
          </p:cNvSpPr>
          <p:nvPr>
            <p:ph type="body" sz="quarter" idx="26"/>
          </p:nvPr>
        </p:nvSpPr>
        <p:spPr>
          <a:xfrm>
            <a:off x="5256212" y="4887624"/>
            <a:ext cx="1981200" cy="359306"/>
          </a:xfrm>
        </p:spPr>
        <p:txBody>
          <a:bodyPr lIns="0" tIns="0" rIns="0" bIns="0">
            <a:normAutofit/>
          </a:bodyPr>
          <a:lstStyle>
            <a:lvl1pPr marL="0" indent="0" algn="l">
              <a:lnSpc>
                <a:spcPct val="1500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61" name="Content Placeholder 20"/>
          <p:cNvSpPr>
            <a:spLocks noGrp="1"/>
          </p:cNvSpPr>
          <p:nvPr>
            <p:ph sz="quarter" idx="27"/>
          </p:nvPr>
        </p:nvSpPr>
        <p:spPr>
          <a:xfrm>
            <a:off x="5256212" y="5503081"/>
            <a:ext cx="16764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62" name="Text Placeholder 17"/>
          <p:cNvSpPr>
            <a:spLocks noGrp="1"/>
          </p:cNvSpPr>
          <p:nvPr>
            <p:ph type="body" sz="quarter" idx="28"/>
          </p:nvPr>
        </p:nvSpPr>
        <p:spPr>
          <a:xfrm>
            <a:off x="5256212" y="5731681"/>
            <a:ext cx="1981200" cy="359306"/>
          </a:xfrm>
        </p:spPr>
        <p:txBody>
          <a:bodyPr lIns="0" tIns="0" rIns="0" bIns="0">
            <a:normAutofit/>
          </a:bodyPr>
          <a:lstStyle>
            <a:lvl1pPr marL="0" indent="0" algn="l">
              <a:lnSpc>
                <a:spcPct val="1500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63" name="Content Placeholder 20"/>
          <p:cNvSpPr>
            <a:spLocks noGrp="1"/>
          </p:cNvSpPr>
          <p:nvPr>
            <p:ph sz="quarter" idx="29"/>
          </p:nvPr>
        </p:nvSpPr>
        <p:spPr>
          <a:xfrm>
            <a:off x="8228012" y="4664037"/>
            <a:ext cx="16764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64" name="Text Placeholder 17"/>
          <p:cNvSpPr>
            <a:spLocks noGrp="1"/>
          </p:cNvSpPr>
          <p:nvPr>
            <p:ph type="body" sz="quarter" idx="30"/>
          </p:nvPr>
        </p:nvSpPr>
        <p:spPr>
          <a:xfrm>
            <a:off x="8228012" y="4892637"/>
            <a:ext cx="1981200" cy="359306"/>
          </a:xfrm>
        </p:spPr>
        <p:txBody>
          <a:bodyPr lIns="0" tIns="0" rIns="0" bIns="0">
            <a:normAutofit/>
          </a:bodyPr>
          <a:lstStyle>
            <a:lvl1pPr marL="0" indent="0" algn="l">
              <a:lnSpc>
                <a:spcPct val="1500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65" name="Content Placeholder 20"/>
          <p:cNvSpPr>
            <a:spLocks noGrp="1"/>
          </p:cNvSpPr>
          <p:nvPr>
            <p:ph sz="quarter" idx="31"/>
          </p:nvPr>
        </p:nvSpPr>
        <p:spPr>
          <a:xfrm>
            <a:off x="8228012" y="5508094"/>
            <a:ext cx="16764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66" name="Text Placeholder 17"/>
          <p:cNvSpPr>
            <a:spLocks noGrp="1"/>
          </p:cNvSpPr>
          <p:nvPr>
            <p:ph type="body" sz="quarter" idx="32"/>
          </p:nvPr>
        </p:nvSpPr>
        <p:spPr>
          <a:xfrm>
            <a:off x="8228012" y="5736694"/>
            <a:ext cx="1981200" cy="359306"/>
          </a:xfrm>
        </p:spPr>
        <p:txBody>
          <a:bodyPr lIns="0" tIns="0" rIns="0" bIns="0">
            <a:normAutofit/>
          </a:bodyPr>
          <a:lstStyle>
            <a:lvl1pPr marL="0" indent="0" algn="l">
              <a:lnSpc>
                <a:spcPct val="150000"/>
              </a:lnSpc>
              <a:spcBef>
                <a:spcPts val="1500"/>
              </a:spcBef>
              <a:buNone/>
              <a:defRPr sz="1000">
                <a:solidFill>
                  <a:schemeClr val="tx1">
                    <a:lumMod val="65000"/>
                    <a:lumOff val="35000"/>
                  </a:schemeClr>
                </a:solidFill>
                <a:latin typeface="Source Sans Pro Light"/>
              </a:defRPr>
            </a:lvl1pPr>
          </a:lstStyle>
          <a:p>
            <a:pPr lvl="0"/>
            <a:endParaRPr lang="en-US" dirty="0"/>
          </a:p>
        </p:txBody>
      </p:sp>
    </p:spTree>
    <p:extLst>
      <p:ext uri="{BB962C8B-B14F-4D97-AF65-F5344CB8AC3E}">
        <p14:creationId xmlns:p14="http://schemas.microsoft.com/office/powerpoint/2010/main" val="84583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wipe(up)">
                                      <p:cBhvr>
                                        <p:cTn id="15" dur="500"/>
                                        <p:tgtEl>
                                          <p:spTgt spid="93"/>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9" presetClass="entr" presetSubtype="0" fill="hold" grpId="0" nodeType="afterEffect" nodePh="1">
                                  <p:stCondLst>
                                    <p:cond delay="0"/>
                                  </p:stCondLst>
                                  <p:endCondLst>
                                    <p:cond evt="begin" delay="0">
                                      <p:tn val="21"/>
                                    </p:cond>
                                  </p:end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dissolve">
                                      <p:cBhvr>
                                        <p:cTn id="23" dur="500"/>
                                        <p:tgtEl>
                                          <p:spTgt spid="9">
                                            <p:txEl>
                                              <p:pRg st="0" end="0"/>
                                            </p:txEl>
                                          </p:spTgt>
                                        </p:tgtEl>
                                      </p:cBhvr>
                                    </p:animEffect>
                                  </p:childTnLst>
                                </p:cTn>
                              </p:par>
                            </p:childTnLst>
                          </p:cTn>
                        </p:par>
                        <p:par>
                          <p:cTn id="24" fill="hold">
                            <p:stCondLst>
                              <p:cond delay="2500"/>
                            </p:stCondLst>
                            <p:childTnLst>
                              <p:par>
                                <p:cTn id="25" presetID="9"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dissolve">
                                      <p:cBhvr>
                                        <p:cTn id="27" dur="500"/>
                                        <p:tgtEl>
                                          <p:spTgt spid="10">
                                            <p:txEl>
                                              <p:pRg st="0" end="0"/>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par>
                          <p:cTn id="32" fill="hold">
                            <p:stCondLst>
                              <p:cond delay="35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59">
                                            <p:txEl>
                                              <p:pRg st="0" end="0"/>
                                            </p:txEl>
                                          </p:spTgt>
                                        </p:tgtEl>
                                        <p:attrNameLst>
                                          <p:attrName>style.visibility</p:attrName>
                                        </p:attrNameLst>
                                      </p:cBhvr>
                                      <p:to>
                                        <p:strVal val="visible"/>
                                      </p:to>
                                    </p:set>
                                    <p:animEffect transition="in" filter="fade">
                                      <p:cBhvr>
                                        <p:cTn id="35" dur="500"/>
                                        <p:tgtEl>
                                          <p:spTgt spid="59">
                                            <p:txEl>
                                              <p:pRg st="0" end="0"/>
                                            </p:txEl>
                                          </p:spTgt>
                                        </p:tgtEl>
                                      </p:cBhvr>
                                    </p:animEffect>
                                  </p:childTnLst>
                                </p:cTn>
                              </p:par>
                              <p:par>
                                <p:cTn id="36" presetID="10" presetClass="entr" presetSubtype="0" fill="hold" grpId="0" nodeType="withEffect" nodePh="1">
                                  <p:stCondLst>
                                    <p:cond delay="0"/>
                                  </p:stCondLst>
                                  <p:endCondLst>
                                    <p:cond evt="begin" delay="0">
                                      <p:tn val="36"/>
                                    </p:cond>
                                  </p:endCondLst>
                                  <p:childTnLst>
                                    <p:set>
                                      <p:cBhvr>
                                        <p:cTn id="37" dur="1" fill="hold">
                                          <p:stCondLst>
                                            <p:cond delay="0"/>
                                          </p:stCondLst>
                                        </p:cTn>
                                        <p:tgtEl>
                                          <p:spTgt spid="60">
                                            <p:txEl>
                                              <p:pRg st="0" end="0"/>
                                            </p:txEl>
                                          </p:spTgt>
                                        </p:tgtEl>
                                        <p:attrNameLst>
                                          <p:attrName>style.visibility</p:attrName>
                                        </p:attrNameLst>
                                      </p:cBhvr>
                                      <p:to>
                                        <p:strVal val="visible"/>
                                      </p:to>
                                    </p:set>
                                    <p:animEffect transition="in" filter="fade">
                                      <p:cBhvr>
                                        <p:cTn id="38" dur="500"/>
                                        <p:tgtEl>
                                          <p:spTgt spid="60">
                                            <p:txEl>
                                              <p:pRg st="0" end="0"/>
                                            </p:txEl>
                                          </p:spTgt>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par>
                          <p:cTn id="43" fill="hold">
                            <p:stCondLst>
                              <p:cond delay="4500"/>
                            </p:stCondLst>
                            <p:childTnLst>
                              <p:par>
                                <p:cTn id="44" presetID="10" presetClass="entr" presetSubtype="0" fill="hold" grpId="0" nodeType="afterEffect" nodePh="1">
                                  <p:stCondLst>
                                    <p:cond delay="0"/>
                                  </p:stCondLst>
                                  <p:endCondLst>
                                    <p:cond evt="begin" delay="0">
                                      <p:tn val="44"/>
                                    </p:cond>
                                  </p:endCondLst>
                                  <p:childTnLst>
                                    <p:set>
                                      <p:cBhvr>
                                        <p:cTn id="45" dur="1" fill="hold">
                                          <p:stCondLst>
                                            <p:cond delay="0"/>
                                          </p:stCondLst>
                                        </p:cTn>
                                        <p:tgtEl>
                                          <p:spTgt spid="63">
                                            <p:txEl>
                                              <p:pRg st="0" end="0"/>
                                            </p:txEl>
                                          </p:spTgt>
                                        </p:tgtEl>
                                        <p:attrNameLst>
                                          <p:attrName>style.visibility</p:attrName>
                                        </p:attrNameLst>
                                      </p:cBhvr>
                                      <p:to>
                                        <p:strVal val="visible"/>
                                      </p:to>
                                    </p:set>
                                    <p:animEffect transition="in" filter="fade">
                                      <p:cBhvr>
                                        <p:cTn id="46" dur="500"/>
                                        <p:tgtEl>
                                          <p:spTgt spid="63">
                                            <p:txEl>
                                              <p:pRg st="0" end="0"/>
                                            </p:txEl>
                                          </p:spTgt>
                                        </p:tgtEl>
                                      </p:cBhvr>
                                    </p:animEffect>
                                  </p:childTnLst>
                                </p:cTn>
                              </p:par>
                              <p:par>
                                <p:cTn id="47" presetID="10" presetClass="entr" presetSubtype="0" fill="hold" grpId="0" nodeType="withEffect" nodePh="1">
                                  <p:stCondLst>
                                    <p:cond delay="0"/>
                                  </p:stCondLst>
                                  <p:endCondLst>
                                    <p:cond evt="begin" delay="0">
                                      <p:tn val="47"/>
                                    </p:cond>
                                  </p:endCondLst>
                                  <p:childTnLst>
                                    <p:set>
                                      <p:cBhvr>
                                        <p:cTn id="48" dur="1" fill="hold">
                                          <p:stCondLst>
                                            <p:cond delay="0"/>
                                          </p:stCondLst>
                                        </p:cTn>
                                        <p:tgtEl>
                                          <p:spTgt spid="64">
                                            <p:txEl>
                                              <p:pRg st="0" end="0"/>
                                            </p:txEl>
                                          </p:spTgt>
                                        </p:tgtEl>
                                        <p:attrNameLst>
                                          <p:attrName>style.visibility</p:attrName>
                                        </p:attrNameLst>
                                      </p:cBhvr>
                                      <p:to>
                                        <p:strVal val="visible"/>
                                      </p:to>
                                    </p:set>
                                    <p:animEffect transition="in" filter="fade">
                                      <p:cBhvr>
                                        <p:cTn id="49" dur="500"/>
                                        <p:tgtEl>
                                          <p:spTgt spid="64">
                                            <p:txEl>
                                              <p:pRg st="0" end="0"/>
                                            </p:txEl>
                                          </p:spTgt>
                                        </p:tgtEl>
                                      </p:cBhvr>
                                    </p:animEffect>
                                  </p:childTnLst>
                                </p:cTn>
                              </p:par>
                            </p:childTnLst>
                          </p:cTn>
                        </p:par>
                        <p:par>
                          <p:cTn id="50" fill="hold">
                            <p:stCondLst>
                              <p:cond delay="5000"/>
                            </p:stCondLst>
                            <p:childTnLst>
                              <p:par>
                                <p:cTn id="51" presetID="10" presetClass="entr" presetSubtype="0" fill="hold"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500"/>
                                        <p:tgtEl>
                                          <p:spTgt spid="4"/>
                                        </p:tgtEl>
                                      </p:cBhvr>
                                    </p:animEffect>
                                  </p:childTnLst>
                                </p:cTn>
                              </p:par>
                            </p:childTnLst>
                          </p:cTn>
                        </p:par>
                        <p:par>
                          <p:cTn id="54" fill="hold">
                            <p:stCondLst>
                              <p:cond delay="5500"/>
                            </p:stCondLst>
                            <p:childTnLst>
                              <p:par>
                                <p:cTn id="55" presetID="10" presetClass="entr" presetSubtype="0" fill="hold" grpId="0" nodeType="afterEffect" nodePh="1">
                                  <p:stCondLst>
                                    <p:cond delay="0"/>
                                  </p:stCondLst>
                                  <p:endCondLst>
                                    <p:cond evt="begin" delay="0">
                                      <p:tn val="55"/>
                                    </p:cond>
                                  </p:endCondLst>
                                  <p:childTnLst>
                                    <p:set>
                                      <p:cBhvr>
                                        <p:cTn id="56" dur="1" fill="hold">
                                          <p:stCondLst>
                                            <p:cond delay="0"/>
                                          </p:stCondLst>
                                        </p:cTn>
                                        <p:tgtEl>
                                          <p:spTgt spid="61">
                                            <p:txEl>
                                              <p:pRg st="0" end="0"/>
                                            </p:txEl>
                                          </p:spTgt>
                                        </p:tgtEl>
                                        <p:attrNameLst>
                                          <p:attrName>style.visibility</p:attrName>
                                        </p:attrNameLst>
                                      </p:cBhvr>
                                      <p:to>
                                        <p:strVal val="visible"/>
                                      </p:to>
                                    </p:set>
                                    <p:animEffect transition="in" filter="fade">
                                      <p:cBhvr>
                                        <p:cTn id="57" dur="500"/>
                                        <p:tgtEl>
                                          <p:spTgt spid="61">
                                            <p:txEl>
                                              <p:pRg st="0" end="0"/>
                                            </p:txEl>
                                          </p:spTgt>
                                        </p:tgtEl>
                                      </p:cBhvr>
                                    </p:animEffect>
                                  </p:childTnLst>
                                </p:cTn>
                              </p:par>
                              <p:par>
                                <p:cTn id="58" presetID="10" presetClass="entr" presetSubtype="0" fill="hold" grpId="0" nodeType="withEffect" nodePh="1">
                                  <p:stCondLst>
                                    <p:cond delay="0"/>
                                  </p:stCondLst>
                                  <p:endCondLst>
                                    <p:cond evt="begin" delay="0">
                                      <p:tn val="58"/>
                                    </p:cond>
                                  </p:endCondLst>
                                  <p:childTnLst>
                                    <p:set>
                                      <p:cBhvr>
                                        <p:cTn id="59" dur="1" fill="hold">
                                          <p:stCondLst>
                                            <p:cond delay="0"/>
                                          </p:stCondLst>
                                        </p:cTn>
                                        <p:tgtEl>
                                          <p:spTgt spid="62">
                                            <p:txEl>
                                              <p:pRg st="0" end="0"/>
                                            </p:txEl>
                                          </p:spTgt>
                                        </p:tgtEl>
                                        <p:attrNameLst>
                                          <p:attrName>style.visibility</p:attrName>
                                        </p:attrNameLst>
                                      </p:cBhvr>
                                      <p:to>
                                        <p:strVal val="visible"/>
                                      </p:to>
                                    </p:set>
                                    <p:animEffect transition="in" filter="fade">
                                      <p:cBhvr>
                                        <p:cTn id="60" dur="500"/>
                                        <p:tgtEl>
                                          <p:spTgt spid="62">
                                            <p:txEl>
                                              <p:pRg st="0" end="0"/>
                                            </p:txEl>
                                          </p:spTgt>
                                        </p:tgtEl>
                                      </p:cBhvr>
                                    </p:animEffect>
                                  </p:childTnLst>
                                </p:cTn>
                              </p:par>
                            </p:childTnLst>
                          </p:cTn>
                        </p:par>
                        <p:par>
                          <p:cTn id="61" fill="hold">
                            <p:stCondLst>
                              <p:cond delay="6000"/>
                            </p:stCondLst>
                            <p:childTnLst>
                              <p:par>
                                <p:cTn id="62" presetID="10" presetClass="entr" presetSubtype="0" fill="hold" nodeType="after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500"/>
                                        <p:tgtEl>
                                          <p:spTgt spid="5"/>
                                        </p:tgtEl>
                                      </p:cBhvr>
                                    </p:animEffect>
                                  </p:childTnLst>
                                </p:cTn>
                              </p:par>
                            </p:childTnLst>
                          </p:cTn>
                        </p:par>
                        <p:par>
                          <p:cTn id="65" fill="hold">
                            <p:stCondLst>
                              <p:cond delay="6500"/>
                            </p:stCondLst>
                            <p:childTnLst>
                              <p:par>
                                <p:cTn id="66" presetID="10" presetClass="entr" presetSubtype="0" fill="hold" grpId="0" nodeType="afterEffect" nodePh="1">
                                  <p:stCondLst>
                                    <p:cond delay="0"/>
                                  </p:stCondLst>
                                  <p:endCondLst>
                                    <p:cond evt="begin" delay="0">
                                      <p:tn val="66"/>
                                    </p:cond>
                                  </p:endCondLst>
                                  <p:childTnLst>
                                    <p:set>
                                      <p:cBhvr>
                                        <p:cTn id="67" dur="1" fill="hold">
                                          <p:stCondLst>
                                            <p:cond delay="0"/>
                                          </p:stCondLst>
                                        </p:cTn>
                                        <p:tgtEl>
                                          <p:spTgt spid="65">
                                            <p:txEl>
                                              <p:pRg st="0" end="0"/>
                                            </p:txEl>
                                          </p:spTgt>
                                        </p:tgtEl>
                                        <p:attrNameLst>
                                          <p:attrName>style.visibility</p:attrName>
                                        </p:attrNameLst>
                                      </p:cBhvr>
                                      <p:to>
                                        <p:strVal val="visible"/>
                                      </p:to>
                                    </p:set>
                                    <p:animEffect transition="in" filter="fade">
                                      <p:cBhvr>
                                        <p:cTn id="68" dur="500"/>
                                        <p:tgtEl>
                                          <p:spTgt spid="65">
                                            <p:txEl>
                                              <p:pRg st="0" end="0"/>
                                            </p:txEl>
                                          </p:spTgt>
                                        </p:tgtEl>
                                      </p:cBhvr>
                                    </p:animEffect>
                                  </p:childTnLst>
                                </p:cTn>
                              </p:par>
                              <p:par>
                                <p:cTn id="69" presetID="10" presetClass="entr" presetSubtype="0" fill="hold" grpId="0" nodeType="withEffect" nodePh="1">
                                  <p:stCondLst>
                                    <p:cond delay="0"/>
                                  </p:stCondLst>
                                  <p:endCondLst>
                                    <p:cond evt="begin" delay="0">
                                      <p:tn val="69"/>
                                    </p:cond>
                                  </p:endCondLst>
                                  <p:childTnLst>
                                    <p:set>
                                      <p:cBhvr>
                                        <p:cTn id="70" dur="1" fill="hold">
                                          <p:stCondLst>
                                            <p:cond delay="0"/>
                                          </p:stCondLst>
                                        </p:cTn>
                                        <p:tgtEl>
                                          <p:spTgt spid="66">
                                            <p:txEl>
                                              <p:pRg st="0" end="0"/>
                                            </p:txEl>
                                          </p:spTgt>
                                        </p:tgtEl>
                                        <p:attrNameLst>
                                          <p:attrName>style.visibility</p:attrName>
                                        </p:attrNameLst>
                                      </p:cBhvr>
                                      <p:to>
                                        <p:strVal val="visible"/>
                                      </p:to>
                                    </p:set>
                                    <p:animEffect transition="in" filter="fade">
                                      <p:cBhvr>
                                        <p:cTn id="71" dur="500"/>
                                        <p:tgtEl>
                                          <p:spTgt spid="6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59"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59"/>
                        </p:tgtEl>
                        <p:attrNameLst>
                          <p:attrName>style.visibility</p:attrName>
                        </p:attrNameLst>
                      </p:cBhvr>
                      <p:to>
                        <p:strVal val="visible"/>
                      </p:to>
                    </p:set>
                    <p:animEffect transition="in" filter="fade">
                      <p:cBhvr>
                        <p:cTn dur="500"/>
                        <p:tgtEl>
                          <p:spTgt spid="59"/>
                        </p:tgtEl>
                      </p:cBhvr>
                    </p:animEffect>
                  </p:childTnLst>
                </p:cTn>
              </p:par>
            </p:tnLst>
          </p:tmpl>
        </p:tmplLst>
      </p:bldP>
      <p:bldP spid="60"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animEffect transition="in" filter="fade">
                      <p:cBhvr>
                        <p:cTn dur="500"/>
                        <p:tgtEl>
                          <p:spTgt spid="60"/>
                        </p:tgtEl>
                      </p:cBhvr>
                    </p:animEffect>
                  </p:childTnLst>
                </p:cTn>
              </p:par>
            </p:tnLst>
          </p:tmpl>
        </p:tmplLst>
      </p:bldP>
      <p:bldP spid="61"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animEffect transition="in" filter="fade">
                      <p:cBhvr>
                        <p:cTn dur="500"/>
                        <p:tgtEl>
                          <p:spTgt spid="61"/>
                        </p:tgtEl>
                      </p:cBhvr>
                    </p:animEffect>
                  </p:childTnLst>
                </p:cTn>
              </p:par>
            </p:tnLst>
          </p:tmpl>
        </p:tmplLst>
      </p:bldP>
      <p:bldP spid="62"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animEffect transition="in" filter="fade">
                      <p:cBhvr>
                        <p:cTn dur="500"/>
                        <p:tgtEl>
                          <p:spTgt spid="62"/>
                        </p:tgtEl>
                      </p:cBhvr>
                    </p:animEffect>
                  </p:childTnLst>
                </p:cTn>
              </p:par>
            </p:tnLst>
          </p:tmpl>
        </p:tmplLst>
      </p:bldP>
      <p:bldP spid="63"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animEffect transition="in" filter="fade">
                      <p:cBhvr>
                        <p:cTn dur="500"/>
                        <p:tgtEl>
                          <p:spTgt spid="63"/>
                        </p:tgtEl>
                      </p:cBhvr>
                    </p:animEffect>
                  </p:childTnLst>
                </p:cTn>
              </p:par>
            </p:tnLst>
          </p:tmpl>
        </p:tmplLst>
      </p:bldP>
      <p:bldP spid="64"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64"/>
                        </p:tgtEl>
                        <p:attrNameLst>
                          <p:attrName>style.visibility</p:attrName>
                        </p:attrNameLst>
                      </p:cBhvr>
                      <p:to>
                        <p:strVal val="visible"/>
                      </p:to>
                    </p:set>
                    <p:animEffect transition="in" filter="fade">
                      <p:cBhvr>
                        <p:cTn dur="500"/>
                        <p:tgtEl>
                          <p:spTgt spid="64"/>
                        </p:tgtEl>
                      </p:cBhvr>
                    </p:animEffect>
                  </p:childTnLst>
                </p:cTn>
              </p:par>
            </p:tnLst>
          </p:tmpl>
        </p:tmplLst>
      </p:bldP>
      <p:bldP spid="65"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65"/>
                        </p:tgtEl>
                        <p:attrNameLst>
                          <p:attrName>style.visibility</p:attrName>
                        </p:attrNameLst>
                      </p:cBhvr>
                      <p:to>
                        <p:strVal val="visible"/>
                      </p:to>
                    </p:set>
                    <p:animEffect transition="in" filter="fade">
                      <p:cBhvr>
                        <p:cTn dur="500"/>
                        <p:tgtEl>
                          <p:spTgt spid="65"/>
                        </p:tgtEl>
                      </p:cBhvr>
                    </p:animEffect>
                  </p:childTnLst>
                </p:cTn>
              </p:par>
            </p:tnLst>
          </p:tmpl>
        </p:tmplLst>
      </p:bldP>
      <p:bldP spid="66"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18" name="Shape 985"/>
          <p:cNvSpPr/>
          <p:nvPr/>
        </p:nvSpPr>
        <p:spPr>
          <a:xfrm>
            <a:off x="8494425" y="2919553"/>
            <a:ext cx="562574" cy="586899"/>
          </a:xfrm>
          <a:prstGeom prst="rect">
            <a:avLst/>
          </a:prstGeom>
          <a:solidFill>
            <a:schemeClr val="accent2"/>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21" name="Shape 988"/>
          <p:cNvSpPr/>
          <p:nvPr/>
        </p:nvSpPr>
        <p:spPr>
          <a:xfrm>
            <a:off x="4240985" y="2919553"/>
            <a:ext cx="562574" cy="586899"/>
          </a:xfrm>
          <a:prstGeom prst="rect">
            <a:avLst/>
          </a:prstGeom>
          <a:solidFill>
            <a:schemeClr val="accent1"/>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pic>
        <p:nvPicPr>
          <p:cNvPr id="34" name="phone-black.png"/>
          <p:cNvPicPr/>
          <p:nvPr userDrawn="1"/>
        </p:nvPicPr>
        <p:blipFill>
          <a:blip r:embed="rId2" cstate="print">
            <a:extLst/>
          </a:blip>
          <a:stretch>
            <a:fillRect/>
          </a:stretch>
        </p:blipFill>
        <p:spPr>
          <a:xfrm>
            <a:off x="1939895" y="2076141"/>
            <a:ext cx="1877582" cy="3715059"/>
          </a:xfrm>
          <a:prstGeom prst="rect">
            <a:avLst/>
          </a:prstGeom>
          <a:ln w="12700">
            <a:miter lim="400000"/>
          </a:ln>
        </p:spPr>
      </p:pic>
      <p:pic>
        <p:nvPicPr>
          <p:cNvPr id="36" name="phone-white.png"/>
          <p:cNvPicPr/>
          <p:nvPr userDrawn="1"/>
        </p:nvPicPr>
        <p:blipFill>
          <a:blip r:embed="rId3" cstate="print">
            <a:extLst/>
          </a:blip>
          <a:stretch>
            <a:fillRect/>
          </a:stretch>
        </p:blipFill>
        <p:spPr>
          <a:xfrm>
            <a:off x="6200261" y="2076141"/>
            <a:ext cx="1877582" cy="3715059"/>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4234362" y="3761939"/>
            <a:ext cx="1222036"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4234362" y="4136870"/>
            <a:ext cx="1477464"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57" name="Picture Placeholder 2"/>
          <p:cNvSpPr>
            <a:spLocks noGrp="1"/>
          </p:cNvSpPr>
          <p:nvPr>
            <p:ph type="pic" sz="quarter" idx="23"/>
          </p:nvPr>
        </p:nvSpPr>
        <p:spPr>
          <a:xfrm>
            <a:off x="2132012" y="2655766"/>
            <a:ext cx="1463040" cy="2590312"/>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42" name="Picture Placeholder 2"/>
          <p:cNvSpPr>
            <a:spLocks noGrp="1"/>
          </p:cNvSpPr>
          <p:nvPr>
            <p:ph type="pic" sz="quarter" idx="24" hasCustomPrompt="1"/>
          </p:nvPr>
        </p:nvSpPr>
        <p:spPr>
          <a:xfrm>
            <a:off x="6415152" y="2655766"/>
            <a:ext cx="1447800" cy="2590312"/>
          </a:xfrm>
          <a:ln w="19050">
            <a:noFill/>
          </a:ln>
        </p:spPr>
        <p:txBody>
          <a:bodyPr>
            <a:normAutofit/>
          </a:bodyPr>
          <a:lstStyle>
            <a:lvl1pPr marL="0" indent="0">
              <a:buNone/>
              <a:defRPr sz="1200">
                <a:solidFill>
                  <a:schemeClr val="bg1">
                    <a:lumMod val="50000"/>
                  </a:schemeClr>
                </a:solidFill>
                <a:latin typeface="Source Sans Pro Light"/>
              </a:defRPr>
            </a:lvl1pPr>
          </a:lstStyle>
          <a:p>
            <a:r>
              <a:rPr lang="en-US" dirty="0"/>
              <a:t> </a:t>
            </a:r>
          </a:p>
        </p:txBody>
      </p:sp>
      <p:sp>
        <p:nvSpPr>
          <p:cNvPr id="69" name="Content Placeholder 20"/>
          <p:cNvSpPr>
            <a:spLocks noGrp="1"/>
          </p:cNvSpPr>
          <p:nvPr>
            <p:ph sz="quarter" idx="25"/>
          </p:nvPr>
        </p:nvSpPr>
        <p:spPr>
          <a:xfrm>
            <a:off x="8567598" y="3761939"/>
            <a:ext cx="1222036"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70" name="Text Placeholder 17"/>
          <p:cNvSpPr>
            <a:spLocks noGrp="1"/>
          </p:cNvSpPr>
          <p:nvPr>
            <p:ph type="body" sz="quarter" idx="26"/>
          </p:nvPr>
        </p:nvSpPr>
        <p:spPr>
          <a:xfrm>
            <a:off x="8567598" y="4136870"/>
            <a:ext cx="1477464"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3" name="Content Placeholder 2"/>
          <p:cNvSpPr>
            <a:spLocks noGrp="1"/>
          </p:cNvSpPr>
          <p:nvPr>
            <p:ph sz="quarter" idx="27" hasCustomPrompt="1"/>
          </p:nvPr>
        </p:nvSpPr>
        <p:spPr>
          <a:xfrm>
            <a:off x="4291995" y="2982725"/>
            <a:ext cx="460555" cy="460555"/>
          </a:xfrm>
        </p:spPr>
        <p:txBody>
          <a:bodyPr anchor="ctr">
            <a:normAutofit/>
          </a:bodyPr>
          <a:lstStyle>
            <a:lvl1pPr marL="0" indent="0" algn="ctr">
              <a:buNone/>
              <a:defRPr sz="2700">
                <a:solidFill>
                  <a:schemeClr val="bg1"/>
                </a:solidFill>
                <a:latin typeface="Source Sans Pro Light"/>
              </a:defRPr>
            </a:lvl1pPr>
          </a:lstStyle>
          <a:p>
            <a:pPr lvl="0"/>
            <a:r>
              <a:rPr lang="en-US" dirty="0"/>
              <a:t>a</a:t>
            </a:r>
          </a:p>
        </p:txBody>
      </p:sp>
      <p:sp>
        <p:nvSpPr>
          <p:cNvPr id="26" name="Content Placeholder 2"/>
          <p:cNvSpPr>
            <a:spLocks noGrp="1"/>
          </p:cNvSpPr>
          <p:nvPr>
            <p:ph sz="quarter" idx="28" hasCustomPrompt="1"/>
          </p:nvPr>
        </p:nvSpPr>
        <p:spPr>
          <a:xfrm>
            <a:off x="8545435" y="2982725"/>
            <a:ext cx="460555" cy="460555"/>
          </a:xfrm>
        </p:spPr>
        <p:txBody>
          <a:bodyPr anchor="ctr">
            <a:normAutofit/>
          </a:bodyPr>
          <a:lstStyle>
            <a:lvl1pPr marL="0" indent="0" algn="ctr">
              <a:buNone/>
              <a:defRPr sz="2700">
                <a:solidFill>
                  <a:schemeClr val="bg1"/>
                </a:solidFill>
                <a:latin typeface="Source Sans Pro Light"/>
              </a:defRPr>
            </a:lvl1pPr>
          </a:lstStyle>
          <a:p>
            <a:pPr lvl="0"/>
            <a:r>
              <a:rPr lang="en-US" dirty="0"/>
              <a:t>a</a:t>
            </a:r>
          </a:p>
        </p:txBody>
      </p:sp>
    </p:spTree>
    <p:extLst>
      <p:ext uri="{BB962C8B-B14F-4D97-AF65-F5344CB8AC3E}">
        <p14:creationId xmlns:p14="http://schemas.microsoft.com/office/powerpoint/2010/main" val="3004604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up)">
                                      <p:cBhvr>
                                        <p:cTn id="15" dur="500"/>
                                        <p:tgtEl>
                                          <p:spTgt spid="34"/>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3">
                                            <p:txEl>
                                              <p:pRg st="0" end="0"/>
                                            </p:txEl>
                                          </p:spTgt>
                                        </p:tgtEl>
                                        <p:attrNameLst>
                                          <p:attrName>style.visibility</p:attrName>
                                        </p:attrNameLst>
                                      </p:cBhvr>
                                      <p:to>
                                        <p:strVal val="visible"/>
                                      </p:to>
                                    </p:set>
                                    <p:animEffect transition="in" filter="wipe(left)">
                                      <p:cBhvr>
                                        <p:cTn id="26" dur="500"/>
                                        <p:tgtEl>
                                          <p:spTgt spid="3">
                                            <p:txEl>
                                              <p:pRg st="0" end="0"/>
                                            </p:txEl>
                                          </p:spTgt>
                                        </p:tgtEl>
                                      </p:cBhvr>
                                    </p:animEffect>
                                  </p:childTnLst>
                                </p:cTn>
                              </p:par>
                            </p:childTnLst>
                          </p:cTn>
                        </p:par>
                        <p:par>
                          <p:cTn id="27" fill="hold">
                            <p:stCondLst>
                              <p:cond delay="2500"/>
                            </p:stCondLst>
                            <p:childTnLst>
                              <p:par>
                                <p:cTn id="28" presetID="9" presetClass="entr" presetSubtype="0" fill="hold" grpId="0" nodeType="afterEffect" nodePh="1">
                                  <p:stCondLst>
                                    <p:cond delay="0"/>
                                  </p:stCondLst>
                                  <p:endCondLst>
                                    <p:cond evt="begin" delay="0">
                                      <p:tn val="28"/>
                                    </p:cond>
                                  </p:endCondLst>
                                  <p:childTnLst>
                                    <p:set>
                                      <p:cBhvr>
                                        <p:cTn id="29" dur="1" fill="hold">
                                          <p:stCondLst>
                                            <p:cond delay="0"/>
                                          </p:stCondLst>
                                        </p:cTn>
                                        <p:tgtEl>
                                          <p:spTgt spid="9">
                                            <p:txEl>
                                              <p:pRg st="0" end="0"/>
                                            </p:txEl>
                                          </p:spTgt>
                                        </p:tgtEl>
                                        <p:attrNameLst>
                                          <p:attrName>style.visibility</p:attrName>
                                        </p:attrNameLst>
                                      </p:cBhvr>
                                      <p:to>
                                        <p:strVal val="visible"/>
                                      </p:to>
                                    </p:set>
                                    <p:animEffect transition="in" filter="dissolve">
                                      <p:cBhvr>
                                        <p:cTn id="30" dur="500"/>
                                        <p:tgtEl>
                                          <p:spTgt spid="9">
                                            <p:txEl>
                                              <p:pRg st="0" end="0"/>
                                            </p:txEl>
                                          </p:spTgt>
                                        </p:tgtEl>
                                      </p:cBhvr>
                                    </p:animEffect>
                                  </p:childTnLst>
                                </p:cTn>
                              </p:par>
                            </p:childTnLst>
                          </p:cTn>
                        </p:par>
                        <p:par>
                          <p:cTn id="31" fill="hold">
                            <p:stCondLst>
                              <p:cond delay="3000"/>
                            </p:stCondLst>
                            <p:childTnLst>
                              <p:par>
                                <p:cTn id="32" presetID="9" presetClass="entr" presetSubtype="0" fill="hold" grpId="0" nodeType="afterEffect" nodePh="1">
                                  <p:stCondLst>
                                    <p:cond delay="0"/>
                                  </p:stCondLst>
                                  <p:endCondLst>
                                    <p:cond evt="begin" delay="0">
                                      <p:tn val="32"/>
                                    </p:cond>
                                  </p:endCondLst>
                                  <p:childTnLst>
                                    <p:set>
                                      <p:cBhvr>
                                        <p:cTn id="33" dur="1" fill="hold">
                                          <p:stCondLst>
                                            <p:cond delay="0"/>
                                          </p:stCondLst>
                                        </p:cTn>
                                        <p:tgtEl>
                                          <p:spTgt spid="10">
                                            <p:txEl>
                                              <p:pRg st="0" end="0"/>
                                            </p:txEl>
                                          </p:spTgt>
                                        </p:tgtEl>
                                        <p:attrNameLst>
                                          <p:attrName>style.visibility</p:attrName>
                                        </p:attrNameLst>
                                      </p:cBhvr>
                                      <p:to>
                                        <p:strVal val="visible"/>
                                      </p:to>
                                    </p:set>
                                    <p:animEffect transition="in" filter="dissolve">
                                      <p:cBhvr>
                                        <p:cTn id="34" dur="500"/>
                                        <p:tgtEl>
                                          <p:spTgt spid="10">
                                            <p:txEl>
                                              <p:pRg st="0" end="0"/>
                                            </p:txEl>
                                          </p:spTgt>
                                        </p:tgtEl>
                                      </p:cBhvr>
                                    </p:animEffect>
                                  </p:childTnLst>
                                </p:cTn>
                              </p:par>
                            </p:childTnLst>
                          </p:cTn>
                        </p:par>
                        <p:par>
                          <p:cTn id="35" fill="hold">
                            <p:stCondLst>
                              <p:cond delay="3500"/>
                            </p:stCondLst>
                            <p:childTnLst>
                              <p:par>
                                <p:cTn id="36" presetID="22" presetClass="entr" presetSubtype="1" fill="hold"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up)">
                                      <p:cBhvr>
                                        <p:cTn id="38" dur="500"/>
                                        <p:tgtEl>
                                          <p:spTgt spid="36"/>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left)">
                                      <p:cBhvr>
                                        <p:cTn id="46" dur="500"/>
                                        <p:tgtEl>
                                          <p:spTgt spid="18"/>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6">
                                            <p:txEl>
                                              <p:pRg st="0" end="0"/>
                                            </p:txEl>
                                          </p:spTgt>
                                        </p:tgtEl>
                                        <p:attrNameLst>
                                          <p:attrName>style.visibility</p:attrName>
                                        </p:attrNameLst>
                                      </p:cBhvr>
                                      <p:to>
                                        <p:strVal val="visible"/>
                                      </p:to>
                                    </p:set>
                                    <p:animEffect transition="in" filter="wipe(left)">
                                      <p:cBhvr>
                                        <p:cTn id="49" dur="500"/>
                                        <p:tgtEl>
                                          <p:spTgt spid="26">
                                            <p:txEl>
                                              <p:pRg st="0" end="0"/>
                                            </p:txEl>
                                          </p:spTgt>
                                        </p:tgtEl>
                                      </p:cBhvr>
                                    </p:animEffect>
                                  </p:childTnLst>
                                </p:cTn>
                              </p:par>
                            </p:childTnLst>
                          </p:cTn>
                        </p:par>
                        <p:par>
                          <p:cTn id="50" fill="hold">
                            <p:stCondLst>
                              <p:cond delay="5000"/>
                            </p:stCondLst>
                            <p:childTnLst>
                              <p:par>
                                <p:cTn id="51" presetID="9" presetClass="entr" presetSubtype="0" fill="hold" grpId="0" nodeType="afterEffect" nodePh="1">
                                  <p:stCondLst>
                                    <p:cond delay="0"/>
                                  </p:stCondLst>
                                  <p:endCondLst>
                                    <p:cond evt="begin" delay="0">
                                      <p:tn val="51"/>
                                    </p:cond>
                                  </p:endCondLst>
                                  <p:childTnLst>
                                    <p:set>
                                      <p:cBhvr>
                                        <p:cTn id="52" dur="1" fill="hold">
                                          <p:stCondLst>
                                            <p:cond delay="0"/>
                                          </p:stCondLst>
                                        </p:cTn>
                                        <p:tgtEl>
                                          <p:spTgt spid="69">
                                            <p:txEl>
                                              <p:pRg st="0" end="0"/>
                                            </p:txEl>
                                          </p:spTgt>
                                        </p:tgtEl>
                                        <p:attrNameLst>
                                          <p:attrName>style.visibility</p:attrName>
                                        </p:attrNameLst>
                                      </p:cBhvr>
                                      <p:to>
                                        <p:strVal val="visible"/>
                                      </p:to>
                                    </p:set>
                                    <p:animEffect transition="in" filter="dissolve">
                                      <p:cBhvr>
                                        <p:cTn id="53" dur="500"/>
                                        <p:tgtEl>
                                          <p:spTgt spid="69">
                                            <p:txEl>
                                              <p:pRg st="0" end="0"/>
                                            </p:txEl>
                                          </p:spTgt>
                                        </p:tgtEl>
                                      </p:cBhvr>
                                    </p:animEffect>
                                  </p:childTnLst>
                                </p:cTn>
                              </p:par>
                            </p:childTnLst>
                          </p:cTn>
                        </p:par>
                        <p:par>
                          <p:cTn id="54" fill="hold">
                            <p:stCondLst>
                              <p:cond delay="5500"/>
                            </p:stCondLst>
                            <p:childTnLst>
                              <p:par>
                                <p:cTn id="55" presetID="9" presetClass="entr" presetSubtype="0" fill="hold" grpId="0" nodeType="afterEffect" nodePh="1">
                                  <p:stCondLst>
                                    <p:cond delay="0"/>
                                  </p:stCondLst>
                                  <p:endCondLst>
                                    <p:cond evt="begin" delay="0">
                                      <p:tn val="55"/>
                                    </p:cond>
                                  </p:endCondLst>
                                  <p:childTnLst>
                                    <p:set>
                                      <p:cBhvr>
                                        <p:cTn id="56" dur="1" fill="hold">
                                          <p:stCondLst>
                                            <p:cond delay="0"/>
                                          </p:stCondLst>
                                        </p:cTn>
                                        <p:tgtEl>
                                          <p:spTgt spid="70">
                                            <p:txEl>
                                              <p:pRg st="0" end="0"/>
                                            </p:txEl>
                                          </p:spTgt>
                                        </p:tgtEl>
                                        <p:attrNameLst>
                                          <p:attrName>style.visibility</p:attrName>
                                        </p:attrNameLst>
                                      </p:cBhvr>
                                      <p:to>
                                        <p:strVal val="visible"/>
                                      </p:to>
                                    </p:set>
                                    <p:animEffect transition="in" filter="dissolve">
                                      <p:cBhvr>
                                        <p:cTn id="57" dur="500"/>
                                        <p:tgtEl>
                                          <p:spTgt spid="7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42" grpId="0"/>
      <p:bldP spid="6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69"/>
                        </p:tgtEl>
                        <p:attrNameLst>
                          <p:attrName>style.visibility</p:attrName>
                        </p:attrNameLst>
                      </p:cBhvr>
                      <p:to>
                        <p:strVal val="visible"/>
                      </p:to>
                    </p:set>
                    <p:animEffect transition="in" filter="dissolve">
                      <p:cBhvr>
                        <p:cTn dur="500"/>
                        <p:tgtEl>
                          <p:spTgt spid="69"/>
                        </p:tgtEl>
                      </p:cBhvr>
                    </p:animEffect>
                  </p:childTnLst>
                </p:cTn>
              </p:par>
            </p:tnLst>
          </p:tmpl>
        </p:tmplLst>
      </p:bldP>
      <p:bldP spid="7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70"/>
                        </p:tgtEl>
                        <p:attrNameLst>
                          <p:attrName>style.visibility</p:attrName>
                        </p:attrNameLst>
                      </p:cBhvr>
                      <p:to>
                        <p:strVal val="visible"/>
                      </p:to>
                    </p:set>
                    <p:animEffect transition="in" filter="dissolve">
                      <p:cBhvr>
                        <p:cTn dur="500"/>
                        <p:tgtEl>
                          <p:spTgt spid="70"/>
                        </p:tgtEl>
                      </p:cBhvr>
                    </p:animEffect>
                  </p:childTnLst>
                </p:cTn>
              </p:par>
            </p:tnLst>
          </p:tmpl>
        </p:tmplLst>
      </p:bldP>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6" grpId="0" build="p">
        <p:tmplLst>
          <p:tmpl lvl="1">
            <p:tnLst>
              <p:par>
                <p:cTn presetID="22" presetClass="entr" presetSubtype="8" fill="hold" nodeType="with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18" name="Shape 1097"/>
          <p:cNvSpPr/>
          <p:nvPr/>
        </p:nvSpPr>
        <p:spPr>
          <a:xfrm>
            <a:off x="9394396" y="2544702"/>
            <a:ext cx="562575" cy="586899"/>
          </a:xfrm>
          <a:prstGeom prst="rect">
            <a:avLst/>
          </a:prstGeom>
          <a:solidFill>
            <a:schemeClr val="accent2"/>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21" name="Shape 1100"/>
          <p:cNvSpPr/>
          <p:nvPr/>
        </p:nvSpPr>
        <p:spPr>
          <a:xfrm>
            <a:off x="4355292" y="2544702"/>
            <a:ext cx="562575" cy="586899"/>
          </a:xfrm>
          <a:prstGeom prst="rect">
            <a:avLst/>
          </a:prstGeom>
          <a:solidFill>
            <a:schemeClr val="accent1"/>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pic>
        <p:nvPicPr>
          <p:cNvPr id="27" name="tablet-black.png"/>
          <p:cNvPicPr/>
          <p:nvPr userDrawn="1"/>
        </p:nvPicPr>
        <p:blipFill>
          <a:blip r:embed="rId2" cstate="print">
            <a:extLst/>
          </a:blip>
          <a:stretch>
            <a:fillRect/>
          </a:stretch>
        </p:blipFill>
        <p:spPr>
          <a:xfrm>
            <a:off x="6248373" y="1675177"/>
            <a:ext cx="2596335" cy="3666026"/>
          </a:xfrm>
          <a:prstGeom prst="rect">
            <a:avLst/>
          </a:prstGeom>
          <a:ln w="12700">
            <a:miter lim="400000"/>
          </a:ln>
        </p:spPr>
      </p:pic>
      <p:pic>
        <p:nvPicPr>
          <p:cNvPr id="30" name="tablet-white.png"/>
          <p:cNvPicPr/>
          <p:nvPr userDrawn="1"/>
        </p:nvPicPr>
        <p:blipFill>
          <a:blip r:embed="rId3" cstate="print">
            <a:extLst/>
          </a:blip>
          <a:stretch>
            <a:fillRect/>
          </a:stretch>
        </p:blipFill>
        <p:spPr>
          <a:xfrm>
            <a:off x="1269728" y="1668561"/>
            <a:ext cx="2598001" cy="3668379"/>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4341812" y="3375152"/>
            <a:ext cx="1222036"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4341812" y="3750083"/>
            <a:ext cx="1477464"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57" name="Picture Placeholder 2"/>
          <p:cNvSpPr>
            <a:spLocks noGrp="1"/>
          </p:cNvSpPr>
          <p:nvPr>
            <p:ph type="pic" sz="quarter" idx="23"/>
          </p:nvPr>
        </p:nvSpPr>
        <p:spPr>
          <a:xfrm>
            <a:off x="1501928" y="2059870"/>
            <a:ext cx="2133600" cy="289664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69" name="Content Placeholder 20"/>
          <p:cNvSpPr>
            <a:spLocks noGrp="1"/>
          </p:cNvSpPr>
          <p:nvPr>
            <p:ph sz="quarter" idx="25"/>
          </p:nvPr>
        </p:nvSpPr>
        <p:spPr>
          <a:xfrm>
            <a:off x="9386971" y="3375152"/>
            <a:ext cx="1222036"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70" name="Text Placeholder 17"/>
          <p:cNvSpPr>
            <a:spLocks noGrp="1"/>
          </p:cNvSpPr>
          <p:nvPr>
            <p:ph type="body" sz="quarter" idx="26"/>
          </p:nvPr>
        </p:nvSpPr>
        <p:spPr>
          <a:xfrm>
            <a:off x="9386971" y="3750083"/>
            <a:ext cx="1477464"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33" name="Picture Placeholder 2"/>
          <p:cNvSpPr>
            <a:spLocks noGrp="1"/>
          </p:cNvSpPr>
          <p:nvPr>
            <p:ph type="pic" sz="quarter" idx="27"/>
          </p:nvPr>
        </p:nvSpPr>
        <p:spPr>
          <a:xfrm>
            <a:off x="6479740" y="2059870"/>
            <a:ext cx="2133600" cy="289664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 name="Text Placeholder 2"/>
          <p:cNvSpPr>
            <a:spLocks noGrp="1"/>
          </p:cNvSpPr>
          <p:nvPr>
            <p:ph type="body" sz="quarter" idx="28"/>
          </p:nvPr>
        </p:nvSpPr>
        <p:spPr>
          <a:xfrm>
            <a:off x="4446080" y="2647652"/>
            <a:ext cx="380999" cy="380999"/>
          </a:xfrm>
        </p:spPr>
        <p:txBody>
          <a:bodyPr anchor="ctr">
            <a:noAutofit/>
          </a:bodyPr>
          <a:lstStyle>
            <a:lvl1pPr marL="0" indent="0" algn="ctr">
              <a:buFontTx/>
              <a:buNone/>
              <a:defRPr sz="3000">
                <a:solidFill>
                  <a:schemeClr val="bg1"/>
                </a:solidFill>
                <a:latin typeface="Source Sans Pro Light"/>
              </a:defRPr>
            </a:lvl1pPr>
            <a:lvl2pPr>
              <a:defRPr sz="3000">
                <a:latin typeface="Source Sans Pro Light"/>
              </a:defRPr>
            </a:lvl2pPr>
            <a:lvl3pPr>
              <a:defRPr sz="3000">
                <a:latin typeface="Source Sans Pro Light"/>
              </a:defRPr>
            </a:lvl3pPr>
            <a:lvl4pPr>
              <a:defRPr sz="3000">
                <a:latin typeface="Source Sans Pro Light"/>
              </a:defRPr>
            </a:lvl4pPr>
            <a:lvl5pPr>
              <a:defRPr sz="3000">
                <a:latin typeface="Source Sans Pro Light"/>
              </a:defRPr>
            </a:lvl5pPr>
          </a:lstStyle>
          <a:p>
            <a:pPr lvl="0"/>
            <a:endParaRPr lang="en-US" dirty="0"/>
          </a:p>
        </p:txBody>
      </p:sp>
      <p:sp>
        <p:nvSpPr>
          <p:cNvPr id="37" name="Text Placeholder 2"/>
          <p:cNvSpPr>
            <a:spLocks noGrp="1"/>
          </p:cNvSpPr>
          <p:nvPr>
            <p:ph type="body" sz="quarter" idx="29"/>
          </p:nvPr>
        </p:nvSpPr>
        <p:spPr>
          <a:xfrm>
            <a:off x="9485184" y="2647652"/>
            <a:ext cx="380999" cy="380999"/>
          </a:xfrm>
        </p:spPr>
        <p:txBody>
          <a:bodyPr anchor="ctr">
            <a:noAutofit/>
          </a:bodyPr>
          <a:lstStyle>
            <a:lvl1pPr marL="0" indent="0" algn="ctr">
              <a:buFontTx/>
              <a:buNone/>
              <a:defRPr sz="3000">
                <a:solidFill>
                  <a:schemeClr val="bg1"/>
                </a:solidFill>
                <a:latin typeface="Source Sans Pro Light"/>
              </a:defRPr>
            </a:lvl1pPr>
            <a:lvl2pPr>
              <a:defRPr sz="3000">
                <a:latin typeface="Source Sans Pro Light"/>
              </a:defRPr>
            </a:lvl2pPr>
            <a:lvl3pPr>
              <a:defRPr sz="3000">
                <a:latin typeface="Source Sans Pro Light"/>
              </a:defRPr>
            </a:lvl3pPr>
            <a:lvl4pPr>
              <a:defRPr sz="3000">
                <a:latin typeface="Source Sans Pro Light"/>
              </a:defRPr>
            </a:lvl4pPr>
            <a:lvl5pPr>
              <a:defRPr sz="3000">
                <a:latin typeface="Source Sans Pro Light"/>
              </a:defRPr>
            </a:lvl5pPr>
          </a:lstStyle>
          <a:p>
            <a:pPr lvl="0"/>
            <a:endParaRPr lang="en-US" dirty="0"/>
          </a:p>
        </p:txBody>
      </p:sp>
    </p:spTree>
    <p:extLst>
      <p:ext uri="{BB962C8B-B14F-4D97-AF65-F5344CB8AC3E}">
        <p14:creationId xmlns:p14="http://schemas.microsoft.com/office/powerpoint/2010/main" val="83293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up)">
                                      <p:cBhvr>
                                        <p:cTn id="15" dur="500"/>
                                        <p:tgtEl>
                                          <p:spTgt spid="30"/>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par>
                                <p:cTn id="24" presetID="22" presetClass="entr" presetSubtype="8" fill="hold" grpId="0" nodeType="withEffect" nodePh="1">
                                  <p:stCondLst>
                                    <p:cond delay="0"/>
                                  </p:stCondLst>
                                  <p:endCondLst>
                                    <p:cond evt="begin" delay="0">
                                      <p:tn val="24"/>
                                    </p:cond>
                                  </p:endCondLst>
                                  <p:childTnLst>
                                    <p:set>
                                      <p:cBhvr>
                                        <p:cTn id="25" dur="1" fill="hold">
                                          <p:stCondLst>
                                            <p:cond delay="0"/>
                                          </p:stCondLst>
                                        </p:cTn>
                                        <p:tgtEl>
                                          <p:spTgt spid="3">
                                            <p:txEl>
                                              <p:pRg st="0" end="0"/>
                                            </p:txEl>
                                          </p:spTgt>
                                        </p:tgtEl>
                                        <p:attrNameLst>
                                          <p:attrName>style.visibility</p:attrName>
                                        </p:attrNameLst>
                                      </p:cBhvr>
                                      <p:to>
                                        <p:strVal val="visible"/>
                                      </p:to>
                                    </p:set>
                                    <p:animEffect transition="in" filter="wipe(left)">
                                      <p:cBhvr>
                                        <p:cTn id="26" dur="500"/>
                                        <p:tgtEl>
                                          <p:spTgt spid="3">
                                            <p:txEl>
                                              <p:pRg st="0" end="0"/>
                                            </p:txEl>
                                          </p:spTgt>
                                        </p:tgtEl>
                                      </p:cBhvr>
                                    </p:animEffect>
                                  </p:childTnLst>
                                </p:cTn>
                              </p:par>
                            </p:childTnLst>
                          </p:cTn>
                        </p:par>
                        <p:par>
                          <p:cTn id="27" fill="hold">
                            <p:stCondLst>
                              <p:cond delay="2500"/>
                            </p:stCondLst>
                            <p:childTnLst>
                              <p:par>
                                <p:cTn id="28" presetID="9" presetClass="entr" presetSubtype="0" fill="hold" grpId="0" nodeType="afterEffect" nodePh="1">
                                  <p:stCondLst>
                                    <p:cond delay="0"/>
                                  </p:stCondLst>
                                  <p:endCondLst>
                                    <p:cond evt="begin" delay="0">
                                      <p:tn val="28"/>
                                    </p:cond>
                                  </p:endCondLst>
                                  <p:childTnLst>
                                    <p:set>
                                      <p:cBhvr>
                                        <p:cTn id="29" dur="1" fill="hold">
                                          <p:stCondLst>
                                            <p:cond delay="0"/>
                                          </p:stCondLst>
                                        </p:cTn>
                                        <p:tgtEl>
                                          <p:spTgt spid="9">
                                            <p:txEl>
                                              <p:pRg st="0" end="0"/>
                                            </p:txEl>
                                          </p:spTgt>
                                        </p:tgtEl>
                                        <p:attrNameLst>
                                          <p:attrName>style.visibility</p:attrName>
                                        </p:attrNameLst>
                                      </p:cBhvr>
                                      <p:to>
                                        <p:strVal val="visible"/>
                                      </p:to>
                                    </p:set>
                                    <p:animEffect transition="in" filter="dissolve">
                                      <p:cBhvr>
                                        <p:cTn id="30" dur="500"/>
                                        <p:tgtEl>
                                          <p:spTgt spid="9">
                                            <p:txEl>
                                              <p:pRg st="0" end="0"/>
                                            </p:txEl>
                                          </p:spTgt>
                                        </p:tgtEl>
                                      </p:cBhvr>
                                    </p:animEffect>
                                  </p:childTnLst>
                                </p:cTn>
                              </p:par>
                            </p:childTnLst>
                          </p:cTn>
                        </p:par>
                        <p:par>
                          <p:cTn id="31" fill="hold">
                            <p:stCondLst>
                              <p:cond delay="3000"/>
                            </p:stCondLst>
                            <p:childTnLst>
                              <p:par>
                                <p:cTn id="32" presetID="9" presetClass="entr" presetSubtype="0" fill="hold" grpId="0" nodeType="afterEffect" nodePh="1">
                                  <p:stCondLst>
                                    <p:cond delay="0"/>
                                  </p:stCondLst>
                                  <p:endCondLst>
                                    <p:cond evt="begin" delay="0">
                                      <p:tn val="32"/>
                                    </p:cond>
                                  </p:endCondLst>
                                  <p:childTnLst>
                                    <p:set>
                                      <p:cBhvr>
                                        <p:cTn id="33" dur="1" fill="hold">
                                          <p:stCondLst>
                                            <p:cond delay="0"/>
                                          </p:stCondLst>
                                        </p:cTn>
                                        <p:tgtEl>
                                          <p:spTgt spid="10">
                                            <p:txEl>
                                              <p:pRg st="0" end="0"/>
                                            </p:txEl>
                                          </p:spTgt>
                                        </p:tgtEl>
                                        <p:attrNameLst>
                                          <p:attrName>style.visibility</p:attrName>
                                        </p:attrNameLst>
                                      </p:cBhvr>
                                      <p:to>
                                        <p:strVal val="visible"/>
                                      </p:to>
                                    </p:set>
                                    <p:animEffect transition="in" filter="dissolve">
                                      <p:cBhvr>
                                        <p:cTn id="34" dur="500"/>
                                        <p:tgtEl>
                                          <p:spTgt spid="10">
                                            <p:txEl>
                                              <p:pRg st="0" end="0"/>
                                            </p:txEl>
                                          </p:spTgt>
                                        </p:tgtEl>
                                      </p:cBhvr>
                                    </p:animEffect>
                                  </p:childTnLst>
                                </p:cTn>
                              </p:par>
                            </p:childTnLst>
                          </p:cTn>
                        </p:par>
                        <p:par>
                          <p:cTn id="35" fill="hold">
                            <p:stCondLst>
                              <p:cond delay="3500"/>
                            </p:stCondLst>
                            <p:childTnLst>
                              <p:par>
                                <p:cTn id="36" presetID="22" presetClass="entr" presetSubtype="1"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wipe(up)">
                                      <p:cBhvr>
                                        <p:cTn id="38" dur="500"/>
                                        <p:tgtEl>
                                          <p:spTgt spid="27"/>
                                        </p:tgtEl>
                                      </p:cBhvr>
                                    </p:animEffect>
                                  </p:childTnLst>
                                </p:cTn>
                              </p:par>
                            </p:childTnLst>
                          </p:cTn>
                        </p:par>
                        <p:par>
                          <p:cTn id="39" fill="hold">
                            <p:stCondLst>
                              <p:cond delay="40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childTnLst>
                          </p:cTn>
                        </p:par>
                        <p:par>
                          <p:cTn id="43" fill="hold">
                            <p:stCondLst>
                              <p:cond delay="4500"/>
                            </p:stCondLst>
                            <p:childTnLst>
                              <p:par>
                                <p:cTn id="44" presetID="22" presetClass="entr" presetSubtype="8" fill="hold" grpId="0" nodeType="after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wipe(left)">
                                      <p:cBhvr>
                                        <p:cTn id="46" dur="500"/>
                                        <p:tgtEl>
                                          <p:spTgt spid="18"/>
                                        </p:tgtEl>
                                      </p:cBhvr>
                                    </p:animEffect>
                                  </p:childTnLst>
                                </p:cTn>
                              </p:par>
                              <p:par>
                                <p:cTn id="47" presetID="22" presetClass="entr" presetSubtype="8" fill="hold" grpId="0" nodeType="withEffect" nodePh="1">
                                  <p:stCondLst>
                                    <p:cond delay="0"/>
                                  </p:stCondLst>
                                  <p:endCondLst>
                                    <p:cond evt="begin" delay="0">
                                      <p:tn val="47"/>
                                    </p:cond>
                                  </p:endCondLst>
                                  <p:childTnLst>
                                    <p:set>
                                      <p:cBhvr>
                                        <p:cTn id="48" dur="1" fill="hold">
                                          <p:stCondLst>
                                            <p:cond delay="0"/>
                                          </p:stCondLst>
                                        </p:cTn>
                                        <p:tgtEl>
                                          <p:spTgt spid="37">
                                            <p:txEl>
                                              <p:pRg st="0" end="0"/>
                                            </p:txEl>
                                          </p:spTgt>
                                        </p:tgtEl>
                                        <p:attrNameLst>
                                          <p:attrName>style.visibility</p:attrName>
                                        </p:attrNameLst>
                                      </p:cBhvr>
                                      <p:to>
                                        <p:strVal val="visible"/>
                                      </p:to>
                                    </p:set>
                                    <p:animEffect transition="in" filter="wipe(left)">
                                      <p:cBhvr>
                                        <p:cTn id="49" dur="500"/>
                                        <p:tgtEl>
                                          <p:spTgt spid="37">
                                            <p:txEl>
                                              <p:pRg st="0" end="0"/>
                                            </p:txEl>
                                          </p:spTgt>
                                        </p:tgtEl>
                                      </p:cBhvr>
                                    </p:animEffect>
                                  </p:childTnLst>
                                </p:cTn>
                              </p:par>
                            </p:childTnLst>
                          </p:cTn>
                        </p:par>
                        <p:par>
                          <p:cTn id="50" fill="hold">
                            <p:stCondLst>
                              <p:cond delay="5000"/>
                            </p:stCondLst>
                            <p:childTnLst>
                              <p:par>
                                <p:cTn id="51" presetID="9" presetClass="entr" presetSubtype="0" fill="hold" grpId="0" nodeType="afterEffect" nodePh="1">
                                  <p:stCondLst>
                                    <p:cond delay="0"/>
                                  </p:stCondLst>
                                  <p:endCondLst>
                                    <p:cond evt="begin" delay="0">
                                      <p:tn val="51"/>
                                    </p:cond>
                                  </p:endCondLst>
                                  <p:childTnLst>
                                    <p:set>
                                      <p:cBhvr>
                                        <p:cTn id="52" dur="1" fill="hold">
                                          <p:stCondLst>
                                            <p:cond delay="0"/>
                                          </p:stCondLst>
                                        </p:cTn>
                                        <p:tgtEl>
                                          <p:spTgt spid="69">
                                            <p:txEl>
                                              <p:pRg st="0" end="0"/>
                                            </p:txEl>
                                          </p:spTgt>
                                        </p:tgtEl>
                                        <p:attrNameLst>
                                          <p:attrName>style.visibility</p:attrName>
                                        </p:attrNameLst>
                                      </p:cBhvr>
                                      <p:to>
                                        <p:strVal val="visible"/>
                                      </p:to>
                                    </p:set>
                                    <p:animEffect transition="in" filter="dissolve">
                                      <p:cBhvr>
                                        <p:cTn id="53" dur="500"/>
                                        <p:tgtEl>
                                          <p:spTgt spid="69">
                                            <p:txEl>
                                              <p:pRg st="0" end="0"/>
                                            </p:txEl>
                                          </p:spTgt>
                                        </p:tgtEl>
                                      </p:cBhvr>
                                    </p:animEffect>
                                  </p:childTnLst>
                                </p:cTn>
                              </p:par>
                            </p:childTnLst>
                          </p:cTn>
                        </p:par>
                        <p:par>
                          <p:cTn id="54" fill="hold">
                            <p:stCondLst>
                              <p:cond delay="5500"/>
                            </p:stCondLst>
                            <p:childTnLst>
                              <p:par>
                                <p:cTn id="55" presetID="9" presetClass="entr" presetSubtype="0" fill="hold" grpId="0" nodeType="afterEffect" nodePh="1">
                                  <p:stCondLst>
                                    <p:cond delay="0"/>
                                  </p:stCondLst>
                                  <p:endCondLst>
                                    <p:cond evt="begin" delay="0">
                                      <p:tn val="55"/>
                                    </p:cond>
                                  </p:endCondLst>
                                  <p:childTnLst>
                                    <p:set>
                                      <p:cBhvr>
                                        <p:cTn id="56" dur="1" fill="hold">
                                          <p:stCondLst>
                                            <p:cond delay="0"/>
                                          </p:stCondLst>
                                        </p:cTn>
                                        <p:tgtEl>
                                          <p:spTgt spid="70">
                                            <p:txEl>
                                              <p:pRg st="0" end="0"/>
                                            </p:txEl>
                                          </p:spTgt>
                                        </p:tgtEl>
                                        <p:attrNameLst>
                                          <p:attrName>style.visibility</p:attrName>
                                        </p:attrNameLst>
                                      </p:cBhvr>
                                      <p:to>
                                        <p:strVal val="visible"/>
                                      </p:to>
                                    </p:set>
                                    <p:animEffect transition="in" filter="dissolve">
                                      <p:cBhvr>
                                        <p:cTn id="57" dur="500"/>
                                        <p:tgtEl>
                                          <p:spTgt spid="7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6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69"/>
                        </p:tgtEl>
                        <p:attrNameLst>
                          <p:attrName>style.visibility</p:attrName>
                        </p:attrNameLst>
                      </p:cBhvr>
                      <p:to>
                        <p:strVal val="visible"/>
                      </p:to>
                    </p:set>
                    <p:animEffect transition="in" filter="dissolve">
                      <p:cBhvr>
                        <p:cTn dur="500"/>
                        <p:tgtEl>
                          <p:spTgt spid="69"/>
                        </p:tgtEl>
                      </p:cBhvr>
                    </p:animEffect>
                  </p:childTnLst>
                </p:cTn>
              </p:par>
            </p:tnLst>
          </p:tmpl>
        </p:tmplLst>
      </p:bldP>
      <p:bldP spid="7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70"/>
                        </p:tgtEl>
                        <p:attrNameLst>
                          <p:attrName>style.visibility</p:attrName>
                        </p:attrNameLst>
                      </p:cBhvr>
                      <p:to>
                        <p:strVal val="visible"/>
                      </p:to>
                    </p:set>
                    <p:animEffect transition="in" filter="dissolve">
                      <p:cBhvr>
                        <p:cTn dur="500"/>
                        <p:tgtEl>
                          <p:spTgt spid="70"/>
                        </p:tgtEl>
                      </p:cBhvr>
                    </p:animEffect>
                  </p:childTnLst>
                </p:cTn>
              </p:par>
            </p:tnLst>
          </p:tmpl>
        </p:tmplLst>
      </p:bldP>
      <p:bldP spid="33" grpId="0"/>
      <p:bldP spid="3" grpId="0" build="p">
        <p:tmplLst>
          <p:tmpl lvl="1">
            <p:tnLst>
              <p:par>
                <p:cTn presetID="22" presetClass="entr" presetSubtype="8" fill="hold" nodeType="withEffect" nodePh="1">
                  <p:stCondLst>
                    <p:cond delay="0"/>
                  </p:stCondLst>
                  <p:endCondLst>
                    <p:cond delay="0"/>
                  </p:end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37" grpId="0" build="p">
        <p:tmplLst>
          <p:tmpl lvl="1">
            <p:tnLst>
              <p:par>
                <p:cTn presetID="22" presetClass="entr" presetSubtype="8" fill="hold" nodeType="withEffect" nodePh="1">
                  <p:stCondLst>
                    <p:cond delay="0"/>
                  </p:stCondLst>
                  <p:endCondLst>
                    <p:cond delay="0"/>
                  </p:endCondLst>
                  <p:childTnLst>
                    <p:set>
                      <p:cBhvr>
                        <p:cTn dur="1" fill="hold">
                          <p:stCondLst>
                            <p:cond delay="0"/>
                          </p:stCondLst>
                        </p:cTn>
                        <p:tgtEl>
                          <p:spTgt spid="37"/>
                        </p:tgtEl>
                        <p:attrNameLst>
                          <p:attrName>style.visibility</p:attrName>
                        </p:attrNameLst>
                      </p:cBhvr>
                      <p:to>
                        <p:strVal val="visible"/>
                      </p:to>
                    </p:set>
                    <p:animEffect transition="in" filter="wipe(left)">
                      <p:cBhvr>
                        <p:cTn dur="500"/>
                        <p:tgtEl>
                          <p:spTgt spid="37"/>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61" name="tablet-black.png"/>
          <p:cNvPicPr/>
          <p:nvPr userDrawn="1"/>
        </p:nvPicPr>
        <p:blipFill>
          <a:blip r:embed="rId2" cstate="print">
            <a:extLst/>
          </a:blip>
          <a:stretch>
            <a:fillRect/>
          </a:stretch>
        </p:blipFill>
        <p:spPr>
          <a:xfrm>
            <a:off x="4796245" y="1675177"/>
            <a:ext cx="2596335" cy="3666026"/>
          </a:xfrm>
          <a:prstGeom prst="rect">
            <a:avLst/>
          </a:prstGeom>
          <a:ln w="12700">
            <a:miter lim="400000"/>
          </a:ln>
        </p:spPr>
      </p:pic>
      <p:grpSp>
        <p:nvGrpSpPr>
          <p:cNvPr id="2" name="Group 835"/>
          <p:cNvGrpSpPr/>
          <p:nvPr userDrawn="1"/>
        </p:nvGrpSpPr>
        <p:grpSpPr>
          <a:xfrm>
            <a:off x="8095272" y="2013907"/>
            <a:ext cx="455700" cy="455814"/>
            <a:chOff x="0" y="0"/>
            <a:chExt cx="911635" cy="911627"/>
          </a:xfrm>
        </p:grpSpPr>
        <p:sp>
          <p:nvSpPr>
            <p:cNvPr id="152" name="Shape 833"/>
            <p:cNvSpPr/>
            <p:nvPr/>
          </p:nvSpPr>
          <p:spPr>
            <a:xfrm>
              <a:off x="-1" y="-1"/>
              <a:ext cx="911637" cy="911629"/>
            </a:xfrm>
            <a:custGeom>
              <a:avLst/>
              <a:gdLst/>
              <a:ahLst/>
              <a:cxnLst>
                <a:cxn ang="0">
                  <a:pos x="wd2" y="hd2"/>
                </a:cxn>
                <a:cxn ang="5400000">
                  <a:pos x="wd2" y="hd2"/>
                </a:cxn>
                <a:cxn ang="10800000">
                  <a:pos x="wd2" y="hd2"/>
                </a:cxn>
                <a:cxn ang="16200000">
                  <a:pos x="wd2" y="hd2"/>
                </a:cxn>
              </a:cxnLst>
              <a:rect l="0" t="0" r="r" b="b"/>
              <a:pathLst>
                <a:path w="19807" h="19806" extrusionOk="0">
                  <a:moveTo>
                    <a:pt x="7908" y="205"/>
                  </a:moveTo>
                  <a:cubicBezTo>
                    <a:pt x="13264" y="-897"/>
                    <a:pt x="18500" y="2551"/>
                    <a:pt x="19602" y="7907"/>
                  </a:cubicBezTo>
                  <a:cubicBezTo>
                    <a:pt x="20703" y="13264"/>
                    <a:pt x="17254" y="18499"/>
                    <a:pt x="11899" y="19601"/>
                  </a:cubicBezTo>
                  <a:cubicBezTo>
                    <a:pt x="6545" y="20703"/>
                    <a:pt x="1312" y="17258"/>
                    <a:pt x="207" y="11907"/>
                  </a:cubicBezTo>
                  <a:cubicBezTo>
                    <a:pt x="206" y="11904"/>
                    <a:pt x="206" y="11901"/>
                    <a:pt x="205" y="11898"/>
                  </a:cubicBezTo>
                  <a:cubicBezTo>
                    <a:pt x="-897" y="6542"/>
                    <a:pt x="2552" y="1307"/>
                    <a:pt x="7908" y="205"/>
                  </a:cubicBezTo>
                  <a:close/>
                </a:path>
              </a:pathLst>
            </a:custGeom>
            <a:solidFill>
              <a:srgbClr val="C0392B"/>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153" name="Shape 834"/>
            <p:cNvSpPr/>
            <p:nvPr/>
          </p:nvSpPr>
          <p:spPr>
            <a:xfrm>
              <a:off x="287863" y="322425"/>
              <a:ext cx="335910" cy="239927"/>
            </a:xfrm>
            <a:custGeom>
              <a:avLst/>
              <a:gdLst/>
              <a:ahLst/>
              <a:cxnLst>
                <a:cxn ang="0">
                  <a:pos x="wd2" y="hd2"/>
                </a:cxn>
                <a:cxn ang="5400000">
                  <a:pos x="wd2" y="hd2"/>
                </a:cxn>
                <a:cxn ang="10800000">
                  <a:pos x="wd2" y="hd2"/>
                </a:cxn>
                <a:cxn ang="16200000">
                  <a:pos x="wd2" y="hd2"/>
                </a:cxn>
              </a:cxnLst>
              <a:rect l="0" t="0" r="r" b="b"/>
              <a:pathLst>
                <a:path w="21600" h="21600" extrusionOk="0">
                  <a:moveTo>
                    <a:pt x="8376" y="15428"/>
                  </a:moveTo>
                  <a:lnTo>
                    <a:pt x="8376" y="6172"/>
                  </a:lnTo>
                  <a:lnTo>
                    <a:pt x="13886" y="10798"/>
                  </a:lnTo>
                  <a:cubicBezTo>
                    <a:pt x="13886" y="10798"/>
                    <a:pt x="8376" y="15428"/>
                    <a:pt x="8376" y="15428"/>
                  </a:cubicBezTo>
                  <a:close/>
                  <a:moveTo>
                    <a:pt x="21600" y="3084"/>
                  </a:moveTo>
                  <a:lnTo>
                    <a:pt x="21600" y="1234"/>
                  </a:lnTo>
                  <a:cubicBezTo>
                    <a:pt x="21600" y="554"/>
                    <a:pt x="21205" y="0"/>
                    <a:pt x="20719" y="0"/>
                  </a:cubicBezTo>
                  <a:lnTo>
                    <a:pt x="881" y="0"/>
                  </a:lnTo>
                  <a:cubicBezTo>
                    <a:pt x="394" y="0"/>
                    <a:pt x="0" y="554"/>
                    <a:pt x="0" y="1234"/>
                  </a:cubicBezTo>
                  <a:lnTo>
                    <a:pt x="0" y="3084"/>
                  </a:lnTo>
                  <a:lnTo>
                    <a:pt x="2204" y="3084"/>
                  </a:lnTo>
                  <a:lnTo>
                    <a:pt x="2204" y="6172"/>
                  </a:lnTo>
                  <a:lnTo>
                    <a:pt x="0" y="6172"/>
                  </a:lnTo>
                  <a:lnTo>
                    <a:pt x="0" y="9256"/>
                  </a:lnTo>
                  <a:lnTo>
                    <a:pt x="2204" y="9256"/>
                  </a:lnTo>
                  <a:lnTo>
                    <a:pt x="2204" y="12344"/>
                  </a:lnTo>
                  <a:lnTo>
                    <a:pt x="0" y="12344"/>
                  </a:lnTo>
                  <a:lnTo>
                    <a:pt x="0" y="15428"/>
                  </a:lnTo>
                  <a:lnTo>
                    <a:pt x="2204" y="15428"/>
                  </a:lnTo>
                  <a:lnTo>
                    <a:pt x="2204" y="18516"/>
                  </a:lnTo>
                  <a:lnTo>
                    <a:pt x="0" y="18516"/>
                  </a:lnTo>
                  <a:lnTo>
                    <a:pt x="0" y="20366"/>
                  </a:lnTo>
                  <a:cubicBezTo>
                    <a:pt x="0" y="21046"/>
                    <a:pt x="394" y="21600"/>
                    <a:pt x="881" y="21600"/>
                  </a:cubicBezTo>
                  <a:lnTo>
                    <a:pt x="20719" y="21600"/>
                  </a:lnTo>
                  <a:cubicBezTo>
                    <a:pt x="21205" y="21600"/>
                    <a:pt x="21600" y="21046"/>
                    <a:pt x="21600" y="20366"/>
                  </a:cubicBezTo>
                  <a:lnTo>
                    <a:pt x="21600" y="18516"/>
                  </a:lnTo>
                  <a:lnTo>
                    <a:pt x="19396" y="18516"/>
                  </a:lnTo>
                  <a:lnTo>
                    <a:pt x="19396" y="15428"/>
                  </a:lnTo>
                  <a:lnTo>
                    <a:pt x="21600" y="15428"/>
                  </a:lnTo>
                  <a:lnTo>
                    <a:pt x="21600" y="12344"/>
                  </a:lnTo>
                  <a:lnTo>
                    <a:pt x="19396" y="12344"/>
                  </a:lnTo>
                  <a:lnTo>
                    <a:pt x="19396" y="9256"/>
                  </a:lnTo>
                  <a:lnTo>
                    <a:pt x="21600" y="9256"/>
                  </a:lnTo>
                  <a:lnTo>
                    <a:pt x="21600" y="6172"/>
                  </a:lnTo>
                  <a:lnTo>
                    <a:pt x="19396" y="6172"/>
                  </a:lnTo>
                  <a:lnTo>
                    <a:pt x="19396" y="3084"/>
                  </a:lnTo>
                  <a:cubicBezTo>
                    <a:pt x="19396" y="3084"/>
                    <a:pt x="21600" y="3084"/>
                    <a:pt x="21600" y="3084"/>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3" name="Group 718"/>
          <p:cNvGrpSpPr/>
          <p:nvPr userDrawn="1"/>
        </p:nvGrpSpPr>
        <p:grpSpPr>
          <a:xfrm>
            <a:off x="3645818" y="2006289"/>
            <a:ext cx="455687" cy="455814"/>
            <a:chOff x="0" y="0"/>
            <a:chExt cx="911610" cy="911627"/>
          </a:xfrm>
        </p:grpSpPr>
        <p:sp>
          <p:nvSpPr>
            <p:cNvPr id="78" name="Shape 716"/>
            <p:cNvSpPr/>
            <p:nvPr/>
          </p:nvSpPr>
          <p:spPr>
            <a:xfrm>
              <a:off x="0" y="0"/>
              <a:ext cx="911611" cy="911628"/>
            </a:xfrm>
            <a:custGeom>
              <a:avLst/>
              <a:gdLst/>
              <a:ahLst/>
              <a:cxnLst>
                <a:cxn ang="0">
                  <a:pos x="wd2" y="hd2"/>
                </a:cxn>
                <a:cxn ang="5400000">
                  <a:pos x="wd2" y="hd2"/>
                </a:cxn>
                <a:cxn ang="10800000">
                  <a:pos x="wd2" y="hd2"/>
                </a:cxn>
                <a:cxn ang="16200000">
                  <a:pos x="wd2" y="hd2"/>
                </a:cxn>
              </a:cxnLst>
              <a:rect l="0" t="0" r="r" b="b"/>
              <a:pathLst>
                <a:path w="19806" h="19807" extrusionOk="0">
                  <a:moveTo>
                    <a:pt x="7908" y="205"/>
                  </a:moveTo>
                  <a:cubicBezTo>
                    <a:pt x="13264" y="-897"/>
                    <a:pt x="18499" y="2552"/>
                    <a:pt x="19601" y="7908"/>
                  </a:cubicBezTo>
                  <a:cubicBezTo>
                    <a:pt x="20703" y="13265"/>
                    <a:pt x="17255" y="18500"/>
                    <a:pt x="11899" y="19602"/>
                  </a:cubicBezTo>
                  <a:cubicBezTo>
                    <a:pt x="6545" y="20703"/>
                    <a:pt x="1313" y="17258"/>
                    <a:pt x="207" y="11907"/>
                  </a:cubicBezTo>
                  <a:cubicBezTo>
                    <a:pt x="207" y="11904"/>
                    <a:pt x="206" y="11901"/>
                    <a:pt x="206" y="11899"/>
                  </a:cubicBezTo>
                  <a:cubicBezTo>
                    <a:pt x="-897" y="6543"/>
                    <a:pt x="2552" y="1307"/>
                    <a:pt x="7908" y="205"/>
                  </a:cubicBezTo>
                  <a:close/>
                </a:path>
              </a:pathLst>
            </a:custGeom>
            <a:solidFill>
              <a:schemeClr val="accent1">
                <a:lumMod val="75000"/>
              </a:schemeClr>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9" name="Shape 717"/>
            <p:cNvSpPr/>
            <p:nvPr/>
          </p:nvSpPr>
          <p:spPr>
            <a:xfrm>
              <a:off x="334270" y="282472"/>
              <a:ext cx="243070" cy="335885"/>
            </a:xfrm>
            <a:custGeom>
              <a:avLst/>
              <a:gdLst/>
              <a:ahLst/>
              <a:cxnLst>
                <a:cxn ang="0">
                  <a:pos x="wd2" y="hd2"/>
                </a:cxn>
                <a:cxn ang="5400000">
                  <a:pos x="wd2" y="hd2"/>
                </a:cxn>
                <a:cxn ang="10800000">
                  <a:pos x="wd2" y="hd2"/>
                </a:cxn>
                <a:cxn ang="16200000">
                  <a:pos x="wd2" y="hd2"/>
                </a:cxn>
              </a:cxnLst>
              <a:rect l="0" t="0" r="r" b="b"/>
              <a:pathLst>
                <a:path w="21565" h="21086" extrusionOk="0">
                  <a:moveTo>
                    <a:pt x="21023" y="5250"/>
                  </a:moveTo>
                  <a:lnTo>
                    <a:pt x="7163" y="195"/>
                  </a:lnTo>
                  <a:cubicBezTo>
                    <a:pt x="5264" y="-514"/>
                    <a:pt x="1521" y="853"/>
                    <a:pt x="445" y="2057"/>
                  </a:cubicBezTo>
                  <a:cubicBezTo>
                    <a:pt x="-35" y="2595"/>
                    <a:pt x="0" y="2983"/>
                    <a:pt x="0" y="3203"/>
                  </a:cubicBezTo>
                  <a:lnTo>
                    <a:pt x="173" y="14619"/>
                  </a:lnTo>
                  <a:cubicBezTo>
                    <a:pt x="184" y="14862"/>
                    <a:pt x="614" y="15188"/>
                    <a:pt x="983" y="15348"/>
                  </a:cubicBezTo>
                  <a:cubicBezTo>
                    <a:pt x="1753" y="15682"/>
                    <a:pt x="13399" y="20826"/>
                    <a:pt x="13729" y="20972"/>
                  </a:cubicBezTo>
                  <a:cubicBezTo>
                    <a:pt x="13905" y="21051"/>
                    <a:pt x="14115" y="21086"/>
                    <a:pt x="14322" y="21086"/>
                  </a:cubicBezTo>
                  <a:cubicBezTo>
                    <a:pt x="14499" y="21086"/>
                    <a:pt x="14675" y="21058"/>
                    <a:pt x="14834" y="21002"/>
                  </a:cubicBezTo>
                  <a:cubicBezTo>
                    <a:pt x="15185" y="20881"/>
                    <a:pt x="15404" y="20645"/>
                    <a:pt x="15404" y="20388"/>
                  </a:cubicBezTo>
                  <a:lnTo>
                    <a:pt x="15404" y="8397"/>
                  </a:lnTo>
                  <a:cubicBezTo>
                    <a:pt x="15404" y="8148"/>
                    <a:pt x="15198" y="7917"/>
                    <a:pt x="14862" y="7792"/>
                  </a:cubicBezTo>
                  <a:lnTo>
                    <a:pt x="2263" y="2817"/>
                  </a:lnTo>
                  <a:cubicBezTo>
                    <a:pt x="2408" y="2620"/>
                    <a:pt x="2968" y="2205"/>
                    <a:pt x="3997" y="1825"/>
                  </a:cubicBezTo>
                  <a:cubicBezTo>
                    <a:pt x="5082" y="1422"/>
                    <a:pt x="5896" y="1574"/>
                    <a:pt x="6082" y="1625"/>
                  </a:cubicBezTo>
                  <a:cubicBezTo>
                    <a:pt x="6082" y="1625"/>
                    <a:pt x="18173" y="6203"/>
                    <a:pt x="18544" y="6339"/>
                  </a:cubicBezTo>
                  <a:cubicBezTo>
                    <a:pt x="18911" y="6476"/>
                    <a:pt x="18918" y="6495"/>
                    <a:pt x="18918" y="6729"/>
                  </a:cubicBezTo>
                  <a:cubicBezTo>
                    <a:pt x="18918" y="6961"/>
                    <a:pt x="18918" y="18107"/>
                    <a:pt x="18918" y="18107"/>
                  </a:cubicBezTo>
                  <a:cubicBezTo>
                    <a:pt x="18918" y="18674"/>
                    <a:pt x="19733" y="18906"/>
                    <a:pt x="20330" y="18906"/>
                  </a:cubicBezTo>
                  <a:cubicBezTo>
                    <a:pt x="20927" y="18906"/>
                    <a:pt x="21565" y="18493"/>
                    <a:pt x="21565" y="18107"/>
                  </a:cubicBezTo>
                  <a:lnTo>
                    <a:pt x="21565" y="5855"/>
                  </a:lnTo>
                  <a:cubicBezTo>
                    <a:pt x="21565" y="5605"/>
                    <a:pt x="21357" y="5375"/>
                    <a:pt x="21023" y="525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8761412" y="2006502"/>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8761412" y="2250651"/>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57" name="Picture Placeholder 2"/>
          <p:cNvSpPr>
            <a:spLocks noGrp="1"/>
          </p:cNvSpPr>
          <p:nvPr>
            <p:ph type="pic" sz="quarter" idx="23"/>
          </p:nvPr>
        </p:nvSpPr>
        <p:spPr>
          <a:xfrm>
            <a:off x="5027612" y="2057400"/>
            <a:ext cx="2133600" cy="2869376"/>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grpSp>
        <p:nvGrpSpPr>
          <p:cNvPr id="4" name="Group 715"/>
          <p:cNvGrpSpPr/>
          <p:nvPr userDrawn="1"/>
        </p:nvGrpSpPr>
        <p:grpSpPr>
          <a:xfrm>
            <a:off x="3645765" y="4538461"/>
            <a:ext cx="455691" cy="455814"/>
            <a:chOff x="0" y="0"/>
            <a:chExt cx="911618" cy="911627"/>
          </a:xfrm>
        </p:grpSpPr>
        <p:sp>
          <p:nvSpPr>
            <p:cNvPr id="75" name="Shape 713"/>
            <p:cNvSpPr/>
            <p:nvPr/>
          </p:nvSpPr>
          <p:spPr>
            <a:xfrm>
              <a:off x="-1" y="-1"/>
              <a:ext cx="911620" cy="911629"/>
            </a:xfrm>
            <a:custGeom>
              <a:avLst/>
              <a:gdLst/>
              <a:ahLst/>
              <a:cxnLst>
                <a:cxn ang="0">
                  <a:pos x="wd2" y="hd2"/>
                </a:cxn>
                <a:cxn ang="5400000">
                  <a:pos x="wd2" y="hd2"/>
                </a:cxn>
                <a:cxn ang="10800000">
                  <a:pos x="wd2" y="hd2"/>
                </a:cxn>
                <a:cxn ang="16200000">
                  <a:pos x="wd2" y="hd2"/>
                </a:cxn>
              </a:cxnLst>
              <a:rect l="0" t="0" r="r" b="b"/>
              <a:pathLst>
                <a:path w="19807" h="19807" extrusionOk="0">
                  <a:moveTo>
                    <a:pt x="7907" y="205"/>
                  </a:moveTo>
                  <a:cubicBezTo>
                    <a:pt x="13264" y="-897"/>
                    <a:pt x="18498" y="2551"/>
                    <a:pt x="19601" y="7908"/>
                  </a:cubicBezTo>
                  <a:cubicBezTo>
                    <a:pt x="20703" y="13264"/>
                    <a:pt x="17254" y="18500"/>
                    <a:pt x="11898" y="19602"/>
                  </a:cubicBezTo>
                  <a:cubicBezTo>
                    <a:pt x="6545" y="20703"/>
                    <a:pt x="1312" y="17258"/>
                    <a:pt x="206" y="11907"/>
                  </a:cubicBezTo>
                  <a:cubicBezTo>
                    <a:pt x="206" y="11904"/>
                    <a:pt x="205" y="11901"/>
                    <a:pt x="204" y="11899"/>
                  </a:cubicBezTo>
                  <a:cubicBezTo>
                    <a:pt x="-897" y="6542"/>
                    <a:pt x="2551" y="1307"/>
                    <a:pt x="7907" y="205"/>
                  </a:cubicBezTo>
                  <a:close/>
                </a:path>
              </a:pathLst>
            </a:custGeom>
            <a:solidFill>
              <a:schemeClr val="accent2"/>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6" name="Shape 714"/>
            <p:cNvSpPr/>
            <p:nvPr/>
          </p:nvSpPr>
          <p:spPr>
            <a:xfrm>
              <a:off x="325844" y="282472"/>
              <a:ext cx="259931" cy="335885"/>
            </a:xfrm>
            <a:custGeom>
              <a:avLst/>
              <a:gdLst/>
              <a:ahLst/>
              <a:cxnLst>
                <a:cxn ang="0">
                  <a:pos x="wd2" y="hd2"/>
                </a:cxn>
                <a:cxn ang="5400000">
                  <a:pos x="wd2" y="hd2"/>
                </a:cxn>
                <a:cxn ang="10800000">
                  <a:pos x="wd2" y="hd2"/>
                </a:cxn>
                <a:cxn ang="16200000">
                  <a:pos x="wd2" y="hd2"/>
                </a:cxn>
              </a:cxnLst>
              <a:rect l="0" t="0" r="r" b="b"/>
              <a:pathLst>
                <a:path w="21137" h="21205" extrusionOk="0">
                  <a:moveTo>
                    <a:pt x="5865" y="2548"/>
                  </a:moveTo>
                  <a:lnTo>
                    <a:pt x="5867" y="15695"/>
                  </a:lnTo>
                  <a:cubicBezTo>
                    <a:pt x="4944" y="15546"/>
                    <a:pt x="3872" y="15602"/>
                    <a:pt x="2808" y="15909"/>
                  </a:cubicBezTo>
                  <a:cubicBezTo>
                    <a:pt x="413" y="16599"/>
                    <a:pt x="-431" y="18279"/>
                    <a:pt x="203" y="19659"/>
                  </a:cubicBezTo>
                  <a:cubicBezTo>
                    <a:pt x="839" y="21041"/>
                    <a:pt x="2710" y="21600"/>
                    <a:pt x="5104" y="20909"/>
                  </a:cubicBezTo>
                  <a:cubicBezTo>
                    <a:pt x="7137" y="20323"/>
                    <a:pt x="8468" y="19024"/>
                    <a:pt x="8434" y="17799"/>
                  </a:cubicBezTo>
                  <a:cubicBezTo>
                    <a:pt x="8434" y="17799"/>
                    <a:pt x="8434" y="10827"/>
                    <a:pt x="8434" y="6940"/>
                  </a:cubicBezTo>
                  <a:lnTo>
                    <a:pt x="18567" y="5136"/>
                  </a:lnTo>
                  <a:lnTo>
                    <a:pt x="18567" y="13479"/>
                  </a:lnTo>
                  <a:cubicBezTo>
                    <a:pt x="17645" y="13330"/>
                    <a:pt x="16572" y="13386"/>
                    <a:pt x="15509" y="13693"/>
                  </a:cubicBezTo>
                  <a:cubicBezTo>
                    <a:pt x="13115" y="14384"/>
                    <a:pt x="12270" y="16064"/>
                    <a:pt x="12905" y="17443"/>
                  </a:cubicBezTo>
                  <a:cubicBezTo>
                    <a:pt x="13539" y="18825"/>
                    <a:pt x="15411" y="19384"/>
                    <a:pt x="17806" y="18694"/>
                  </a:cubicBezTo>
                  <a:cubicBezTo>
                    <a:pt x="19839" y="18107"/>
                    <a:pt x="21169" y="16808"/>
                    <a:pt x="21136" y="15583"/>
                  </a:cubicBezTo>
                  <a:lnTo>
                    <a:pt x="21136" y="0"/>
                  </a:lnTo>
                  <a:cubicBezTo>
                    <a:pt x="21136" y="0"/>
                    <a:pt x="5865" y="2548"/>
                    <a:pt x="5865" y="2548"/>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5" name="Group 721"/>
          <p:cNvGrpSpPr/>
          <p:nvPr userDrawn="1"/>
        </p:nvGrpSpPr>
        <p:grpSpPr>
          <a:xfrm>
            <a:off x="8099788" y="3694403"/>
            <a:ext cx="455701" cy="455815"/>
            <a:chOff x="-1" y="-1"/>
            <a:chExt cx="911637" cy="911629"/>
          </a:xfrm>
        </p:grpSpPr>
        <p:sp>
          <p:nvSpPr>
            <p:cNvPr id="81" name="Shape 719"/>
            <p:cNvSpPr/>
            <p:nvPr/>
          </p:nvSpPr>
          <p:spPr>
            <a:xfrm>
              <a:off x="-1" y="-1"/>
              <a:ext cx="911637" cy="911629"/>
            </a:xfrm>
            <a:custGeom>
              <a:avLst/>
              <a:gdLst/>
              <a:ahLst/>
              <a:cxnLst>
                <a:cxn ang="0">
                  <a:pos x="wd2" y="hd2"/>
                </a:cxn>
                <a:cxn ang="5400000">
                  <a:pos x="wd2" y="hd2"/>
                </a:cxn>
                <a:cxn ang="10800000">
                  <a:pos x="wd2" y="hd2"/>
                </a:cxn>
                <a:cxn ang="16200000">
                  <a:pos x="wd2" y="hd2"/>
                </a:cxn>
              </a:cxnLst>
              <a:rect l="0" t="0" r="r" b="b"/>
              <a:pathLst>
                <a:path w="19807" h="19806" extrusionOk="0">
                  <a:moveTo>
                    <a:pt x="7908" y="205"/>
                  </a:moveTo>
                  <a:cubicBezTo>
                    <a:pt x="13264" y="-897"/>
                    <a:pt x="18500" y="2551"/>
                    <a:pt x="19602" y="7907"/>
                  </a:cubicBezTo>
                  <a:cubicBezTo>
                    <a:pt x="20703" y="13264"/>
                    <a:pt x="17254" y="18499"/>
                    <a:pt x="11899" y="19601"/>
                  </a:cubicBezTo>
                  <a:cubicBezTo>
                    <a:pt x="6545" y="20703"/>
                    <a:pt x="1312" y="17258"/>
                    <a:pt x="207" y="11907"/>
                  </a:cubicBezTo>
                  <a:cubicBezTo>
                    <a:pt x="206" y="11904"/>
                    <a:pt x="206" y="11901"/>
                    <a:pt x="205" y="11898"/>
                  </a:cubicBezTo>
                  <a:cubicBezTo>
                    <a:pt x="-897" y="6542"/>
                    <a:pt x="2552" y="1307"/>
                    <a:pt x="7908" y="205"/>
                  </a:cubicBezTo>
                  <a:close/>
                </a:path>
              </a:pathLst>
            </a:custGeom>
            <a:solidFill>
              <a:schemeClr val="accent5"/>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82" name="Shape 720"/>
            <p:cNvSpPr/>
            <p:nvPr/>
          </p:nvSpPr>
          <p:spPr>
            <a:xfrm>
              <a:off x="287861" y="287871"/>
              <a:ext cx="335911" cy="335886"/>
            </a:xfrm>
            <a:custGeom>
              <a:avLst/>
              <a:gdLst/>
              <a:ahLst/>
              <a:cxnLst>
                <a:cxn ang="0">
                  <a:pos x="wd2" y="hd2"/>
                </a:cxn>
                <a:cxn ang="5400000">
                  <a:pos x="wd2" y="hd2"/>
                </a:cxn>
                <a:cxn ang="10800000">
                  <a:pos x="wd2" y="hd2"/>
                </a:cxn>
                <a:cxn ang="16200000">
                  <a:pos x="wd2" y="hd2"/>
                </a:cxn>
              </a:cxnLst>
              <a:rect l="0" t="0" r="r" b="b"/>
              <a:pathLst>
                <a:path w="21600" h="21600" extrusionOk="0">
                  <a:moveTo>
                    <a:pt x="10800" y="15497"/>
                  </a:moveTo>
                  <a:cubicBezTo>
                    <a:pt x="8207" y="15497"/>
                    <a:pt x="6104" y="13394"/>
                    <a:pt x="6104" y="10801"/>
                  </a:cubicBezTo>
                  <a:cubicBezTo>
                    <a:pt x="6104" y="8206"/>
                    <a:pt x="8207" y="6103"/>
                    <a:pt x="10800" y="6103"/>
                  </a:cubicBezTo>
                  <a:cubicBezTo>
                    <a:pt x="13395" y="6103"/>
                    <a:pt x="15497" y="8206"/>
                    <a:pt x="15497" y="10801"/>
                  </a:cubicBezTo>
                  <a:cubicBezTo>
                    <a:pt x="15497" y="13394"/>
                    <a:pt x="13395" y="15497"/>
                    <a:pt x="10800" y="15497"/>
                  </a:cubicBezTo>
                  <a:close/>
                  <a:moveTo>
                    <a:pt x="19522" y="10801"/>
                  </a:moveTo>
                  <a:cubicBezTo>
                    <a:pt x="19522" y="9454"/>
                    <a:pt x="20352" y="8390"/>
                    <a:pt x="21600" y="7659"/>
                  </a:cubicBezTo>
                  <a:cubicBezTo>
                    <a:pt x="21376" y="6908"/>
                    <a:pt x="21077" y="6187"/>
                    <a:pt x="20711" y="5509"/>
                  </a:cubicBezTo>
                  <a:cubicBezTo>
                    <a:pt x="19310" y="5876"/>
                    <a:pt x="18177" y="5328"/>
                    <a:pt x="17225" y="4375"/>
                  </a:cubicBezTo>
                  <a:cubicBezTo>
                    <a:pt x="16273" y="3423"/>
                    <a:pt x="15982" y="2288"/>
                    <a:pt x="16347" y="889"/>
                  </a:cubicBezTo>
                  <a:cubicBezTo>
                    <a:pt x="15671" y="522"/>
                    <a:pt x="14951" y="224"/>
                    <a:pt x="14198" y="0"/>
                  </a:cubicBezTo>
                  <a:cubicBezTo>
                    <a:pt x="13467" y="1248"/>
                    <a:pt x="12147" y="2078"/>
                    <a:pt x="10800" y="2078"/>
                  </a:cubicBezTo>
                  <a:cubicBezTo>
                    <a:pt x="9453" y="2078"/>
                    <a:pt x="8134" y="1248"/>
                    <a:pt x="7403" y="0"/>
                  </a:cubicBezTo>
                  <a:cubicBezTo>
                    <a:pt x="6651" y="224"/>
                    <a:pt x="5931" y="522"/>
                    <a:pt x="5253" y="889"/>
                  </a:cubicBezTo>
                  <a:cubicBezTo>
                    <a:pt x="5620" y="2288"/>
                    <a:pt x="5329" y="3422"/>
                    <a:pt x="4375" y="4375"/>
                  </a:cubicBezTo>
                  <a:cubicBezTo>
                    <a:pt x="3423" y="5328"/>
                    <a:pt x="2290" y="5876"/>
                    <a:pt x="890" y="5510"/>
                  </a:cubicBezTo>
                  <a:cubicBezTo>
                    <a:pt x="523" y="6187"/>
                    <a:pt x="224" y="6908"/>
                    <a:pt x="0" y="7659"/>
                  </a:cubicBezTo>
                  <a:cubicBezTo>
                    <a:pt x="1249" y="8390"/>
                    <a:pt x="2078" y="9454"/>
                    <a:pt x="2078" y="10801"/>
                  </a:cubicBezTo>
                  <a:cubicBezTo>
                    <a:pt x="2078" y="12146"/>
                    <a:pt x="1249" y="13467"/>
                    <a:pt x="0" y="14198"/>
                  </a:cubicBezTo>
                  <a:cubicBezTo>
                    <a:pt x="224" y="14950"/>
                    <a:pt x="523" y="15670"/>
                    <a:pt x="890" y="16348"/>
                  </a:cubicBezTo>
                  <a:cubicBezTo>
                    <a:pt x="2290" y="15981"/>
                    <a:pt x="3423" y="16272"/>
                    <a:pt x="4375" y="17226"/>
                  </a:cubicBezTo>
                  <a:cubicBezTo>
                    <a:pt x="5327" y="18178"/>
                    <a:pt x="5620" y="19312"/>
                    <a:pt x="5253" y="20711"/>
                  </a:cubicBezTo>
                  <a:cubicBezTo>
                    <a:pt x="5931" y="21078"/>
                    <a:pt x="6651" y="21377"/>
                    <a:pt x="7403" y="21600"/>
                  </a:cubicBezTo>
                  <a:cubicBezTo>
                    <a:pt x="8134" y="20352"/>
                    <a:pt x="9453" y="19524"/>
                    <a:pt x="10800" y="19524"/>
                  </a:cubicBezTo>
                  <a:cubicBezTo>
                    <a:pt x="12147" y="19524"/>
                    <a:pt x="13467" y="20352"/>
                    <a:pt x="14198" y="21600"/>
                  </a:cubicBezTo>
                  <a:cubicBezTo>
                    <a:pt x="14951" y="21376"/>
                    <a:pt x="15671" y="21078"/>
                    <a:pt x="16349" y="20711"/>
                  </a:cubicBezTo>
                  <a:cubicBezTo>
                    <a:pt x="15982" y="19312"/>
                    <a:pt x="16273" y="18178"/>
                    <a:pt x="17225" y="17226"/>
                  </a:cubicBezTo>
                  <a:cubicBezTo>
                    <a:pt x="18177" y="16272"/>
                    <a:pt x="19310" y="15724"/>
                    <a:pt x="20711" y="16091"/>
                  </a:cubicBezTo>
                  <a:cubicBezTo>
                    <a:pt x="21077" y="15413"/>
                    <a:pt x="21376" y="14693"/>
                    <a:pt x="21600" y="13941"/>
                  </a:cubicBezTo>
                  <a:cubicBezTo>
                    <a:pt x="20352" y="13210"/>
                    <a:pt x="19522" y="12146"/>
                    <a:pt x="19522" y="10801"/>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6" name="Group 727"/>
          <p:cNvGrpSpPr/>
          <p:nvPr userDrawn="1"/>
        </p:nvGrpSpPr>
        <p:grpSpPr>
          <a:xfrm>
            <a:off x="8099798" y="4538461"/>
            <a:ext cx="455681" cy="455815"/>
            <a:chOff x="-1" y="0"/>
            <a:chExt cx="911598" cy="911628"/>
          </a:xfrm>
        </p:grpSpPr>
        <p:sp>
          <p:nvSpPr>
            <p:cNvPr id="87" name="Shape 725"/>
            <p:cNvSpPr/>
            <p:nvPr/>
          </p:nvSpPr>
          <p:spPr>
            <a:xfrm>
              <a:off x="-1" y="0"/>
              <a:ext cx="911598" cy="911628"/>
            </a:xfrm>
            <a:custGeom>
              <a:avLst/>
              <a:gdLst/>
              <a:ahLst/>
              <a:cxnLst>
                <a:cxn ang="0">
                  <a:pos x="wd2" y="hd2"/>
                </a:cxn>
                <a:cxn ang="5400000">
                  <a:pos x="wd2" y="hd2"/>
                </a:cxn>
                <a:cxn ang="10800000">
                  <a:pos x="wd2" y="hd2"/>
                </a:cxn>
                <a:cxn ang="16200000">
                  <a:pos x="wd2" y="hd2"/>
                </a:cxn>
              </a:cxnLst>
              <a:rect l="0" t="0" r="r" b="b"/>
              <a:pathLst>
                <a:path w="19806" h="19806" extrusionOk="0">
                  <a:moveTo>
                    <a:pt x="11898" y="19600"/>
                  </a:moveTo>
                  <a:cubicBezTo>
                    <a:pt x="6542" y="20703"/>
                    <a:pt x="1307" y="17254"/>
                    <a:pt x="205" y="11898"/>
                  </a:cubicBezTo>
                  <a:cubicBezTo>
                    <a:pt x="-897" y="6542"/>
                    <a:pt x="2551" y="1307"/>
                    <a:pt x="7908" y="205"/>
                  </a:cubicBezTo>
                  <a:cubicBezTo>
                    <a:pt x="13261" y="-897"/>
                    <a:pt x="18494" y="2548"/>
                    <a:pt x="19599" y="7899"/>
                  </a:cubicBezTo>
                  <a:cubicBezTo>
                    <a:pt x="19600" y="7902"/>
                    <a:pt x="19600" y="7905"/>
                    <a:pt x="19600" y="7907"/>
                  </a:cubicBezTo>
                  <a:cubicBezTo>
                    <a:pt x="20703" y="13263"/>
                    <a:pt x="17254" y="18499"/>
                    <a:pt x="11898" y="19600"/>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88" name="Shape 726"/>
            <p:cNvSpPr/>
            <p:nvPr/>
          </p:nvSpPr>
          <p:spPr>
            <a:xfrm>
              <a:off x="287844" y="306407"/>
              <a:ext cx="335911" cy="298811"/>
            </a:xfrm>
            <a:custGeom>
              <a:avLst/>
              <a:gdLst/>
              <a:ahLst/>
              <a:cxnLst>
                <a:cxn ang="0">
                  <a:pos x="wd2" y="hd2"/>
                </a:cxn>
                <a:cxn ang="5400000">
                  <a:pos x="wd2" y="hd2"/>
                </a:cxn>
                <a:cxn ang="10800000">
                  <a:pos x="wd2" y="hd2"/>
                </a:cxn>
                <a:cxn ang="16200000">
                  <a:pos x="wd2" y="hd2"/>
                </a:cxn>
              </a:cxnLst>
              <a:rect l="0" t="0" r="r" b="b"/>
              <a:pathLst>
                <a:path w="21446" h="21471" extrusionOk="0">
                  <a:moveTo>
                    <a:pt x="2906" y="19280"/>
                  </a:moveTo>
                  <a:cubicBezTo>
                    <a:pt x="2683" y="19534"/>
                    <a:pt x="2683" y="19946"/>
                    <a:pt x="2906" y="20200"/>
                  </a:cubicBezTo>
                  <a:lnTo>
                    <a:pt x="3930" y="21326"/>
                  </a:lnTo>
                  <a:cubicBezTo>
                    <a:pt x="4154" y="21580"/>
                    <a:pt x="4510" y="21473"/>
                    <a:pt x="4734" y="21220"/>
                  </a:cubicBezTo>
                  <a:lnTo>
                    <a:pt x="10017" y="15372"/>
                  </a:lnTo>
                  <a:lnTo>
                    <a:pt x="8398" y="13299"/>
                  </a:lnTo>
                  <a:cubicBezTo>
                    <a:pt x="8398" y="13299"/>
                    <a:pt x="2906" y="19280"/>
                    <a:pt x="2906" y="19280"/>
                  </a:cubicBezTo>
                  <a:close/>
                  <a:moveTo>
                    <a:pt x="21387" y="2723"/>
                  </a:moveTo>
                  <a:cubicBezTo>
                    <a:pt x="21307" y="2125"/>
                    <a:pt x="21031" y="2252"/>
                    <a:pt x="20888" y="2505"/>
                  </a:cubicBezTo>
                  <a:cubicBezTo>
                    <a:pt x="20746" y="2758"/>
                    <a:pt x="20111" y="3840"/>
                    <a:pt x="19852" y="4329"/>
                  </a:cubicBezTo>
                  <a:cubicBezTo>
                    <a:pt x="19593" y="4815"/>
                    <a:pt x="18956" y="5772"/>
                    <a:pt x="17770" y="4826"/>
                  </a:cubicBezTo>
                  <a:cubicBezTo>
                    <a:pt x="16533" y="3843"/>
                    <a:pt x="16963" y="3157"/>
                    <a:pt x="17179" y="2694"/>
                  </a:cubicBezTo>
                  <a:cubicBezTo>
                    <a:pt x="17395" y="2232"/>
                    <a:pt x="18059" y="931"/>
                    <a:pt x="18155" y="768"/>
                  </a:cubicBezTo>
                  <a:cubicBezTo>
                    <a:pt x="18251" y="605"/>
                    <a:pt x="18139" y="129"/>
                    <a:pt x="17756" y="329"/>
                  </a:cubicBezTo>
                  <a:cubicBezTo>
                    <a:pt x="17372" y="527"/>
                    <a:pt x="15039" y="1572"/>
                    <a:pt x="14715" y="3066"/>
                  </a:cubicBezTo>
                  <a:cubicBezTo>
                    <a:pt x="14386" y="4590"/>
                    <a:pt x="14993" y="5950"/>
                    <a:pt x="13800" y="7301"/>
                  </a:cubicBezTo>
                  <a:lnTo>
                    <a:pt x="12355" y="8998"/>
                  </a:lnTo>
                  <a:lnTo>
                    <a:pt x="13806" y="10898"/>
                  </a:lnTo>
                  <a:lnTo>
                    <a:pt x="15589" y="8995"/>
                  </a:lnTo>
                  <a:cubicBezTo>
                    <a:pt x="16013" y="8514"/>
                    <a:pt x="16919" y="8048"/>
                    <a:pt x="17740" y="8257"/>
                  </a:cubicBezTo>
                  <a:cubicBezTo>
                    <a:pt x="19498" y="8705"/>
                    <a:pt x="20456" y="7962"/>
                    <a:pt x="21035" y="6733"/>
                  </a:cubicBezTo>
                  <a:cubicBezTo>
                    <a:pt x="21552" y="5635"/>
                    <a:pt x="21466" y="3322"/>
                    <a:pt x="21387" y="2723"/>
                  </a:cubicBezTo>
                  <a:close/>
                  <a:moveTo>
                    <a:pt x="9478" y="7592"/>
                  </a:moveTo>
                  <a:cubicBezTo>
                    <a:pt x="9350" y="7424"/>
                    <a:pt x="9189" y="7421"/>
                    <a:pt x="9050" y="7558"/>
                  </a:cubicBezTo>
                  <a:lnTo>
                    <a:pt x="7506" y="9074"/>
                  </a:lnTo>
                  <a:cubicBezTo>
                    <a:pt x="7384" y="9194"/>
                    <a:pt x="7369" y="9419"/>
                    <a:pt x="7477" y="9559"/>
                  </a:cubicBezTo>
                  <a:lnTo>
                    <a:pt x="16408" y="20996"/>
                  </a:lnTo>
                  <a:cubicBezTo>
                    <a:pt x="16616" y="21268"/>
                    <a:pt x="16979" y="21295"/>
                    <a:pt x="17217" y="21061"/>
                  </a:cubicBezTo>
                  <a:lnTo>
                    <a:pt x="18263" y="20076"/>
                  </a:lnTo>
                  <a:cubicBezTo>
                    <a:pt x="18500" y="19839"/>
                    <a:pt x="18526" y="19429"/>
                    <a:pt x="18317" y="19158"/>
                  </a:cubicBezTo>
                  <a:cubicBezTo>
                    <a:pt x="18317" y="19158"/>
                    <a:pt x="9478" y="7592"/>
                    <a:pt x="9478" y="7592"/>
                  </a:cubicBezTo>
                  <a:close/>
                  <a:moveTo>
                    <a:pt x="3331" y="6965"/>
                  </a:moveTo>
                  <a:cubicBezTo>
                    <a:pt x="4336" y="6088"/>
                    <a:pt x="5170" y="6693"/>
                    <a:pt x="6282" y="8142"/>
                  </a:cubicBezTo>
                  <a:cubicBezTo>
                    <a:pt x="6408" y="8304"/>
                    <a:pt x="6575" y="8114"/>
                    <a:pt x="6671" y="8021"/>
                  </a:cubicBezTo>
                  <a:cubicBezTo>
                    <a:pt x="6766" y="7926"/>
                    <a:pt x="8233" y="6440"/>
                    <a:pt x="8306" y="6370"/>
                  </a:cubicBezTo>
                  <a:cubicBezTo>
                    <a:pt x="8377" y="6300"/>
                    <a:pt x="8464" y="6167"/>
                    <a:pt x="8349" y="6018"/>
                  </a:cubicBezTo>
                  <a:cubicBezTo>
                    <a:pt x="8235" y="5868"/>
                    <a:pt x="7817" y="5261"/>
                    <a:pt x="7550" y="4867"/>
                  </a:cubicBezTo>
                  <a:cubicBezTo>
                    <a:pt x="5603" y="2001"/>
                    <a:pt x="12876" y="57"/>
                    <a:pt x="11758" y="25"/>
                  </a:cubicBezTo>
                  <a:cubicBezTo>
                    <a:pt x="11190" y="9"/>
                    <a:pt x="8909" y="-20"/>
                    <a:pt x="8569" y="21"/>
                  </a:cubicBezTo>
                  <a:cubicBezTo>
                    <a:pt x="7186" y="186"/>
                    <a:pt x="5452" y="1638"/>
                    <a:pt x="4578" y="2313"/>
                  </a:cubicBezTo>
                  <a:cubicBezTo>
                    <a:pt x="3437" y="3196"/>
                    <a:pt x="3011" y="3711"/>
                    <a:pt x="2939" y="3781"/>
                  </a:cubicBezTo>
                  <a:cubicBezTo>
                    <a:pt x="2617" y="4099"/>
                    <a:pt x="2887" y="4832"/>
                    <a:pt x="2303" y="5410"/>
                  </a:cubicBezTo>
                  <a:cubicBezTo>
                    <a:pt x="1683" y="6021"/>
                    <a:pt x="1297" y="5560"/>
                    <a:pt x="939" y="5913"/>
                  </a:cubicBezTo>
                  <a:cubicBezTo>
                    <a:pt x="761" y="6090"/>
                    <a:pt x="264" y="6509"/>
                    <a:pt x="122" y="6650"/>
                  </a:cubicBezTo>
                  <a:cubicBezTo>
                    <a:pt x="-22" y="6790"/>
                    <a:pt x="-48" y="7030"/>
                    <a:pt x="99" y="7219"/>
                  </a:cubicBezTo>
                  <a:cubicBezTo>
                    <a:pt x="99" y="7219"/>
                    <a:pt x="1459" y="8912"/>
                    <a:pt x="1574" y="9061"/>
                  </a:cubicBezTo>
                  <a:cubicBezTo>
                    <a:pt x="1688" y="9210"/>
                    <a:pt x="1994" y="9337"/>
                    <a:pt x="2185" y="9149"/>
                  </a:cubicBezTo>
                  <a:cubicBezTo>
                    <a:pt x="2375" y="8960"/>
                    <a:pt x="2864" y="8477"/>
                    <a:pt x="2947" y="8394"/>
                  </a:cubicBezTo>
                  <a:cubicBezTo>
                    <a:pt x="3031" y="8312"/>
                    <a:pt x="2893" y="7349"/>
                    <a:pt x="3331" y="6965"/>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7" name="Group 730"/>
          <p:cNvGrpSpPr/>
          <p:nvPr userDrawn="1"/>
        </p:nvGrpSpPr>
        <p:grpSpPr>
          <a:xfrm>
            <a:off x="8099798" y="2850347"/>
            <a:ext cx="455681" cy="455815"/>
            <a:chOff x="0" y="0"/>
            <a:chExt cx="911598" cy="911629"/>
          </a:xfrm>
        </p:grpSpPr>
        <p:sp>
          <p:nvSpPr>
            <p:cNvPr id="90" name="Shape 728"/>
            <p:cNvSpPr/>
            <p:nvPr/>
          </p:nvSpPr>
          <p:spPr>
            <a:xfrm>
              <a:off x="0" y="0"/>
              <a:ext cx="911598" cy="911629"/>
            </a:xfrm>
            <a:custGeom>
              <a:avLst/>
              <a:gdLst/>
              <a:ahLst/>
              <a:cxnLst>
                <a:cxn ang="0">
                  <a:pos x="wd2" y="hd2"/>
                </a:cxn>
                <a:cxn ang="5400000">
                  <a:pos x="wd2" y="hd2"/>
                </a:cxn>
                <a:cxn ang="10800000">
                  <a:pos x="wd2" y="hd2"/>
                </a:cxn>
                <a:cxn ang="16200000">
                  <a:pos x="wd2" y="hd2"/>
                </a:cxn>
              </a:cxnLst>
              <a:rect l="0" t="0" r="r" b="b"/>
              <a:pathLst>
                <a:path w="19806" h="19806" extrusionOk="0">
                  <a:moveTo>
                    <a:pt x="11898" y="19600"/>
                  </a:moveTo>
                  <a:cubicBezTo>
                    <a:pt x="6542" y="20703"/>
                    <a:pt x="1307" y="17254"/>
                    <a:pt x="205" y="11898"/>
                  </a:cubicBezTo>
                  <a:cubicBezTo>
                    <a:pt x="-897" y="6542"/>
                    <a:pt x="2551" y="1307"/>
                    <a:pt x="7908" y="205"/>
                  </a:cubicBezTo>
                  <a:cubicBezTo>
                    <a:pt x="13261" y="-897"/>
                    <a:pt x="18494" y="2548"/>
                    <a:pt x="19599" y="7899"/>
                  </a:cubicBezTo>
                  <a:cubicBezTo>
                    <a:pt x="19600" y="7902"/>
                    <a:pt x="19600" y="7905"/>
                    <a:pt x="19600" y="7907"/>
                  </a:cubicBezTo>
                  <a:cubicBezTo>
                    <a:pt x="20703" y="13263"/>
                    <a:pt x="17254" y="18499"/>
                    <a:pt x="11898" y="19600"/>
                  </a:cubicBezTo>
                  <a:close/>
                </a:path>
              </a:pathLst>
            </a:custGeom>
            <a:solidFill>
              <a:schemeClr val="accent1"/>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1" name="Shape 729"/>
            <p:cNvSpPr/>
            <p:nvPr/>
          </p:nvSpPr>
          <p:spPr>
            <a:xfrm>
              <a:off x="285188" y="305676"/>
              <a:ext cx="341220" cy="300278"/>
            </a:xfrm>
            <a:custGeom>
              <a:avLst/>
              <a:gdLst/>
              <a:ahLst/>
              <a:cxnLst>
                <a:cxn ang="0">
                  <a:pos x="wd2" y="hd2"/>
                </a:cxn>
                <a:cxn ang="5400000">
                  <a:pos x="wd2" y="hd2"/>
                </a:cxn>
                <a:cxn ang="10800000">
                  <a:pos x="wd2" y="hd2"/>
                </a:cxn>
                <a:cxn ang="16200000">
                  <a:pos x="wd2" y="hd2"/>
                </a:cxn>
              </a:cxnLst>
              <a:rect l="0" t="0" r="r" b="b"/>
              <a:pathLst>
                <a:path w="21600" h="21600" extrusionOk="0">
                  <a:moveTo>
                    <a:pt x="19440" y="15832"/>
                  </a:moveTo>
                  <a:lnTo>
                    <a:pt x="2160" y="15832"/>
                  </a:lnTo>
                  <a:lnTo>
                    <a:pt x="2160" y="2209"/>
                  </a:lnTo>
                  <a:lnTo>
                    <a:pt x="19440" y="2209"/>
                  </a:lnTo>
                  <a:cubicBezTo>
                    <a:pt x="19440" y="2209"/>
                    <a:pt x="19440" y="15832"/>
                    <a:pt x="19440" y="15832"/>
                  </a:cubicBezTo>
                  <a:close/>
                  <a:moveTo>
                    <a:pt x="19440" y="0"/>
                  </a:moveTo>
                  <a:lnTo>
                    <a:pt x="2160" y="0"/>
                  </a:lnTo>
                  <a:cubicBezTo>
                    <a:pt x="971" y="0"/>
                    <a:pt x="0" y="1104"/>
                    <a:pt x="0" y="2455"/>
                  </a:cubicBezTo>
                  <a:lnTo>
                    <a:pt x="0" y="15955"/>
                  </a:lnTo>
                  <a:cubicBezTo>
                    <a:pt x="0" y="17304"/>
                    <a:pt x="953" y="18627"/>
                    <a:pt x="2119" y="18891"/>
                  </a:cubicBezTo>
                  <a:lnTo>
                    <a:pt x="6839" y="19964"/>
                  </a:lnTo>
                  <a:cubicBezTo>
                    <a:pt x="6839" y="19964"/>
                    <a:pt x="2775" y="21600"/>
                    <a:pt x="5400" y="21600"/>
                  </a:cubicBezTo>
                  <a:lnTo>
                    <a:pt x="16200" y="21600"/>
                  </a:lnTo>
                  <a:cubicBezTo>
                    <a:pt x="18825" y="21600"/>
                    <a:pt x="14761" y="19964"/>
                    <a:pt x="14761" y="19964"/>
                  </a:cubicBezTo>
                  <a:lnTo>
                    <a:pt x="19483" y="18891"/>
                  </a:lnTo>
                  <a:cubicBezTo>
                    <a:pt x="20647" y="18627"/>
                    <a:pt x="21600" y="17304"/>
                    <a:pt x="21600" y="15955"/>
                  </a:cubicBezTo>
                  <a:lnTo>
                    <a:pt x="21600" y="2455"/>
                  </a:lnTo>
                  <a:cubicBezTo>
                    <a:pt x="21600" y="1104"/>
                    <a:pt x="20629" y="0"/>
                    <a:pt x="19440"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8" name="Group 733"/>
          <p:cNvGrpSpPr/>
          <p:nvPr userDrawn="1"/>
        </p:nvGrpSpPr>
        <p:grpSpPr>
          <a:xfrm>
            <a:off x="3645765" y="2850347"/>
            <a:ext cx="455691" cy="455814"/>
            <a:chOff x="0" y="0"/>
            <a:chExt cx="911618" cy="911627"/>
          </a:xfrm>
        </p:grpSpPr>
        <p:sp>
          <p:nvSpPr>
            <p:cNvPr id="94" name="Shape 731"/>
            <p:cNvSpPr/>
            <p:nvPr/>
          </p:nvSpPr>
          <p:spPr>
            <a:xfrm>
              <a:off x="-1" y="-1"/>
              <a:ext cx="911620" cy="911629"/>
            </a:xfrm>
            <a:custGeom>
              <a:avLst/>
              <a:gdLst/>
              <a:ahLst/>
              <a:cxnLst>
                <a:cxn ang="0">
                  <a:pos x="wd2" y="hd2"/>
                </a:cxn>
                <a:cxn ang="5400000">
                  <a:pos x="wd2" y="hd2"/>
                </a:cxn>
                <a:cxn ang="10800000">
                  <a:pos x="wd2" y="hd2"/>
                </a:cxn>
                <a:cxn ang="16200000">
                  <a:pos x="wd2" y="hd2"/>
                </a:cxn>
              </a:cxnLst>
              <a:rect l="0" t="0" r="r" b="b"/>
              <a:pathLst>
                <a:path w="19807" h="19807" extrusionOk="0">
                  <a:moveTo>
                    <a:pt x="7907" y="205"/>
                  </a:moveTo>
                  <a:cubicBezTo>
                    <a:pt x="13264" y="-897"/>
                    <a:pt x="18498" y="2551"/>
                    <a:pt x="19601" y="7908"/>
                  </a:cubicBezTo>
                  <a:cubicBezTo>
                    <a:pt x="20703" y="13264"/>
                    <a:pt x="17254" y="18500"/>
                    <a:pt x="11898" y="19602"/>
                  </a:cubicBezTo>
                  <a:cubicBezTo>
                    <a:pt x="6545" y="20703"/>
                    <a:pt x="1312" y="17258"/>
                    <a:pt x="206" y="11907"/>
                  </a:cubicBezTo>
                  <a:cubicBezTo>
                    <a:pt x="206" y="11904"/>
                    <a:pt x="205" y="11901"/>
                    <a:pt x="204" y="11899"/>
                  </a:cubicBezTo>
                  <a:cubicBezTo>
                    <a:pt x="-897" y="6542"/>
                    <a:pt x="2551" y="1307"/>
                    <a:pt x="7907" y="205"/>
                  </a:cubicBezTo>
                  <a:close/>
                </a:path>
              </a:pathLst>
            </a:custGeom>
            <a:solidFill>
              <a:schemeClr val="accent5"/>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5" name="Shape 732"/>
            <p:cNvSpPr/>
            <p:nvPr/>
          </p:nvSpPr>
          <p:spPr>
            <a:xfrm>
              <a:off x="287277" y="355105"/>
              <a:ext cx="337065" cy="202231"/>
            </a:xfrm>
            <a:custGeom>
              <a:avLst/>
              <a:gdLst/>
              <a:ahLst/>
              <a:cxnLst>
                <a:cxn ang="0">
                  <a:pos x="wd2" y="hd2"/>
                </a:cxn>
                <a:cxn ang="5400000">
                  <a:pos x="wd2" y="hd2"/>
                </a:cxn>
                <a:cxn ang="10800000">
                  <a:pos x="wd2" y="hd2"/>
                </a:cxn>
                <a:cxn ang="16200000">
                  <a:pos x="wd2" y="hd2"/>
                </a:cxn>
              </a:cxnLst>
              <a:rect l="0" t="0" r="r" b="b"/>
              <a:pathLst>
                <a:path w="21600" h="21600" extrusionOk="0">
                  <a:moveTo>
                    <a:pt x="19440" y="7201"/>
                  </a:moveTo>
                  <a:lnTo>
                    <a:pt x="15120" y="7201"/>
                  </a:lnTo>
                  <a:lnTo>
                    <a:pt x="15120" y="3600"/>
                  </a:lnTo>
                  <a:lnTo>
                    <a:pt x="19440" y="3600"/>
                  </a:lnTo>
                  <a:cubicBezTo>
                    <a:pt x="19440" y="3600"/>
                    <a:pt x="19440" y="7201"/>
                    <a:pt x="19440" y="7201"/>
                  </a:cubicBezTo>
                  <a:close/>
                  <a:moveTo>
                    <a:pt x="16200" y="12600"/>
                  </a:moveTo>
                  <a:lnTo>
                    <a:pt x="16200" y="9000"/>
                  </a:lnTo>
                  <a:lnTo>
                    <a:pt x="18359" y="9000"/>
                  </a:lnTo>
                  <a:lnTo>
                    <a:pt x="18359" y="12600"/>
                  </a:lnTo>
                  <a:cubicBezTo>
                    <a:pt x="18359" y="12600"/>
                    <a:pt x="16200" y="12600"/>
                    <a:pt x="16200" y="12600"/>
                  </a:cubicBezTo>
                  <a:close/>
                  <a:moveTo>
                    <a:pt x="19440" y="18000"/>
                  </a:moveTo>
                  <a:lnTo>
                    <a:pt x="17280" y="18000"/>
                  </a:lnTo>
                  <a:lnTo>
                    <a:pt x="17280" y="14401"/>
                  </a:lnTo>
                  <a:lnTo>
                    <a:pt x="19440" y="14401"/>
                  </a:lnTo>
                  <a:cubicBezTo>
                    <a:pt x="19440" y="14401"/>
                    <a:pt x="19440" y="18000"/>
                    <a:pt x="19440" y="18000"/>
                  </a:cubicBezTo>
                  <a:close/>
                  <a:moveTo>
                    <a:pt x="16200" y="18000"/>
                  </a:moveTo>
                  <a:lnTo>
                    <a:pt x="5400" y="18000"/>
                  </a:lnTo>
                  <a:lnTo>
                    <a:pt x="5400" y="14401"/>
                  </a:lnTo>
                  <a:lnTo>
                    <a:pt x="16200" y="14401"/>
                  </a:lnTo>
                  <a:cubicBezTo>
                    <a:pt x="16200" y="14401"/>
                    <a:pt x="16200" y="18000"/>
                    <a:pt x="16200" y="18000"/>
                  </a:cubicBezTo>
                  <a:close/>
                  <a:moveTo>
                    <a:pt x="4319" y="18000"/>
                  </a:moveTo>
                  <a:lnTo>
                    <a:pt x="2160" y="18000"/>
                  </a:lnTo>
                  <a:lnTo>
                    <a:pt x="2160" y="14401"/>
                  </a:lnTo>
                  <a:lnTo>
                    <a:pt x="4319" y="14401"/>
                  </a:lnTo>
                  <a:cubicBezTo>
                    <a:pt x="4319" y="14401"/>
                    <a:pt x="4319" y="18000"/>
                    <a:pt x="4319" y="18000"/>
                  </a:cubicBezTo>
                  <a:close/>
                  <a:moveTo>
                    <a:pt x="5400" y="9000"/>
                  </a:moveTo>
                  <a:lnTo>
                    <a:pt x="5400" y="12600"/>
                  </a:lnTo>
                  <a:lnTo>
                    <a:pt x="3240" y="12600"/>
                  </a:lnTo>
                  <a:lnTo>
                    <a:pt x="3240" y="9000"/>
                  </a:lnTo>
                  <a:cubicBezTo>
                    <a:pt x="3240" y="9000"/>
                    <a:pt x="5400" y="9000"/>
                    <a:pt x="5400" y="9000"/>
                  </a:cubicBezTo>
                  <a:close/>
                  <a:moveTo>
                    <a:pt x="2160" y="3600"/>
                  </a:moveTo>
                  <a:lnTo>
                    <a:pt x="4319" y="3600"/>
                  </a:lnTo>
                  <a:lnTo>
                    <a:pt x="4319" y="7201"/>
                  </a:lnTo>
                  <a:lnTo>
                    <a:pt x="2160" y="7201"/>
                  </a:lnTo>
                  <a:cubicBezTo>
                    <a:pt x="2160" y="7201"/>
                    <a:pt x="2160" y="3600"/>
                    <a:pt x="2160" y="3600"/>
                  </a:cubicBezTo>
                  <a:close/>
                  <a:moveTo>
                    <a:pt x="8639" y="9000"/>
                  </a:moveTo>
                  <a:lnTo>
                    <a:pt x="8639" y="12600"/>
                  </a:lnTo>
                  <a:lnTo>
                    <a:pt x="6479" y="12600"/>
                  </a:lnTo>
                  <a:lnTo>
                    <a:pt x="6479" y="9000"/>
                  </a:lnTo>
                  <a:cubicBezTo>
                    <a:pt x="6479" y="9000"/>
                    <a:pt x="8639" y="9000"/>
                    <a:pt x="8639" y="9000"/>
                  </a:cubicBezTo>
                  <a:close/>
                  <a:moveTo>
                    <a:pt x="5400" y="3600"/>
                  </a:moveTo>
                  <a:lnTo>
                    <a:pt x="7560" y="3600"/>
                  </a:lnTo>
                  <a:lnTo>
                    <a:pt x="7560" y="7201"/>
                  </a:lnTo>
                  <a:lnTo>
                    <a:pt x="5400" y="7201"/>
                  </a:lnTo>
                  <a:cubicBezTo>
                    <a:pt x="5400" y="7201"/>
                    <a:pt x="5400" y="3600"/>
                    <a:pt x="5400" y="3600"/>
                  </a:cubicBezTo>
                  <a:close/>
                  <a:moveTo>
                    <a:pt x="11880" y="9000"/>
                  </a:moveTo>
                  <a:lnTo>
                    <a:pt x="11880" y="12600"/>
                  </a:lnTo>
                  <a:lnTo>
                    <a:pt x="9720" y="12600"/>
                  </a:lnTo>
                  <a:lnTo>
                    <a:pt x="9720" y="9000"/>
                  </a:lnTo>
                  <a:cubicBezTo>
                    <a:pt x="9720" y="9000"/>
                    <a:pt x="11880" y="9000"/>
                    <a:pt x="11880" y="9000"/>
                  </a:cubicBezTo>
                  <a:close/>
                  <a:moveTo>
                    <a:pt x="8639" y="3600"/>
                  </a:moveTo>
                  <a:lnTo>
                    <a:pt x="10799" y="3600"/>
                  </a:lnTo>
                  <a:lnTo>
                    <a:pt x="10799" y="7201"/>
                  </a:lnTo>
                  <a:lnTo>
                    <a:pt x="8639" y="7201"/>
                  </a:lnTo>
                  <a:cubicBezTo>
                    <a:pt x="8639" y="7201"/>
                    <a:pt x="8639" y="3600"/>
                    <a:pt x="8639" y="3600"/>
                  </a:cubicBezTo>
                  <a:close/>
                  <a:moveTo>
                    <a:pt x="15120" y="9000"/>
                  </a:moveTo>
                  <a:lnTo>
                    <a:pt x="15120" y="12600"/>
                  </a:lnTo>
                  <a:lnTo>
                    <a:pt x="12959" y="12600"/>
                  </a:lnTo>
                  <a:lnTo>
                    <a:pt x="12959" y="9000"/>
                  </a:lnTo>
                  <a:cubicBezTo>
                    <a:pt x="12959" y="9000"/>
                    <a:pt x="15120" y="9000"/>
                    <a:pt x="15120" y="9000"/>
                  </a:cubicBezTo>
                  <a:close/>
                  <a:moveTo>
                    <a:pt x="11880" y="3600"/>
                  </a:moveTo>
                  <a:lnTo>
                    <a:pt x="14040" y="3600"/>
                  </a:lnTo>
                  <a:lnTo>
                    <a:pt x="14040" y="7201"/>
                  </a:lnTo>
                  <a:lnTo>
                    <a:pt x="11880" y="7201"/>
                  </a:lnTo>
                  <a:cubicBezTo>
                    <a:pt x="11880" y="7201"/>
                    <a:pt x="11880" y="3600"/>
                    <a:pt x="11880" y="3600"/>
                  </a:cubicBezTo>
                  <a:close/>
                  <a:moveTo>
                    <a:pt x="20088" y="0"/>
                  </a:moveTo>
                  <a:lnTo>
                    <a:pt x="1511" y="0"/>
                  </a:lnTo>
                  <a:cubicBezTo>
                    <a:pt x="680" y="0"/>
                    <a:pt x="0" y="1134"/>
                    <a:pt x="0" y="2519"/>
                  </a:cubicBezTo>
                  <a:lnTo>
                    <a:pt x="0" y="19081"/>
                  </a:lnTo>
                  <a:cubicBezTo>
                    <a:pt x="0" y="20466"/>
                    <a:pt x="680" y="21600"/>
                    <a:pt x="1511" y="21600"/>
                  </a:cubicBezTo>
                  <a:lnTo>
                    <a:pt x="20088" y="21600"/>
                  </a:lnTo>
                  <a:cubicBezTo>
                    <a:pt x="20920" y="21600"/>
                    <a:pt x="21600" y="20466"/>
                    <a:pt x="21600" y="19081"/>
                  </a:cubicBezTo>
                  <a:lnTo>
                    <a:pt x="21600" y="2519"/>
                  </a:lnTo>
                  <a:cubicBezTo>
                    <a:pt x="21600" y="1134"/>
                    <a:pt x="20920" y="0"/>
                    <a:pt x="20088"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11" name="Group 736"/>
          <p:cNvGrpSpPr/>
          <p:nvPr userDrawn="1"/>
        </p:nvGrpSpPr>
        <p:grpSpPr>
          <a:xfrm>
            <a:off x="3645767" y="3694404"/>
            <a:ext cx="455687" cy="455814"/>
            <a:chOff x="0" y="0"/>
            <a:chExt cx="911610" cy="911627"/>
          </a:xfrm>
        </p:grpSpPr>
        <p:sp>
          <p:nvSpPr>
            <p:cNvPr id="97" name="Shape 734"/>
            <p:cNvSpPr/>
            <p:nvPr/>
          </p:nvSpPr>
          <p:spPr>
            <a:xfrm>
              <a:off x="0" y="0"/>
              <a:ext cx="911611" cy="911628"/>
            </a:xfrm>
            <a:custGeom>
              <a:avLst/>
              <a:gdLst/>
              <a:ahLst/>
              <a:cxnLst>
                <a:cxn ang="0">
                  <a:pos x="wd2" y="hd2"/>
                </a:cxn>
                <a:cxn ang="5400000">
                  <a:pos x="wd2" y="hd2"/>
                </a:cxn>
                <a:cxn ang="10800000">
                  <a:pos x="wd2" y="hd2"/>
                </a:cxn>
                <a:cxn ang="16200000">
                  <a:pos x="wd2" y="hd2"/>
                </a:cxn>
              </a:cxnLst>
              <a:rect l="0" t="0" r="r" b="b"/>
              <a:pathLst>
                <a:path w="19806" h="19807" extrusionOk="0">
                  <a:moveTo>
                    <a:pt x="7908" y="205"/>
                  </a:moveTo>
                  <a:cubicBezTo>
                    <a:pt x="13264" y="-897"/>
                    <a:pt x="18499" y="2552"/>
                    <a:pt x="19601" y="7908"/>
                  </a:cubicBezTo>
                  <a:cubicBezTo>
                    <a:pt x="20703" y="13265"/>
                    <a:pt x="17255" y="18500"/>
                    <a:pt x="11899" y="19602"/>
                  </a:cubicBezTo>
                  <a:cubicBezTo>
                    <a:pt x="6545" y="20703"/>
                    <a:pt x="1313" y="17258"/>
                    <a:pt x="207" y="11907"/>
                  </a:cubicBezTo>
                  <a:cubicBezTo>
                    <a:pt x="207" y="11904"/>
                    <a:pt x="206" y="11901"/>
                    <a:pt x="206" y="11899"/>
                  </a:cubicBezTo>
                  <a:cubicBezTo>
                    <a:pt x="-897" y="6543"/>
                    <a:pt x="2552" y="1307"/>
                    <a:pt x="7908" y="205"/>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8" name="Shape 735"/>
            <p:cNvSpPr/>
            <p:nvPr/>
          </p:nvSpPr>
          <p:spPr>
            <a:xfrm>
              <a:off x="344357" y="315715"/>
              <a:ext cx="222897" cy="280197"/>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6" y="0"/>
                    <a:pt x="0" y="1447"/>
                    <a:pt x="0" y="3231"/>
                  </a:cubicBezTo>
                  <a:lnTo>
                    <a:pt x="0" y="4776"/>
                  </a:lnTo>
                  <a:cubicBezTo>
                    <a:pt x="0" y="6669"/>
                    <a:pt x="4836" y="8203"/>
                    <a:pt x="10799" y="8203"/>
                  </a:cubicBezTo>
                  <a:cubicBezTo>
                    <a:pt x="16764" y="8203"/>
                    <a:pt x="21600" y="6669"/>
                    <a:pt x="21600" y="4776"/>
                  </a:cubicBezTo>
                  <a:lnTo>
                    <a:pt x="21600" y="3231"/>
                  </a:lnTo>
                  <a:cubicBezTo>
                    <a:pt x="21600" y="1447"/>
                    <a:pt x="16764" y="0"/>
                    <a:pt x="10799" y="0"/>
                  </a:cubicBezTo>
                  <a:close/>
                  <a:moveTo>
                    <a:pt x="21195" y="8008"/>
                  </a:moveTo>
                  <a:cubicBezTo>
                    <a:pt x="19915" y="9488"/>
                    <a:pt x="15746" y="10572"/>
                    <a:pt x="10799" y="10572"/>
                  </a:cubicBezTo>
                  <a:cubicBezTo>
                    <a:pt x="5856" y="10572"/>
                    <a:pt x="1685" y="9488"/>
                    <a:pt x="405" y="8008"/>
                  </a:cubicBezTo>
                  <a:cubicBezTo>
                    <a:pt x="141" y="7702"/>
                    <a:pt x="0" y="7868"/>
                    <a:pt x="0" y="8007"/>
                  </a:cubicBezTo>
                  <a:cubicBezTo>
                    <a:pt x="0" y="8144"/>
                    <a:pt x="0" y="10898"/>
                    <a:pt x="0" y="10898"/>
                  </a:cubicBezTo>
                  <a:cubicBezTo>
                    <a:pt x="0" y="13061"/>
                    <a:pt x="4836" y="14814"/>
                    <a:pt x="10799" y="14814"/>
                  </a:cubicBezTo>
                  <a:cubicBezTo>
                    <a:pt x="16764" y="14814"/>
                    <a:pt x="21600" y="13061"/>
                    <a:pt x="21600" y="10898"/>
                  </a:cubicBezTo>
                  <a:cubicBezTo>
                    <a:pt x="21600" y="10898"/>
                    <a:pt x="21600" y="8144"/>
                    <a:pt x="21600" y="8007"/>
                  </a:cubicBezTo>
                  <a:cubicBezTo>
                    <a:pt x="21600" y="7868"/>
                    <a:pt x="21459" y="7702"/>
                    <a:pt x="21195" y="8008"/>
                  </a:cubicBezTo>
                  <a:close/>
                  <a:moveTo>
                    <a:pt x="21176" y="14285"/>
                  </a:moveTo>
                  <a:cubicBezTo>
                    <a:pt x="19876" y="15959"/>
                    <a:pt x="15722" y="17184"/>
                    <a:pt x="10799" y="17184"/>
                  </a:cubicBezTo>
                  <a:cubicBezTo>
                    <a:pt x="5878" y="17184"/>
                    <a:pt x="1724" y="15959"/>
                    <a:pt x="424" y="14285"/>
                  </a:cubicBezTo>
                  <a:cubicBezTo>
                    <a:pt x="147" y="13932"/>
                    <a:pt x="0" y="14121"/>
                    <a:pt x="0" y="14297"/>
                  </a:cubicBezTo>
                  <a:cubicBezTo>
                    <a:pt x="0" y="14472"/>
                    <a:pt x="0" y="16754"/>
                    <a:pt x="0" y="16754"/>
                  </a:cubicBezTo>
                  <a:cubicBezTo>
                    <a:pt x="0" y="19133"/>
                    <a:pt x="4836" y="21600"/>
                    <a:pt x="10799" y="21600"/>
                  </a:cubicBezTo>
                  <a:cubicBezTo>
                    <a:pt x="16764" y="21600"/>
                    <a:pt x="21600" y="19133"/>
                    <a:pt x="21600" y="16754"/>
                  </a:cubicBezTo>
                  <a:cubicBezTo>
                    <a:pt x="21600" y="16754"/>
                    <a:pt x="21600" y="14472"/>
                    <a:pt x="21600" y="14297"/>
                  </a:cubicBezTo>
                  <a:cubicBezTo>
                    <a:pt x="21600" y="14121"/>
                    <a:pt x="21453" y="13932"/>
                    <a:pt x="21176" y="14285"/>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100" name="Content Placeholder 20"/>
          <p:cNvSpPr>
            <a:spLocks noGrp="1"/>
          </p:cNvSpPr>
          <p:nvPr>
            <p:ph sz="quarter" idx="24"/>
          </p:nvPr>
        </p:nvSpPr>
        <p:spPr>
          <a:xfrm>
            <a:off x="2006600" y="2006502"/>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01" name="Text Placeholder 17"/>
          <p:cNvSpPr>
            <a:spLocks noGrp="1"/>
          </p:cNvSpPr>
          <p:nvPr>
            <p:ph type="body" sz="quarter" idx="25"/>
          </p:nvPr>
        </p:nvSpPr>
        <p:spPr>
          <a:xfrm>
            <a:off x="1293812" y="2250651"/>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06" name="Content Placeholder 20"/>
          <p:cNvSpPr>
            <a:spLocks noGrp="1"/>
          </p:cNvSpPr>
          <p:nvPr>
            <p:ph sz="quarter" idx="26"/>
          </p:nvPr>
        </p:nvSpPr>
        <p:spPr>
          <a:xfrm>
            <a:off x="8761412" y="2859552"/>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7" name="Text Placeholder 17"/>
          <p:cNvSpPr>
            <a:spLocks noGrp="1"/>
          </p:cNvSpPr>
          <p:nvPr>
            <p:ph type="body" sz="quarter" idx="27"/>
          </p:nvPr>
        </p:nvSpPr>
        <p:spPr>
          <a:xfrm>
            <a:off x="8761412" y="3103701"/>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08" name="Content Placeholder 20"/>
          <p:cNvSpPr>
            <a:spLocks noGrp="1"/>
          </p:cNvSpPr>
          <p:nvPr>
            <p:ph sz="quarter" idx="28"/>
          </p:nvPr>
        </p:nvSpPr>
        <p:spPr>
          <a:xfrm>
            <a:off x="2006600" y="2859552"/>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09" name="Text Placeholder 17"/>
          <p:cNvSpPr>
            <a:spLocks noGrp="1"/>
          </p:cNvSpPr>
          <p:nvPr>
            <p:ph type="body" sz="quarter" idx="29"/>
          </p:nvPr>
        </p:nvSpPr>
        <p:spPr>
          <a:xfrm>
            <a:off x="1293812" y="3103701"/>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0" name="Content Placeholder 20"/>
          <p:cNvSpPr>
            <a:spLocks noGrp="1"/>
          </p:cNvSpPr>
          <p:nvPr>
            <p:ph sz="quarter" idx="30"/>
          </p:nvPr>
        </p:nvSpPr>
        <p:spPr>
          <a:xfrm>
            <a:off x="8761412" y="3694404"/>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11" name="Text Placeholder 17"/>
          <p:cNvSpPr>
            <a:spLocks noGrp="1"/>
          </p:cNvSpPr>
          <p:nvPr>
            <p:ph type="body" sz="quarter" idx="31"/>
          </p:nvPr>
        </p:nvSpPr>
        <p:spPr>
          <a:xfrm>
            <a:off x="8761412" y="3938553"/>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2" name="Content Placeholder 20"/>
          <p:cNvSpPr>
            <a:spLocks noGrp="1"/>
          </p:cNvSpPr>
          <p:nvPr>
            <p:ph sz="quarter" idx="32"/>
          </p:nvPr>
        </p:nvSpPr>
        <p:spPr>
          <a:xfrm>
            <a:off x="2006600" y="3694404"/>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13" name="Text Placeholder 17"/>
          <p:cNvSpPr>
            <a:spLocks noGrp="1"/>
          </p:cNvSpPr>
          <p:nvPr>
            <p:ph type="body" sz="quarter" idx="33"/>
          </p:nvPr>
        </p:nvSpPr>
        <p:spPr>
          <a:xfrm>
            <a:off x="1293812" y="3938553"/>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4" name="Content Placeholder 20"/>
          <p:cNvSpPr>
            <a:spLocks noGrp="1"/>
          </p:cNvSpPr>
          <p:nvPr>
            <p:ph sz="quarter" idx="34"/>
          </p:nvPr>
        </p:nvSpPr>
        <p:spPr>
          <a:xfrm>
            <a:off x="8761412" y="4547454"/>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15" name="Text Placeholder 17"/>
          <p:cNvSpPr>
            <a:spLocks noGrp="1"/>
          </p:cNvSpPr>
          <p:nvPr>
            <p:ph type="body" sz="quarter" idx="35"/>
          </p:nvPr>
        </p:nvSpPr>
        <p:spPr>
          <a:xfrm>
            <a:off x="8761412" y="4791603"/>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6" name="Content Placeholder 20"/>
          <p:cNvSpPr>
            <a:spLocks noGrp="1"/>
          </p:cNvSpPr>
          <p:nvPr>
            <p:ph sz="quarter" idx="36"/>
          </p:nvPr>
        </p:nvSpPr>
        <p:spPr>
          <a:xfrm>
            <a:off x="2006600" y="4547454"/>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17" name="Text Placeholder 17"/>
          <p:cNvSpPr>
            <a:spLocks noGrp="1"/>
          </p:cNvSpPr>
          <p:nvPr>
            <p:ph type="body" sz="quarter" idx="37"/>
          </p:nvPr>
        </p:nvSpPr>
        <p:spPr>
          <a:xfrm>
            <a:off x="1293812" y="4791603"/>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Tree>
    <p:extLst>
      <p:ext uri="{BB962C8B-B14F-4D97-AF65-F5344CB8AC3E}">
        <p14:creationId xmlns:p14="http://schemas.microsoft.com/office/powerpoint/2010/main" val="2604296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up)">
                                      <p:cBhvr>
                                        <p:cTn id="15" dur="500"/>
                                        <p:tgtEl>
                                          <p:spTgt spid="61"/>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9"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0">
                                            <p:txEl>
                                              <p:pRg st="0" end="0"/>
                                            </p:txEl>
                                          </p:spTgt>
                                        </p:tgtEl>
                                        <p:attrNameLst>
                                          <p:attrName>style.visibility</p:attrName>
                                        </p:attrNameLst>
                                      </p:cBhvr>
                                      <p:to>
                                        <p:strVal val="visible"/>
                                      </p:to>
                                    </p:set>
                                    <p:animEffect transition="in" filter="dissolve">
                                      <p:cBhvr>
                                        <p:cTn id="27" dur="500"/>
                                        <p:tgtEl>
                                          <p:spTgt spid="100">
                                            <p:txEl>
                                              <p:pRg st="0" end="0"/>
                                            </p:txEl>
                                          </p:spTgt>
                                        </p:tgtEl>
                                      </p:cBhvr>
                                    </p:animEffect>
                                  </p:childTnLst>
                                </p:cTn>
                              </p:par>
                              <p:par>
                                <p:cTn id="28" presetID="9" presetClass="entr" presetSubtype="0" fill="hold" grpId="0" nodeType="withEffect" nodePh="1">
                                  <p:stCondLst>
                                    <p:cond delay="0"/>
                                  </p:stCondLst>
                                  <p:endCondLst>
                                    <p:cond evt="begin" delay="0">
                                      <p:tn val="28"/>
                                    </p:cond>
                                  </p:endCondLst>
                                  <p:childTnLst>
                                    <p:set>
                                      <p:cBhvr>
                                        <p:cTn id="29" dur="1" fill="hold">
                                          <p:stCondLst>
                                            <p:cond delay="0"/>
                                          </p:stCondLst>
                                        </p:cTn>
                                        <p:tgtEl>
                                          <p:spTgt spid="101">
                                            <p:txEl>
                                              <p:pRg st="0" end="0"/>
                                            </p:txEl>
                                          </p:spTgt>
                                        </p:tgtEl>
                                        <p:attrNameLst>
                                          <p:attrName>style.visibility</p:attrName>
                                        </p:attrNameLst>
                                      </p:cBhvr>
                                      <p:to>
                                        <p:strVal val="visible"/>
                                      </p:to>
                                    </p:set>
                                    <p:animEffect transition="in" filter="dissolve">
                                      <p:cBhvr>
                                        <p:cTn id="30" dur="500"/>
                                        <p:tgtEl>
                                          <p:spTgt spid="101">
                                            <p:txEl>
                                              <p:pRg st="0" end="0"/>
                                            </p:txEl>
                                          </p:spTgt>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par>
                          <p:cTn id="35" fill="hold">
                            <p:stCondLst>
                              <p:cond delay="3500"/>
                            </p:stCondLst>
                            <p:childTnLst>
                              <p:par>
                                <p:cTn id="36" presetID="9" presetClass="entr" presetSubtype="0" fill="hold" grpId="0" nodeType="afterEffect" nodePh="1">
                                  <p:stCondLst>
                                    <p:cond delay="0"/>
                                  </p:stCondLst>
                                  <p:endCondLst>
                                    <p:cond evt="begin" delay="0">
                                      <p:tn val="36"/>
                                    </p:cond>
                                  </p:endCondLst>
                                  <p:childTnLst>
                                    <p:set>
                                      <p:cBhvr>
                                        <p:cTn id="37" dur="1" fill="hold">
                                          <p:stCondLst>
                                            <p:cond delay="0"/>
                                          </p:stCondLst>
                                        </p:cTn>
                                        <p:tgtEl>
                                          <p:spTgt spid="108">
                                            <p:txEl>
                                              <p:pRg st="0" end="0"/>
                                            </p:txEl>
                                          </p:spTgt>
                                        </p:tgtEl>
                                        <p:attrNameLst>
                                          <p:attrName>style.visibility</p:attrName>
                                        </p:attrNameLst>
                                      </p:cBhvr>
                                      <p:to>
                                        <p:strVal val="visible"/>
                                      </p:to>
                                    </p:set>
                                    <p:animEffect transition="in" filter="dissolve">
                                      <p:cBhvr>
                                        <p:cTn id="38" dur="500"/>
                                        <p:tgtEl>
                                          <p:spTgt spid="108">
                                            <p:txEl>
                                              <p:pRg st="0" end="0"/>
                                            </p:txEl>
                                          </p:spTgt>
                                        </p:tgtEl>
                                      </p:cBhvr>
                                    </p:animEffect>
                                  </p:childTnLst>
                                </p:cTn>
                              </p:par>
                              <p:par>
                                <p:cTn id="39" presetID="9" presetClass="entr" presetSubtype="0" fill="hold" grpId="0" nodeType="withEffect" nodePh="1">
                                  <p:stCondLst>
                                    <p:cond delay="0"/>
                                  </p:stCondLst>
                                  <p:endCondLst>
                                    <p:cond evt="begin" delay="0">
                                      <p:tn val="39"/>
                                    </p:cond>
                                  </p:endCondLst>
                                  <p:childTnLst>
                                    <p:set>
                                      <p:cBhvr>
                                        <p:cTn id="40" dur="1" fill="hold">
                                          <p:stCondLst>
                                            <p:cond delay="0"/>
                                          </p:stCondLst>
                                        </p:cTn>
                                        <p:tgtEl>
                                          <p:spTgt spid="109">
                                            <p:txEl>
                                              <p:pRg st="0" end="0"/>
                                            </p:txEl>
                                          </p:spTgt>
                                        </p:tgtEl>
                                        <p:attrNameLst>
                                          <p:attrName>style.visibility</p:attrName>
                                        </p:attrNameLst>
                                      </p:cBhvr>
                                      <p:to>
                                        <p:strVal val="visible"/>
                                      </p:to>
                                    </p:set>
                                    <p:animEffect transition="in" filter="dissolve">
                                      <p:cBhvr>
                                        <p:cTn id="41" dur="500"/>
                                        <p:tgtEl>
                                          <p:spTgt spid="109">
                                            <p:txEl>
                                              <p:pRg st="0" end="0"/>
                                            </p:txEl>
                                          </p:spTgt>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500"/>
                            </p:stCondLst>
                            <p:childTnLst>
                              <p:par>
                                <p:cTn id="47" presetID="9" presetClass="entr" presetSubtype="0" fill="hold" grpId="0" nodeType="afterEffect" nodePh="1">
                                  <p:stCondLst>
                                    <p:cond delay="0"/>
                                  </p:stCondLst>
                                  <p:endCondLst>
                                    <p:cond evt="begin" delay="0">
                                      <p:tn val="47"/>
                                    </p:cond>
                                  </p:endCondLst>
                                  <p:childTnLst>
                                    <p:set>
                                      <p:cBhvr>
                                        <p:cTn id="48" dur="1" fill="hold">
                                          <p:stCondLst>
                                            <p:cond delay="0"/>
                                          </p:stCondLst>
                                        </p:cTn>
                                        <p:tgtEl>
                                          <p:spTgt spid="112">
                                            <p:txEl>
                                              <p:pRg st="0" end="0"/>
                                            </p:txEl>
                                          </p:spTgt>
                                        </p:tgtEl>
                                        <p:attrNameLst>
                                          <p:attrName>style.visibility</p:attrName>
                                        </p:attrNameLst>
                                      </p:cBhvr>
                                      <p:to>
                                        <p:strVal val="visible"/>
                                      </p:to>
                                    </p:set>
                                    <p:animEffect transition="in" filter="dissolve">
                                      <p:cBhvr>
                                        <p:cTn id="49" dur="500"/>
                                        <p:tgtEl>
                                          <p:spTgt spid="112">
                                            <p:txEl>
                                              <p:pRg st="0" end="0"/>
                                            </p:txEl>
                                          </p:spTgt>
                                        </p:tgtEl>
                                      </p:cBhvr>
                                    </p:animEffect>
                                  </p:childTnLst>
                                </p:cTn>
                              </p:par>
                              <p:par>
                                <p:cTn id="50" presetID="9" presetClass="entr" presetSubtype="0" fill="hold" grpId="0" nodeType="withEffect" nodePh="1">
                                  <p:stCondLst>
                                    <p:cond delay="0"/>
                                  </p:stCondLst>
                                  <p:endCondLst>
                                    <p:cond evt="begin" delay="0">
                                      <p:tn val="50"/>
                                    </p:cond>
                                  </p:endCondLst>
                                  <p:childTnLst>
                                    <p:set>
                                      <p:cBhvr>
                                        <p:cTn id="51" dur="1" fill="hold">
                                          <p:stCondLst>
                                            <p:cond delay="0"/>
                                          </p:stCondLst>
                                        </p:cTn>
                                        <p:tgtEl>
                                          <p:spTgt spid="113">
                                            <p:txEl>
                                              <p:pRg st="0" end="0"/>
                                            </p:txEl>
                                          </p:spTgt>
                                        </p:tgtEl>
                                        <p:attrNameLst>
                                          <p:attrName>style.visibility</p:attrName>
                                        </p:attrNameLst>
                                      </p:cBhvr>
                                      <p:to>
                                        <p:strVal val="visible"/>
                                      </p:to>
                                    </p:set>
                                    <p:animEffect transition="in" filter="dissolve">
                                      <p:cBhvr>
                                        <p:cTn id="52" dur="500"/>
                                        <p:tgtEl>
                                          <p:spTgt spid="113">
                                            <p:txEl>
                                              <p:pRg st="0" end="0"/>
                                            </p:txEl>
                                          </p:spTgt>
                                        </p:tgtEl>
                                      </p:cBhvr>
                                    </p:animEffect>
                                  </p:childTnLst>
                                </p:cTn>
                              </p:par>
                            </p:childTnLst>
                          </p:cTn>
                        </p:par>
                        <p:par>
                          <p:cTn id="53" fill="hold">
                            <p:stCondLst>
                              <p:cond delay="5000"/>
                            </p:stCondLst>
                            <p:childTnLst>
                              <p:par>
                                <p:cTn id="54" presetID="10" presetClass="entr" presetSubtype="0" fill="hold" nodeType="after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500"/>
                                        <p:tgtEl>
                                          <p:spTgt spid="4"/>
                                        </p:tgtEl>
                                      </p:cBhvr>
                                    </p:animEffect>
                                  </p:childTnLst>
                                </p:cTn>
                              </p:par>
                            </p:childTnLst>
                          </p:cTn>
                        </p:par>
                        <p:par>
                          <p:cTn id="57" fill="hold">
                            <p:stCondLst>
                              <p:cond delay="5500"/>
                            </p:stCondLst>
                            <p:childTnLst>
                              <p:par>
                                <p:cTn id="58" presetID="9" presetClass="entr" presetSubtype="0" fill="hold" grpId="0" nodeType="afterEffect" nodePh="1">
                                  <p:stCondLst>
                                    <p:cond delay="0"/>
                                  </p:stCondLst>
                                  <p:endCondLst>
                                    <p:cond evt="begin" delay="0">
                                      <p:tn val="58"/>
                                    </p:cond>
                                  </p:endCondLst>
                                  <p:childTnLst>
                                    <p:set>
                                      <p:cBhvr>
                                        <p:cTn id="59" dur="1" fill="hold">
                                          <p:stCondLst>
                                            <p:cond delay="0"/>
                                          </p:stCondLst>
                                        </p:cTn>
                                        <p:tgtEl>
                                          <p:spTgt spid="116">
                                            <p:txEl>
                                              <p:pRg st="0" end="0"/>
                                            </p:txEl>
                                          </p:spTgt>
                                        </p:tgtEl>
                                        <p:attrNameLst>
                                          <p:attrName>style.visibility</p:attrName>
                                        </p:attrNameLst>
                                      </p:cBhvr>
                                      <p:to>
                                        <p:strVal val="visible"/>
                                      </p:to>
                                    </p:set>
                                    <p:animEffect transition="in" filter="dissolve">
                                      <p:cBhvr>
                                        <p:cTn id="60" dur="500"/>
                                        <p:tgtEl>
                                          <p:spTgt spid="116">
                                            <p:txEl>
                                              <p:pRg st="0" end="0"/>
                                            </p:txEl>
                                          </p:spTgt>
                                        </p:tgtEl>
                                      </p:cBhvr>
                                    </p:animEffect>
                                  </p:childTnLst>
                                </p:cTn>
                              </p:par>
                              <p:par>
                                <p:cTn id="61" presetID="9" presetClass="entr" presetSubtype="0" fill="hold" grpId="0" nodeType="withEffect" nodePh="1">
                                  <p:stCondLst>
                                    <p:cond delay="0"/>
                                  </p:stCondLst>
                                  <p:endCondLst>
                                    <p:cond evt="begin" delay="0">
                                      <p:tn val="61"/>
                                    </p:cond>
                                  </p:endCondLst>
                                  <p:childTnLst>
                                    <p:set>
                                      <p:cBhvr>
                                        <p:cTn id="62" dur="1" fill="hold">
                                          <p:stCondLst>
                                            <p:cond delay="0"/>
                                          </p:stCondLst>
                                        </p:cTn>
                                        <p:tgtEl>
                                          <p:spTgt spid="117">
                                            <p:txEl>
                                              <p:pRg st="0" end="0"/>
                                            </p:txEl>
                                          </p:spTgt>
                                        </p:tgtEl>
                                        <p:attrNameLst>
                                          <p:attrName>style.visibility</p:attrName>
                                        </p:attrNameLst>
                                      </p:cBhvr>
                                      <p:to>
                                        <p:strVal val="visible"/>
                                      </p:to>
                                    </p:set>
                                    <p:animEffect transition="in" filter="dissolve">
                                      <p:cBhvr>
                                        <p:cTn id="63" dur="500"/>
                                        <p:tgtEl>
                                          <p:spTgt spid="117">
                                            <p:txEl>
                                              <p:pRg st="0" end="0"/>
                                            </p:txEl>
                                          </p:spTgt>
                                        </p:tgtEl>
                                      </p:cBhvr>
                                    </p:animEffect>
                                  </p:childTnLst>
                                </p:cTn>
                              </p:par>
                            </p:childTnLst>
                          </p:cTn>
                        </p:par>
                        <p:par>
                          <p:cTn id="64" fill="hold">
                            <p:stCondLst>
                              <p:cond delay="6000"/>
                            </p:stCondLst>
                            <p:childTnLst>
                              <p:par>
                                <p:cTn id="65" presetID="10" presetClass="entr" presetSubtype="0" fill="hold" grpId="0" nodeType="afterEffect">
                                  <p:stCondLst>
                                    <p:cond delay="0"/>
                                  </p:stCondLst>
                                  <p:iterate>
                                    <p:tmAbs val="0"/>
                                  </p:iterate>
                                  <p:childTnLst>
                                    <p:set>
                                      <p:cBhvr>
                                        <p:cTn id="66" fill="hold"/>
                                        <p:tgtEl>
                                          <p:spTgt spid="2"/>
                                        </p:tgtEl>
                                        <p:attrNameLst>
                                          <p:attrName>style.visibility</p:attrName>
                                        </p:attrNameLst>
                                      </p:cBhvr>
                                      <p:to>
                                        <p:strVal val="visible"/>
                                      </p:to>
                                    </p:set>
                                    <p:animEffect transition="in" filter="fade">
                                      <p:cBhvr>
                                        <p:cTn id="67" dur="500"/>
                                        <p:tgtEl>
                                          <p:spTgt spid="2"/>
                                        </p:tgtEl>
                                      </p:cBhvr>
                                    </p:animEffect>
                                  </p:childTnLst>
                                </p:cTn>
                              </p:par>
                            </p:childTnLst>
                          </p:cTn>
                        </p:par>
                        <p:par>
                          <p:cTn id="68" fill="hold">
                            <p:stCondLst>
                              <p:cond delay="6500"/>
                            </p:stCondLst>
                            <p:childTnLst>
                              <p:par>
                                <p:cTn id="69" presetID="9" presetClass="entr" presetSubtype="0" fill="hold" grpId="0" nodeType="afterEffect" nodePh="1">
                                  <p:stCondLst>
                                    <p:cond delay="0"/>
                                  </p:stCondLst>
                                  <p:endCondLst>
                                    <p:cond evt="begin" delay="0">
                                      <p:tn val="69"/>
                                    </p:cond>
                                  </p:endCondLst>
                                  <p:childTnLst>
                                    <p:set>
                                      <p:cBhvr>
                                        <p:cTn id="70" dur="1" fill="hold">
                                          <p:stCondLst>
                                            <p:cond delay="0"/>
                                          </p:stCondLst>
                                        </p:cTn>
                                        <p:tgtEl>
                                          <p:spTgt spid="9">
                                            <p:txEl>
                                              <p:pRg st="0" end="0"/>
                                            </p:txEl>
                                          </p:spTgt>
                                        </p:tgtEl>
                                        <p:attrNameLst>
                                          <p:attrName>style.visibility</p:attrName>
                                        </p:attrNameLst>
                                      </p:cBhvr>
                                      <p:to>
                                        <p:strVal val="visible"/>
                                      </p:to>
                                    </p:set>
                                    <p:animEffect transition="in" filter="dissolve">
                                      <p:cBhvr>
                                        <p:cTn id="71" dur="500"/>
                                        <p:tgtEl>
                                          <p:spTgt spid="9">
                                            <p:txEl>
                                              <p:pRg st="0" end="0"/>
                                            </p:txEl>
                                          </p:spTgt>
                                        </p:tgtEl>
                                      </p:cBhvr>
                                    </p:animEffect>
                                  </p:childTnLst>
                                </p:cTn>
                              </p:par>
                              <p:par>
                                <p:cTn id="72" presetID="9" presetClass="entr" presetSubtype="0" fill="hold" grpId="0" nodeType="withEffect" nodePh="1">
                                  <p:stCondLst>
                                    <p:cond delay="0"/>
                                  </p:stCondLst>
                                  <p:endCondLst>
                                    <p:cond evt="begin" delay="0">
                                      <p:tn val="72"/>
                                    </p:cond>
                                  </p:endCondLst>
                                  <p:childTnLst>
                                    <p:set>
                                      <p:cBhvr>
                                        <p:cTn id="73" dur="1" fill="hold">
                                          <p:stCondLst>
                                            <p:cond delay="0"/>
                                          </p:stCondLst>
                                        </p:cTn>
                                        <p:tgtEl>
                                          <p:spTgt spid="10">
                                            <p:txEl>
                                              <p:pRg st="0" end="0"/>
                                            </p:txEl>
                                          </p:spTgt>
                                        </p:tgtEl>
                                        <p:attrNameLst>
                                          <p:attrName>style.visibility</p:attrName>
                                        </p:attrNameLst>
                                      </p:cBhvr>
                                      <p:to>
                                        <p:strVal val="visible"/>
                                      </p:to>
                                    </p:set>
                                    <p:animEffect transition="in" filter="dissolve">
                                      <p:cBhvr>
                                        <p:cTn id="74" dur="500"/>
                                        <p:tgtEl>
                                          <p:spTgt spid="10">
                                            <p:txEl>
                                              <p:pRg st="0" end="0"/>
                                            </p:txEl>
                                          </p:spTgt>
                                        </p:tgtEl>
                                      </p:cBhvr>
                                    </p:animEffect>
                                  </p:childTnLst>
                                </p:cTn>
                              </p:par>
                            </p:childTnLst>
                          </p:cTn>
                        </p:par>
                        <p:par>
                          <p:cTn id="75" fill="hold">
                            <p:stCondLst>
                              <p:cond delay="7000"/>
                            </p:stCondLst>
                            <p:childTnLst>
                              <p:par>
                                <p:cTn id="76" presetID="10" presetClass="entr" presetSubtype="0" fill="hold" nodeType="afterEffect">
                                  <p:stCondLst>
                                    <p:cond delay="0"/>
                                  </p:stCondLst>
                                  <p:childTnLst>
                                    <p:set>
                                      <p:cBhvr>
                                        <p:cTn id="77" dur="1" fill="hold">
                                          <p:stCondLst>
                                            <p:cond delay="0"/>
                                          </p:stCondLst>
                                        </p:cTn>
                                        <p:tgtEl>
                                          <p:spTgt spid="7"/>
                                        </p:tgtEl>
                                        <p:attrNameLst>
                                          <p:attrName>style.visibility</p:attrName>
                                        </p:attrNameLst>
                                      </p:cBhvr>
                                      <p:to>
                                        <p:strVal val="visible"/>
                                      </p:to>
                                    </p:set>
                                    <p:animEffect transition="in" filter="fade">
                                      <p:cBhvr>
                                        <p:cTn id="78" dur="500"/>
                                        <p:tgtEl>
                                          <p:spTgt spid="7"/>
                                        </p:tgtEl>
                                      </p:cBhvr>
                                    </p:animEffect>
                                  </p:childTnLst>
                                </p:cTn>
                              </p:par>
                            </p:childTnLst>
                          </p:cTn>
                        </p:par>
                        <p:par>
                          <p:cTn id="79" fill="hold">
                            <p:stCondLst>
                              <p:cond delay="7500"/>
                            </p:stCondLst>
                            <p:childTnLst>
                              <p:par>
                                <p:cTn id="80" presetID="9" presetClass="entr" presetSubtype="0" fill="hold" grpId="0" nodeType="afterEffect" nodePh="1">
                                  <p:stCondLst>
                                    <p:cond delay="0"/>
                                  </p:stCondLst>
                                  <p:endCondLst>
                                    <p:cond evt="begin" delay="0">
                                      <p:tn val="80"/>
                                    </p:cond>
                                  </p:endCondLst>
                                  <p:childTnLst>
                                    <p:set>
                                      <p:cBhvr>
                                        <p:cTn id="81" dur="1" fill="hold">
                                          <p:stCondLst>
                                            <p:cond delay="0"/>
                                          </p:stCondLst>
                                        </p:cTn>
                                        <p:tgtEl>
                                          <p:spTgt spid="106">
                                            <p:txEl>
                                              <p:pRg st="0" end="0"/>
                                            </p:txEl>
                                          </p:spTgt>
                                        </p:tgtEl>
                                        <p:attrNameLst>
                                          <p:attrName>style.visibility</p:attrName>
                                        </p:attrNameLst>
                                      </p:cBhvr>
                                      <p:to>
                                        <p:strVal val="visible"/>
                                      </p:to>
                                    </p:set>
                                    <p:animEffect transition="in" filter="dissolve">
                                      <p:cBhvr>
                                        <p:cTn id="82" dur="500"/>
                                        <p:tgtEl>
                                          <p:spTgt spid="106">
                                            <p:txEl>
                                              <p:pRg st="0" end="0"/>
                                            </p:txEl>
                                          </p:spTgt>
                                        </p:tgtEl>
                                      </p:cBhvr>
                                    </p:animEffect>
                                  </p:childTnLst>
                                </p:cTn>
                              </p:par>
                              <p:par>
                                <p:cTn id="83" presetID="9" presetClass="entr" presetSubtype="0" fill="hold" grpId="0" nodeType="withEffect" nodePh="1">
                                  <p:stCondLst>
                                    <p:cond delay="0"/>
                                  </p:stCondLst>
                                  <p:endCondLst>
                                    <p:cond evt="begin" delay="0">
                                      <p:tn val="83"/>
                                    </p:cond>
                                  </p:endCondLst>
                                  <p:childTnLst>
                                    <p:set>
                                      <p:cBhvr>
                                        <p:cTn id="84" dur="1" fill="hold">
                                          <p:stCondLst>
                                            <p:cond delay="0"/>
                                          </p:stCondLst>
                                        </p:cTn>
                                        <p:tgtEl>
                                          <p:spTgt spid="107">
                                            <p:txEl>
                                              <p:pRg st="0" end="0"/>
                                            </p:txEl>
                                          </p:spTgt>
                                        </p:tgtEl>
                                        <p:attrNameLst>
                                          <p:attrName>style.visibility</p:attrName>
                                        </p:attrNameLst>
                                      </p:cBhvr>
                                      <p:to>
                                        <p:strVal val="visible"/>
                                      </p:to>
                                    </p:set>
                                    <p:animEffect transition="in" filter="dissolve">
                                      <p:cBhvr>
                                        <p:cTn id="85" dur="500"/>
                                        <p:tgtEl>
                                          <p:spTgt spid="107">
                                            <p:txEl>
                                              <p:pRg st="0" end="0"/>
                                            </p:txEl>
                                          </p:spTgt>
                                        </p:tgtEl>
                                      </p:cBhvr>
                                    </p:animEffect>
                                  </p:childTnLst>
                                </p:cTn>
                              </p:par>
                            </p:childTnLst>
                          </p:cTn>
                        </p:par>
                        <p:par>
                          <p:cTn id="86" fill="hold">
                            <p:stCondLst>
                              <p:cond delay="8000"/>
                            </p:stCondLst>
                            <p:childTnLst>
                              <p:par>
                                <p:cTn id="87" presetID="10" presetClass="entr" presetSubtype="0" fill="hold" nodeType="afterEffect">
                                  <p:stCondLst>
                                    <p:cond delay="0"/>
                                  </p:stCondLst>
                                  <p:childTnLst>
                                    <p:set>
                                      <p:cBhvr>
                                        <p:cTn id="88" dur="1" fill="hold">
                                          <p:stCondLst>
                                            <p:cond delay="0"/>
                                          </p:stCondLst>
                                        </p:cTn>
                                        <p:tgtEl>
                                          <p:spTgt spid="5"/>
                                        </p:tgtEl>
                                        <p:attrNameLst>
                                          <p:attrName>style.visibility</p:attrName>
                                        </p:attrNameLst>
                                      </p:cBhvr>
                                      <p:to>
                                        <p:strVal val="visible"/>
                                      </p:to>
                                    </p:set>
                                    <p:animEffect transition="in" filter="fade">
                                      <p:cBhvr>
                                        <p:cTn id="89" dur="500"/>
                                        <p:tgtEl>
                                          <p:spTgt spid="5"/>
                                        </p:tgtEl>
                                      </p:cBhvr>
                                    </p:animEffect>
                                  </p:childTnLst>
                                </p:cTn>
                              </p:par>
                            </p:childTnLst>
                          </p:cTn>
                        </p:par>
                        <p:par>
                          <p:cTn id="90" fill="hold">
                            <p:stCondLst>
                              <p:cond delay="8500"/>
                            </p:stCondLst>
                            <p:childTnLst>
                              <p:par>
                                <p:cTn id="91" presetID="9" presetClass="entr" presetSubtype="0" fill="hold" grpId="0" nodeType="afterEffect" nodePh="1">
                                  <p:stCondLst>
                                    <p:cond delay="0"/>
                                  </p:stCondLst>
                                  <p:endCondLst>
                                    <p:cond evt="begin" delay="0">
                                      <p:tn val="91"/>
                                    </p:cond>
                                  </p:endCondLst>
                                  <p:childTnLst>
                                    <p:set>
                                      <p:cBhvr>
                                        <p:cTn id="92" dur="1" fill="hold">
                                          <p:stCondLst>
                                            <p:cond delay="0"/>
                                          </p:stCondLst>
                                        </p:cTn>
                                        <p:tgtEl>
                                          <p:spTgt spid="110">
                                            <p:txEl>
                                              <p:pRg st="0" end="0"/>
                                            </p:txEl>
                                          </p:spTgt>
                                        </p:tgtEl>
                                        <p:attrNameLst>
                                          <p:attrName>style.visibility</p:attrName>
                                        </p:attrNameLst>
                                      </p:cBhvr>
                                      <p:to>
                                        <p:strVal val="visible"/>
                                      </p:to>
                                    </p:set>
                                    <p:animEffect transition="in" filter="dissolve">
                                      <p:cBhvr>
                                        <p:cTn id="93" dur="500"/>
                                        <p:tgtEl>
                                          <p:spTgt spid="110">
                                            <p:txEl>
                                              <p:pRg st="0" end="0"/>
                                            </p:txEl>
                                          </p:spTgt>
                                        </p:tgtEl>
                                      </p:cBhvr>
                                    </p:animEffect>
                                  </p:childTnLst>
                                </p:cTn>
                              </p:par>
                              <p:par>
                                <p:cTn id="94" presetID="9" presetClass="entr" presetSubtype="0" fill="hold" grpId="0" nodeType="withEffect" nodePh="1">
                                  <p:stCondLst>
                                    <p:cond delay="0"/>
                                  </p:stCondLst>
                                  <p:endCondLst>
                                    <p:cond evt="begin" delay="0">
                                      <p:tn val="94"/>
                                    </p:cond>
                                  </p:endCondLst>
                                  <p:childTnLst>
                                    <p:set>
                                      <p:cBhvr>
                                        <p:cTn id="95" dur="1" fill="hold">
                                          <p:stCondLst>
                                            <p:cond delay="0"/>
                                          </p:stCondLst>
                                        </p:cTn>
                                        <p:tgtEl>
                                          <p:spTgt spid="111">
                                            <p:txEl>
                                              <p:pRg st="0" end="0"/>
                                            </p:txEl>
                                          </p:spTgt>
                                        </p:tgtEl>
                                        <p:attrNameLst>
                                          <p:attrName>style.visibility</p:attrName>
                                        </p:attrNameLst>
                                      </p:cBhvr>
                                      <p:to>
                                        <p:strVal val="visible"/>
                                      </p:to>
                                    </p:set>
                                    <p:animEffect transition="in" filter="dissolve">
                                      <p:cBhvr>
                                        <p:cTn id="96" dur="500"/>
                                        <p:tgtEl>
                                          <p:spTgt spid="111">
                                            <p:txEl>
                                              <p:pRg st="0" end="0"/>
                                            </p:txEl>
                                          </p:spTgt>
                                        </p:tgtEl>
                                      </p:cBhvr>
                                    </p:animEffect>
                                  </p:childTnLst>
                                </p:cTn>
                              </p:par>
                            </p:childTnLst>
                          </p:cTn>
                        </p:par>
                        <p:par>
                          <p:cTn id="97" fill="hold">
                            <p:stCondLst>
                              <p:cond delay="9000"/>
                            </p:stCondLst>
                            <p:childTnLst>
                              <p:par>
                                <p:cTn id="98" presetID="10" presetClass="entr" presetSubtype="0" fill="hold" nodeType="afterEffect">
                                  <p:stCondLst>
                                    <p:cond delay="0"/>
                                  </p:stCondLst>
                                  <p:childTnLst>
                                    <p:set>
                                      <p:cBhvr>
                                        <p:cTn id="99" dur="1" fill="hold">
                                          <p:stCondLst>
                                            <p:cond delay="0"/>
                                          </p:stCondLst>
                                        </p:cTn>
                                        <p:tgtEl>
                                          <p:spTgt spid="6"/>
                                        </p:tgtEl>
                                        <p:attrNameLst>
                                          <p:attrName>style.visibility</p:attrName>
                                        </p:attrNameLst>
                                      </p:cBhvr>
                                      <p:to>
                                        <p:strVal val="visible"/>
                                      </p:to>
                                    </p:set>
                                    <p:animEffect transition="in" filter="fade">
                                      <p:cBhvr>
                                        <p:cTn id="100" dur="500"/>
                                        <p:tgtEl>
                                          <p:spTgt spid="6"/>
                                        </p:tgtEl>
                                      </p:cBhvr>
                                    </p:animEffect>
                                  </p:childTnLst>
                                </p:cTn>
                              </p:par>
                            </p:childTnLst>
                          </p:cTn>
                        </p:par>
                        <p:par>
                          <p:cTn id="101" fill="hold">
                            <p:stCondLst>
                              <p:cond delay="9500"/>
                            </p:stCondLst>
                            <p:childTnLst>
                              <p:par>
                                <p:cTn id="102" presetID="9" presetClass="entr" presetSubtype="0" fill="hold" grpId="0" nodeType="afterEffect" nodePh="1">
                                  <p:stCondLst>
                                    <p:cond delay="0"/>
                                  </p:stCondLst>
                                  <p:endCondLst>
                                    <p:cond evt="begin" delay="0">
                                      <p:tn val="102"/>
                                    </p:cond>
                                  </p:endCondLst>
                                  <p:childTnLst>
                                    <p:set>
                                      <p:cBhvr>
                                        <p:cTn id="103" dur="1" fill="hold">
                                          <p:stCondLst>
                                            <p:cond delay="0"/>
                                          </p:stCondLst>
                                        </p:cTn>
                                        <p:tgtEl>
                                          <p:spTgt spid="114">
                                            <p:txEl>
                                              <p:pRg st="0" end="0"/>
                                            </p:txEl>
                                          </p:spTgt>
                                        </p:tgtEl>
                                        <p:attrNameLst>
                                          <p:attrName>style.visibility</p:attrName>
                                        </p:attrNameLst>
                                      </p:cBhvr>
                                      <p:to>
                                        <p:strVal val="visible"/>
                                      </p:to>
                                    </p:set>
                                    <p:animEffect transition="in" filter="dissolve">
                                      <p:cBhvr>
                                        <p:cTn id="104" dur="500"/>
                                        <p:tgtEl>
                                          <p:spTgt spid="114">
                                            <p:txEl>
                                              <p:pRg st="0" end="0"/>
                                            </p:txEl>
                                          </p:spTgt>
                                        </p:tgtEl>
                                      </p:cBhvr>
                                    </p:animEffect>
                                  </p:childTnLst>
                                </p:cTn>
                              </p:par>
                              <p:par>
                                <p:cTn id="105" presetID="9" presetClass="entr" presetSubtype="0" fill="hold" grpId="0" nodeType="withEffect" nodePh="1">
                                  <p:stCondLst>
                                    <p:cond delay="0"/>
                                  </p:stCondLst>
                                  <p:endCondLst>
                                    <p:cond evt="begin" delay="0">
                                      <p:tn val="105"/>
                                    </p:cond>
                                  </p:endCondLst>
                                  <p:childTnLst>
                                    <p:set>
                                      <p:cBhvr>
                                        <p:cTn id="106" dur="1" fill="hold">
                                          <p:stCondLst>
                                            <p:cond delay="0"/>
                                          </p:stCondLst>
                                        </p:cTn>
                                        <p:tgtEl>
                                          <p:spTgt spid="115">
                                            <p:txEl>
                                              <p:pRg st="0" end="0"/>
                                            </p:txEl>
                                          </p:spTgt>
                                        </p:tgtEl>
                                        <p:attrNameLst>
                                          <p:attrName>style.visibility</p:attrName>
                                        </p:attrNameLst>
                                      </p:cBhvr>
                                      <p:to>
                                        <p:strVal val="visible"/>
                                      </p:to>
                                    </p:set>
                                    <p:animEffect transition="in" filter="dissolve">
                                      <p:cBhvr>
                                        <p:cTn id="107" dur="500"/>
                                        <p:tgtEl>
                                          <p:spTgt spid="1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advAuto="0"/>
      <p:bldP spid="2" grpId="0" animBg="1" advAuto="0"/>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10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0"/>
                        </p:tgtEl>
                        <p:attrNameLst>
                          <p:attrName>style.visibility</p:attrName>
                        </p:attrNameLst>
                      </p:cBhvr>
                      <p:to>
                        <p:strVal val="visible"/>
                      </p:to>
                    </p:set>
                    <p:animEffect transition="in" filter="dissolve">
                      <p:cBhvr>
                        <p:cTn dur="500"/>
                        <p:tgtEl>
                          <p:spTgt spid="100"/>
                        </p:tgtEl>
                      </p:cBhvr>
                    </p:animEffect>
                  </p:childTnLst>
                </p:cTn>
              </p:par>
            </p:tnLst>
          </p:tmpl>
        </p:tmplLst>
      </p:bldP>
      <p:bldP spid="101"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1"/>
                        </p:tgtEl>
                        <p:attrNameLst>
                          <p:attrName>style.visibility</p:attrName>
                        </p:attrNameLst>
                      </p:cBhvr>
                      <p:to>
                        <p:strVal val="visible"/>
                      </p:to>
                    </p:set>
                    <p:animEffect transition="in" filter="dissolve">
                      <p:cBhvr>
                        <p:cTn dur="500"/>
                        <p:tgtEl>
                          <p:spTgt spid="101"/>
                        </p:tgtEl>
                      </p:cBhvr>
                    </p:animEffect>
                  </p:childTnLst>
                </p:cTn>
              </p:par>
            </p:tnLst>
          </p:tmpl>
        </p:tmplLst>
      </p:bldP>
      <p:bldP spid="106"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6"/>
                        </p:tgtEl>
                        <p:attrNameLst>
                          <p:attrName>style.visibility</p:attrName>
                        </p:attrNameLst>
                      </p:cBhvr>
                      <p:to>
                        <p:strVal val="visible"/>
                      </p:to>
                    </p:set>
                    <p:animEffect transition="in" filter="dissolve">
                      <p:cBhvr>
                        <p:cTn dur="500"/>
                        <p:tgtEl>
                          <p:spTgt spid="106"/>
                        </p:tgtEl>
                      </p:cBhvr>
                    </p:animEffect>
                  </p:childTnLst>
                </p:cTn>
              </p:par>
            </p:tnLst>
          </p:tmpl>
        </p:tmplLst>
      </p:bldP>
      <p:bldP spid="107"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7"/>
                        </p:tgtEl>
                        <p:attrNameLst>
                          <p:attrName>style.visibility</p:attrName>
                        </p:attrNameLst>
                      </p:cBhvr>
                      <p:to>
                        <p:strVal val="visible"/>
                      </p:to>
                    </p:set>
                    <p:animEffect transition="in" filter="dissolve">
                      <p:cBhvr>
                        <p:cTn dur="500"/>
                        <p:tgtEl>
                          <p:spTgt spid="107"/>
                        </p:tgtEl>
                      </p:cBhvr>
                    </p:animEffect>
                  </p:childTnLst>
                </p:cTn>
              </p:par>
            </p:tnLst>
          </p:tmpl>
        </p:tmplLst>
      </p:bldP>
      <p:bldP spid="108"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8"/>
                        </p:tgtEl>
                        <p:attrNameLst>
                          <p:attrName>style.visibility</p:attrName>
                        </p:attrNameLst>
                      </p:cBhvr>
                      <p:to>
                        <p:strVal val="visible"/>
                      </p:to>
                    </p:set>
                    <p:animEffect transition="in" filter="dissolve">
                      <p:cBhvr>
                        <p:cTn dur="500"/>
                        <p:tgtEl>
                          <p:spTgt spid="108"/>
                        </p:tgtEl>
                      </p:cBhvr>
                    </p:animEffect>
                  </p:childTnLst>
                </p:cTn>
              </p:par>
            </p:tnLst>
          </p:tmpl>
        </p:tmplLst>
      </p:bldP>
      <p:bldP spid="109"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9"/>
                        </p:tgtEl>
                        <p:attrNameLst>
                          <p:attrName>style.visibility</p:attrName>
                        </p:attrNameLst>
                      </p:cBhvr>
                      <p:to>
                        <p:strVal val="visible"/>
                      </p:to>
                    </p:set>
                    <p:animEffect transition="in" filter="dissolve">
                      <p:cBhvr>
                        <p:cTn dur="500"/>
                        <p:tgtEl>
                          <p:spTgt spid="109"/>
                        </p:tgtEl>
                      </p:cBhvr>
                    </p:animEffect>
                  </p:childTnLst>
                </p:cTn>
              </p:par>
            </p:tnLst>
          </p:tmpl>
        </p:tmplLst>
      </p:bldP>
      <p:bldP spid="1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0"/>
                        </p:tgtEl>
                        <p:attrNameLst>
                          <p:attrName>style.visibility</p:attrName>
                        </p:attrNameLst>
                      </p:cBhvr>
                      <p:to>
                        <p:strVal val="visible"/>
                      </p:to>
                    </p:set>
                    <p:animEffect transition="in" filter="dissolve">
                      <p:cBhvr>
                        <p:cTn dur="500"/>
                        <p:tgtEl>
                          <p:spTgt spid="110"/>
                        </p:tgtEl>
                      </p:cBhvr>
                    </p:animEffect>
                  </p:childTnLst>
                </p:cTn>
              </p:par>
            </p:tnLst>
          </p:tmpl>
        </p:tmplLst>
      </p:bldP>
      <p:bldP spid="111"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1"/>
                        </p:tgtEl>
                        <p:attrNameLst>
                          <p:attrName>style.visibility</p:attrName>
                        </p:attrNameLst>
                      </p:cBhvr>
                      <p:to>
                        <p:strVal val="visible"/>
                      </p:to>
                    </p:set>
                    <p:animEffect transition="in" filter="dissolve">
                      <p:cBhvr>
                        <p:cTn dur="500"/>
                        <p:tgtEl>
                          <p:spTgt spid="111"/>
                        </p:tgtEl>
                      </p:cBhvr>
                    </p:animEffect>
                  </p:childTnLst>
                </p:cTn>
              </p:par>
            </p:tnLst>
          </p:tmpl>
        </p:tmplLst>
      </p:bldP>
      <p:bldP spid="112"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2"/>
                        </p:tgtEl>
                        <p:attrNameLst>
                          <p:attrName>style.visibility</p:attrName>
                        </p:attrNameLst>
                      </p:cBhvr>
                      <p:to>
                        <p:strVal val="visible"/>
                      </p:to>
                    </p:set>
                    <p:animEffect transition="in" filter="dissolve">
                      <p:cBhvr>
                        <p:cTn dur="500"/>
                        <p:tgtEl>
                          <p:spTgt spid="112"/>
                        </p:tgtEl>
                      </p:cBhvr>
                    </p:animEffect>
                  </p:childTnLst>
                </p:cTn>
              </p:par>
            </p:tnLst>
          </p:tmpl>
        </p:tmplLst>
      </p:bldP>
      <p:bldP spid="113"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3"/>
                        </p:tgtEl>
                        <p:attrNameLst>
                          <p:attrName>style.visibility</p:attrName>
                        </p:attrNameLst>
                      </p:cBhvr>
                      <p:to>
                        <p:strVal val="visible"/>
                      </p:to>
                    </p:set>
                    <p:animEffect transition="in" filter="dissolve">
                      <p:cBhvr>
                        <p:cTn dur="500"/>
                        <p:tgtEl>
                          <p:spTgt spid="113"/>
                        </p:tgtEl>
                      </p:cBhvr>
                    </p:animEffect>
                  </p:childTnLst>
                </p:cTn>
              </p:par>
            </p:tnLst>
          </p:tmpl>
        </p:tmplLst>
      </p:bldP>
      <p:bldP spid="114"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4"/>
                        </p:tgtEl>
                        <p:attrNameLst>
                          <p:attrName>style.visibility</p:attrName>
                        </p:attrNameLst>
                      </p:cBhvr>
                      <p:to>
                        <p:strVal val="visible"/>
                      </p:to>
                    </p:set>
                    <p:animEffect transition="in" filter="dissolve">
                      <p:cBhvr>
                        <p:cTn dur="500"/>
                        <p:tgtEl>
                          <p:spTgt spid="114"/>
                        </p:tgtEl>
                      </p:cBhvr>
                    </p:animEffect>
                  </p:childTnLst>
                </p:cTn>
              </p:par>
            </p:tnLst>
          </p:tmpl>
        </p:tmplLst>
      </p:bldP>
      <p:bldP spid="115"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5"/>
                        </p:tgtEl>
                        <p:attrNameLst>
                          <p:attrName>style.visibility</p:attrName>
                        </p:attrNameLst>
                      </p:cBhvr>
                      <p:to>
                        <p:strVal val="visible"/>
                      </p:to>
                    </p:set>
                    <p:animEffect transition="in" filter="dissolve">
                      <p:cBhvr>
                        <p:cTn dur="500"/>
                        <p:tgtEl>
                          <p:spTgt spid="115"/>
                        </p:tgtEl>
                      </p:cBhvr>
                    </p:animEffect>
                  </p:childTnLst>
                </p:cTn>
              </p:par>
            </p:tnLst>
          </p:tmpl>
        </p:tmplLst>
      </p:bldP>
      <p:bldP spid="116"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6"/>
                        </p:tgtEl>
                        <p:attrNameLst>
                          <p:attrName>style.visibility</p:attrName>
                        </p:attrNameLst>
                      </p:cBhvr>
                      <p:to>
                        <p:strVal val="visible"/>
                      </p:to>
                    </p:set>
                    <p:animEffect transition="in" filter="dissolve">
                      <p:cBhvr>
                        <p:cTn dur="500"/>
                        <p:tgtEl>
                          <p:spTgt spid="116"/>
                        </p:tgtEl>
                      </p:cBhvr>
                    </p:animEffect>
                  </p:childTnLst>
                </p:cTn>
              </p:par>
            </p:tnLst>
          </p:tmpl>
        </p:tmplLst>
      </p:bldP>
      <p:bldP spid="117"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7"/>
                        </p:tgtEl>
                        <p:attrNameLst>
                          <p:attrName>style.visibility</p:attrName>
                        </p:attrNameLst>
                      </p:cBhvr>
                      <p:to>
                        <p:strVal val="visible"/>
                      </p:to>
                    </p:set>
                    <p:animEffect transition="in" filter="dissolve">
                      <p:cBhvr>
                        <p:cTn dur="500"/>
                        <p:tgtEl>
                          <p:spTgt spid="117"/>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pic>
        <p:nvPicPr>
          <p:cNvPr id="46" name="phone-black.png"/>
          <p:cNvPicPr/>
          <p:nvPr userDrawn="1"/>
        </p:nvPicPr>
        <p:blipFill>
          <a:blip r:embed="rId2" cstate="print">
            <a:extLst/>
          </a:blip>
          <a:stretch>
            <a:fillRect/>
          </a:stretch>
        </p:blipFill>
        <p:spPr>
          <a:xfrm>
            <a:off x="5078677" y="1495425"/>
            <a:ext cx="2031471" cy="4019550"/>
          </a:xfrm>
          <a:prstGeom prst="rect">
            <a:avLst/>
          </a:prstGeom>
          <a:ln w="12700">
            <a:miter lim="400000"/>
          </a:ln>
        </p:spPr>
      </p:pic>
      <p:grpSp>
        <p:nvGrpSpPr>
          <p:cNvPr id="2" name="Group 835"/>
          <p:cNvGrpSpPr/>
          <p:nvPr userDrawn="1"/>
        </p:nvGrpSpPr>
        <p:grpSpPr>
          <a:xfrm>
            <a:off x="7694612" y="2013907"/>
            <a:ext cx="455700" cy="455814"/>
            <a:chOff x="0" y="0"/>
            <a:chExt cx="911635" cy="911627"/>
          </a:xfrm>
        </p:grpSpPr>
        <p:sp>
          <p:nvSpPr>
            <p:cNvPr id="152" name="Shape 833"/>
            <p:cNvSpPr/>
            <p:nvPr/>
          </p:nvSpPr>
          <p:spPr>
            <a:xfrm>
              <a:off x="-1" y="-1"/>
              <a:ext cx="911637" cy="911629"/>
            </a:xfrm>
            <a:custGeom>
              <a:avLst/>
              <a:gdLst/>
              <a:ahLst/>
              <a:cxnLst>
                <a:cxn ang="0">
                  <a:pos x="wd2" y="hd2"/>
                </a:cxn>
                <a:cxn ang="5400000">
                  <a:pos x="wd2" y="hd2"/>
                </a:cxn>
                <a:cxn ang="10800000">
                  <a:pos x="wd2" y="hd2"/>
                </a:cxn>
                <a:cxn ang="16200000">
                  <a:pos x="wd2" y="hd2"/>
                </a:cxn>
              </a:cxnLst>
              <a:rect l="0" t="0" r="r" b="b"/>
              <a:pathLst>
                <a:path w="19807" h="19806" extrusionOk="0">
                  <a:moveTo>
                    <a:pt x="7908" y="205"/>
                  </a:moveTo>
                  <a:cubicBezTo>
                    <a:pt x="13264" y="-897"/>
                    <a:pt x="18500" y="2551"/>
                    <a:pt x="19602" y="7907"/>
                  </a:cubicBezTo>
                  <a:cubicBezTo>
                    <a:pt x="20703" y="13264"/>
                    <a:pt x="17254" y="18499"/>
                    <a:pt x="11899" y="19601"/>
                  </a:cubicBezTo>
                  <a:cubicBezTo>
                    <a:pt x="6545" y="20703"/>
                    <a:pt x="1312" y="17258"/>
                    <a:pt x="207" y="11907"/>
                  </a:cubicBezTo>
                  <a:cubicBezTo>
                    <a:pt x="206" y="11904"/>
                    <a:pt x="206" y="11901"/>
                    <a:pt x="205" y="11898"/>
                  </a:cubicBezTo>
                  <a:cubicBezTo>
                    <a:pt x="-897" y="6542"/>
                    <a:pt x="2552" y="1307"/>
                    <a:pt x="7908" y="205"/>
                  </a:cubicBezTo>
                  <a:close/>
                </a:path>
              </a:pathLst>
            </a:custGeom>
            <a:solidFill>
              <a:srgbClr val="C0392B"/>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153" name="Shape 834"/>
            <p:cNvSpPr/>
            <p:nvPr/>
          </p:nvSpPr>
          <p:spPr>
            <a:xfrm>
              <a:off x="287863" y="322425"/>
              <a:ext cx="335910" cy="239927"/>
            </a:xfrm>
            <a:custGeom>
              <a:avLst/>
              <a:gdLst/>
              <a:ahLst/>
              <a:cxnLst>
                <a:cxn ang="0">
                  <a:pos x="wd2" y="hd2"/>
                </a:cxn>
                <a:cxn ang="5400000">
                  <a:pos x="wd2" y="hd2"/>
                </a:cxn>
                <a:cxn ang="10800000">
                  <a:pos x="wd2" y="hd2"/>
                </a:cxn>
                <a:cxn ang="16200000">
                  <a:pos x="wd2" y="hd2"/>
                </a:cxn>
              </a:cxnLst>
              <a:rect l="0" t="0" r="r" b="b"/>
              <a:pathLst>
                <a:path w="21600" h="21600" extrusionOk="0">
                  <a:moveTo>
                    <a:pt x="8376" y="15428"/>
                  </a:moveTo>
                  <a:lnTo>
                    <a:pt x="8376" y="6172"/>
                  </a:lnTo>
                  <a:lnTo>
                    <a:pt x="13886" y="10798"/>
                  </a:lnTo>
                  <a:cubicBezTo>
                    <a:pt x="13886" y="10798"/>
                    <a:pt x="8376" y="15428"/>
                    <a:pt x="8376" y="15428"/>
                  </a:cubicBezTo>
                  <a:close/>
                  <a:moveTo>
                    <a:pt x="21600" y="3084"/>
                  </a:moveTo>
                  <a:lnTo>
                    <a:pt x="21600" y="1234"/>
                  </a:lnTo>
                  <a:cubicBezTo>
                    <a:pt x="21600" y="554"/>
                    <a:pt x="21205" y="0"/>
                    <a:pt x="20719" y="0"/>
                  </a:cubicBezTo>
                  <a:lnTo>
                    <a:pt x="881" y="0"/>
                  </a:lnTo>
                  <a:cubicBezTo>
                    <a:pt x="394" y="0"/>
                    <a:pt x="0" y="554"/>
                    <a:pt x="0" y="1234"/>
                  </a:cubicBezTo>
                  <a:lnTo>
                    <a:pt x="0" y="3084"/>
                  </a:lnTo>
                  <a:lnTo>
                    <a:pt x="2204" y="3084"/>
                  </a:lnTo>
                  <a:lnTo>
                    <a:pt x="2204" y="6172"/>
                  </a:lnTo>
                  <a:lnTo>
                    <a:pt x="0" y="6172"/>
                  </a:lnTo>
                  <a:lnTo>
                    <a:pt x="0" y="9256"/>
                  </a:lnTo>
                  <a:lnTo>
                    <a:pt x="2204" y="9256"/>
                  </a:lnTo>
                  <a:lnTo>
                    <a:pt x="2204" y="12344"/>
                  </a:lnTo>
                  <a:lnTo>
                    <a:pt x="0" y="12344"/>
                  </a:lnTo>
                  <a:lnTo>
                    <a:pt x="0" y="15428"/>
                  </a:lnTo>
                  <a:lnTo>
                    <a:pt x="2204" y="15428"/>
                  </a:lnTo>
                  <a:lnTo>
                    <a:pt x="2204" y="18516"/>
                  </a:lnTo>
                  <a:lnTo>
                    <a:pt x="0" y="18516"/>
                  </a:lnTo>
                  <a:lnTo>
                    <a:pt x="0" y="20366"/>
                  </a:lnTo>
                  <a:cubicBezTo>
                    <a:pt x="0" y="21046"/>
                    <a:pt x="394" y="21600"/>
                    <a:pt x="881" y="21600"/>
                  </a:cubicBezTo>
                  <a:lnTo>
                    <a:pt x="20719" y="21600"/>
                  </a:lnTo>
                  <a:cubicBezTo>
                    <a:pt x="21205" y="21600"/>
                    <a:pt x="21600" y="21046"/>
                    <a:pt x="21600" y="20366"/>
                  </a:cubicBezTo>
                  <a:lnTo>
                    <a:pt x="21600" y="18516"/>
                  </a:lnTo>
                  <a:lnTo>
                    <a:pt x="19396" y="18516"/>
                  </a:lnTo>
                  <a:lnTo>
                    <a:pt x="19396" y="15428"/>
                  </a:lnTo>
                  <a:lnTo>
                    <a:pt x="21600" y="15428"/>
                  </a:lnTo>
                  <a:lnTo>
                    <a:pt x="21600" y="12344"/>
                  </a:lnTo>
                  <a:lnTo>
                    <a:pt x="19396" y="12344"/>
                  </a:lnTo>
                  <a:lnTo>
                    <a:pt x="19396" y="9256"/>
                  </a:lnTo>
                  <a:lnTo>
                    <a:pt x="21600" y="9256"/>
                  </a:lnTo>
                  <a:lnTo>
                    <a:pt x="21600" y="6172"/>
                  </a:lnTo>
                  <a:lnTo>
                    <a:pt x="19396" y="6172"/>
                  </a:lnTo>
                  <a:lnTo>
                    <a:pt x="19396" y="3084"/>
                  </a:lnTo>
                  <a:cubicBezTo>
                    <a:pt x="19396" y="3084"/>
                    <a:pt x="21600" y="3084"/>
                    <a:pt x="21600" y="3084"/>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3" name="Group 718"/>
          <p:cNvGrpSpPr/>
          <p:nvPr userDrawn="1"/>
        </p:nvGrpSpPr>
        <p:grpSpPr>
          <a:xfrm>
            <a:off x="4038525" y="2006289"/>
            <a:ext cx="455687" cy="455814"/>
            <a:chOff x="0" y="0"/>
            <a:chExt cx="911610" cy="911627"/>
          </a:xfrm>
        </p:grpSpPr>
        <p:sp>
          <p:nvSpPr>
            <p:cNvPr id="78" name="Shape 716"/>
            <p:cNvSpPr/>
            <p:nvPr/>
          </p:nvSpPr>
          <p:spPr>
            <a:xfrm>
              <a:off x="0" y="0"/>
              <a:ext cx="911611" cy="911628"/>
            </a:xfrm>
            <a:custGeom>
              <a:avLst/>
              <a:gdLst/>
              <a:ahLst/>
              <a:cxnLst>
                <a:cxn ang="0">
                  <a:pos x="wd2" y="hd2"/>
                </a:cxn>
                <a:cxn ang="5400000">
                  <a:pos x="wd2" y="hd2"/>
                </a:cxn>
                <a:cxn ang="10800000">
                  <a:pos x="wd2" y="hd2"/>
                </a:cxn>
                <a:cxn ang="16200000">
                  <a:pos x="wd2" y="hd2"/>
                </a:cxn>
              </a:cxnLst>
              <a:rect l="0" t="0" r="r" b="b"/>
              <a:pathLst>
                <a:path w="19806" h="19807" extrusionOk="0">
                  <a:moveTo>
                    <a:pt x="7908" y="205"/>
                  </a:moveTo>
                  <a:cubicBezTo>
                    <a:pt x="13264" y="-897"/>
                    <a:pt x="18499" y="2552"/>
                    <a:pt x="19601" y="7908"/>
                  </a:cubicBezTo>
                  <a:cubicBezTo>
                    <a:pt x="20703" y="13265"/>
                    <a:pt x="17255" y="18500"/>
                    <a:pt x="11899" y="19602"/>
                  </a:cubicBezTo>
                  <a:cubicBezTo>
                    <a:pt x="6545" y="20703"/>
                    <a:pt x="1313" y="17258"/>
                    <a:pt x="207" y="11907"/>
                  </a:cubicBezTo>
                  <a:cubicBezTo>
                    <a:pt x="207" y="11904"/>
                    <a:pt x="206" y="11901"/>
                    <a:pt x="206" y="11899"/>
                  </a:cubicBezTo>
                  <a:cubicBezTo>
                    <a:pt x="-897" y="6543"/>
                    <a:pt x="2552" y="1307"/>
                    <a:pt x="7908" y="205"/>
                  </a:cubicBezTo>
                  <a:close/>
                </a:path>
              </a:pathLst>
            </a:custGeom>
            <a:solidFill>
              <a:schemeClr val="accent1"/>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9" name="Shape 717"/>
            <p:cNvSpPr/>
            <p:nvPr/>
          </p:nvSpPr>
          <p:spPr>
            <a:xfrm>
              <a:off x="334270" y="282472"/>
              <a:ext cx="243070" cy="335885"/>
            </a:xfrm>
            <a:custGeom>
              <a:avLst/>
              <a:gdLst/>
              <a:ahLst/>
              <a:cxnLst>
                <a:cxn ang="0">
                  <a:pos x="wd2" y="hd2"/>
                </a:cxn>
                <a:cxn ang="5400000">
                  <a:pos x="wd2" y="hd2"/>
                </a:cxn>
                <a:cxn ang="10800000">
                  <a:pos x="wd2" y="hd2"/>
                </a:cxn>
                <a:cxn ang="16200000">
                  <a:pos x="wd2" y="hd2"/>
                </a:cxn>
              </a:cxnLst>
              <a:rect l="0" t="0" r="r" b="b"/>
              <a:pathLst>
                <a:path w="21565" h="21086" extrusionOk="0">
                  <a:moveTo>
                    <a:pt x="21023" y="5250"/>
                  </a:moveTo>
                  <a:lnTo>
                    <a:pt x="7163" y="195"/>
                  </a:lnTo>
                  <a:cubicBezTo>
                    <a:pt x="5264" y="-514"/>
                    <a:pt x="1521" y="853"/>
                    <a:pt x="445" y="2057"/>
                  </a:cubicBezTo>
                  <a:cubicBezTo>
                    <a:pt x="-35" y="2595"/>
                    <a:pt x="0" y="2983"/>
                    <a:pt x="0" y="3203"/>
                  </a:cubicBezTo>
                  <a:lnTo>
                    <a:pt x="173" y="14619"/>
                  </a:lnTo>
                  <a:cubicBezTo>
                    <a:pt x="184" y="14862"/>
                    <a:pt x="614" y="15188"/>
                    <a:pt x="983" y="15348"/>
                  </a:cubicBezTo>
                  <a:cubicBezTo>
                    <a:pt x="1753" y="15682"/>
                    <a:pt x="13399" y="20826"/>
                    <a:pt x="13729" y="20972"/>
                  </a:cubicBezTo>
                  <a:cubicBezTo>
                    <a:pt x="13905" y="21051"/>
                    <a:pt x="14115" y="21086"/>
                    <a:pt x="14322" y="21086"/>
                  </a:cubicBezTo>
                  <a:cubicBezTo>
                    <a:pt x="14499" y="21086"/>
                    <a:pt x="14675" y="21058"/>
                    <a:pt x="14834" y="21002"/>
                  </a:cubicBezTo>
                  <a:cubicBezTo>
                    <a:pt x="15185" y="20881"/>
                    <a:pt x="15404" y="20645"/>
                    <a:pt x="15404" y="20388"/>
                  </a:cubicBezTo>
                  <a:lnTo>
                    <a:pt x="15404" y="8397"/>
                  </a:lnTo>
                  <a:cubicBezTo>
                    <a:pt x="15404" y="8148"/>
                    <a:pt x="15198" y="7917"/>
                    <a:pt x="14862" y="7792"/>
                  </a:cubicBezTo>
                  <a:lnTo>
                    <a:pt x="2263" y="2817"/>
                  </a:lnTo>
                  <a:cubicBezTo>
                    <a:pt x="2408" y="2620"/>
                    <a:pt x="2968" y="2205"/>
                    <a:pt x="3997" y="1825"/>
                  </a:cubicBezTo>
                  <a:cubicBezTo>
                    <a:pt x="5082" y="1422"/>
                    <a:pt x="5896" y="1574"/>
                    <a:pt x="6082" y="1625"/>
                  </a:cubicBezTo>
                  <a:cubicBezTo>
                    <a:pt x="6082" y="1625"/>
                    <a:pt x="18173" y="6203"/>
                    <a:pt x="18544" y="6339"/>
                  </a:cubicBezTo>
                  <a:cubicBezTo>
                    <a:pt x="18911" y="6476"/>
                    <a:pt x="18918" y="6495"/>
                    <a:pt x="18918" y="6729"/>
                  </a:cubicBezTo>
                  <a:cubicBezTo>
                    <a:pt x="18918" y="6961"/>
                    <a:pt x="18918" y="18107"/>
                    <a:pt x="18918" y="18107"/>
                  </a:cubicBezTo>
                  <a:cubicBezTo>
                    <a:pt x="18918" y="18674"/>
                    <a:pt x="19733" y="18906"/>
                    <a:pt x="20330" y="18906"/>
                  </a:cubicBezTo>
                  <a:cubicBezTo>
                    <a:pt x="20927" y="18906"/>
                    <a:pt x="21565" y="18493"/>
                    <a:pt x="21565" y="18107"/>
                  </a:cubicBezTo>
                  <a:lnTo>
                    <a:pt x="21565" y="5855"/>
                  </a:lnTo>
                  <a:cubicBezTo>
                    <a:pt x="21565" y="5605"/>
                    <a:pt x="21357" y="5375"/>
                    <a:pt x="21023" y="525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8360752" y="2006502"/>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8360752" y="2250651"/>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57" name="Picture Placeholder 2"/>
          <p:cNvSpPr>
            <a:spLocks noGrp="1"/>
          </p:cNvSpPr>
          <p:nvPr>
            <p:ph type="pic" sz="quarter" idx="23"/>
          </p:nvPr>
        </p:nvSpPr>
        <p:spPr>
          <a:xfrm>
            <a:off x="5294312" y="2070512"/>
            <a:ext cx="1600200" cy="2869376"/>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grpSp>
        <p:nvGrpSpPr>
          <p:cNvPr id="4" name="Group 715"/>
          <p:cNvGrpSpPr/>
          <p:nvPr userDrawn="1"/>
        </p:nvGrpSpPr>
        <p:grpSpPr>
          <a:xfrm>
            <a:off x="4038472" y="4538461"/>
            <a:ext cx="455691" cy="455814"/>
            <a:chOff x="0" y="0"/>
            <a:chExt cx="911618" cy="911627"/>
          </a:xfrm>
        </p:grpSpPr>
        <p:sp>
          <p:nvSpPr>
            <p:cNvPr id="75" name="Shape 713"/>
            <p:cNvSpPr/>
            <p:nvPr/>
          </p:nvSpPr>
          <p:spPr>
            <a:xfrm>
              <a:off x="-1" y="-1"/>
              <a:ext cx="911620" cy="911629"/>
            </a:xfrm>
            <a:custGeom>
              <a:avLst/>
              <a:gdLst/>
              <a:ahLst/>
              <a:cxnLst>
                <a:cxn ang="0">
                  <a:pos x="wd2" y="hd2"/>
                </a:cxn>
                <a:cxn ang="5400000">
                  <a:pos x="wd2" y="hd2"/>
                </a:cxn>
                <a:cxn ang="10800000">
                  <a:pos x="wd2" y="hd2"/>
                </a:cxn>
                <a:cxn ang="16200000">
                  <a:pos x="wd2" y="hd2"/>
                </a:cxn>
              </a:cxnLst>
              <a:rect l="0" t="0" r="r" b="b"/>
              <a:pathLst>
                <a:path w="19807" h="19807" extrusionOk="0">
                  <a:moveTo>
                    <a:pt x="7907" y="205"/>
                  </a:moveTo>
                  <a:cubicBezTo>
                    <a:pt x="13264" y="-897"/>
                    <a:pt x="18498" y="2551"/>
                    <a:pt x="19601" y="7908"/>
                  </a:cubicBezTo>
                  <a:cubicBezTo>
                    <a:pt x="20703" y="13264"/>
                    <a:pt x="17254" y="18500"/>
                    <a:pt x="11898" y="19602"/>
                  </a:cubicBezTo>
                  <a:cubicBezTo>
                    <a:pt x="6545" y="20703"/>
                    <a:pt x="1312" y="17258"/>
                    <a:pt x="206" y="11907"/>
                  </a:cubicBezTo>
                  <a:cubicBezTo>
                    <a:pt x="206" y="11904"/>
                    <a:pt x="205" y="11901"/>
                    <a:pt x="204" y="11899"/>
                  </a:cubicBezTo>
                  <a:cubicBezTo>
                    <a:pt x="-897" y="6542"/>
                    <a:pt x="2551" y="1307"/>
                    <a:pt x="7907" y="205"/>
                  </a:cubicBezTo>
                  <a:close/>
                </a:path>
              </a:pathLst>
            </a:custGeom>
            <a:solidFill>
              <a:schemeClr val="accent2"/>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6" name="Shape 714"/>
            <p:cNvSpPr/>
            <p:nvPr/>
          </p:nvSpPr>
          <p:spPr>
            <a:xfrm>
              <a:off x="325844" y="282472"/>
              <a:ext cx="259931" cy="335885"/>
            </a:xfrm>
            <a:custGeom>
              <a:avLst/>
              <a:gdLst/>
              <a:ahLst/>
              <a:cxnLst>
                <a:cxn ang="0">
                  <a:pos x="wd2" y="hd2"/>
                </a:cxn>
                <a:cxn ang="5400000">
                  <a:pos x="wd2" y="hd2"/>
                </a:cxn>
                <a:cxn ang="10800000">
                  <a:pos x="wd2" y="hd2"/>
                </a:cxn>
                <a:cxn ang="16200000">
                  <a:pos x="wd2" y="hd2"/>
                </a:cxn>
              </a:cxnLst>
              <a:rect l="0" t="0" r="r" b="b"/>
              <a:pathLst>
                <a:path w="21137" h="21205" extrusionOk="0">
                  <a:moveTo>
                    <a:pt x="5865" y="2548"/>
                  </a:moveTo>
                  <a:lnTo>
                    <a:pt x="5867" y="15695"/>
                  </a:lnTo>
                  <a:cubicBezTo>
                    <a:pt x="4944" y="15546"/>
                    <a:pt x="3872" y="15602"/>
                    <a:pt x="2808" y="15909"/>
                  </a:cubicBezTo>
                  <a:cubicBezTo>
                    <a:pt x="413" y="16599"/>
                    <a:pt x="-431" y="18279"/>
                    <a:pt x="203" y="19659"/>
                  </a:cubicBezTo>
                  <a:cubicBezTo>
                    <a:pt x="839" y="21041"/>
                    <a:pt x="2710" y="21600"/>
                    <a:pt x="5104" y="20909"/>
                  </a:cubicBezTo>
                  <a:cubicBezTo>
                    <a:pt x="7137" y="20323"/>
                    <a:pt x="8468" y="19024"/>
                    <a:pt x="8434" y="17799"/>
                  </a:cubicBezTo>
                  <a:cubicBezTo>
                    <a:pt x="8434" y="17799"/>
                    <a:pt x="8434" y="10827"/>
                    <a:pt x="8434" y="6940"/>
                  </a:cubicBezTo>
                  <a:lnTo>
                    <a:pt x="18567" y="5136"/>
                  </a:lnTo>
                  <a:lnTo>
                    <a:pt x="18567" y="13479"/>
                  </a:lnTo>
                  <a:cubicBezTo>
                    <a:pt x="17645" y="13330"/>
                    <a:pt x="16572" y="13386"/>
                    <a:pt x="15509" y="13693"/>
                  </a:cubicBezTo>
                  <a:cubicBezTo>
                    <a:pt x="13115" y="14384"/>
                    <a:pt x="12270" y="16064"/>
                    <a:pt x="12905" y="17443"/>
                  </a:cubicBezTo>
                  <a:cubicBezTo>
                    <a:pt x="13539" y="18825"/>
                    <a:pt x="15411" y="19384"/>
                    <a:pt x="17806" y="18694"/>
                  </a:cubicBezTo>
                  <a:cubicBezTo>
                    <a:pt x="19839" y="18107"/>
                    <a:pt x="21169" y="16808"/>
                    <a:pt x="21136" y="15583"/>
                  </a:cubicBezTo>
                  <a:lnTo>
                    <a:pt x="21136" y="0"/>
                  </a:lnTo>
                  <a:cubicBezTo>
                    <a:pt x="21136" y="0"/>
                    <a:pt x="5865" y="2548"/>
                    <a:pt x="5865" y="2548"/>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5" name="Group 721"/>
          <p:cNvGrpSpPr/>
          <p:nvPr userDrawn="1"/>
        </p:nvGrpSpPr>
        <p:grpSpPr>
          <a:xfrm>
            <a:off x="7699128" y="3694403"/>
            <a:ext cx="455701" cy="455815"/>
            <a:chOff x="-1" y="-1"/>
            <a:chExt cx="911637" cy="911629"/>
          </a:xfrm>
        </p:grpSpPr>
        <p:sp>
          <p:nvSpPr>
            <p:cNvPr id="81" name="Shape 719"/>
            <p:cNvSpPr/>
            <p:nvPr/>
          </p:nvSpPr>
          <p:spPr>
            <a:xfrm>
              <a:off x="-1" y="-1"/>
              <a:ext cx="911637" cy="911629"/>
            </a:xfrm>
            <a:custGeom>
              <a:avLst/>
              <a:gdLst/>
              <a:ahLst/>
              <a:cxnLst>
                <a:cxn ang="0">
                  <a:pos x="wd2" y="hd2"/>
                </a:cxn>
                <a:cxn ang="5400000">
                  <a:pos x="wd2" y="hd2"/>
                </a:cxn>
                <a:cxn ang="10800000">
                  <a:pos x="wd2" y="hd2"/>
                </a:cxn>
                <a:cxn ang="16200000">
                  <a:pos x="wd2" y="hd2"/>
                </a:cxn>
              </a:cxnLst>
              <a:rect l="0" t="0" r="r" b="b"/>
              <a:pathLst>
                <a:path w="19807" h="19806" extrusionOk="0">
                  <a:moveTo>
                    <a:pt x="7908" y="205"/>
                  </a:moveTo>
                  <a:cubicBezTo>
                    <a:pt x="13264" y="-897"/>
                    <a:pt x="18500" y="2551"/>
                    <a:pt x="19602" y="7907"/>
                  </a:cubicBezTo>
                  <a:cubicBezTo>
                    <a:pt x="20703" y="13264"/>
                    <a:pt x="17254" y="18499"/>
                    <a:pt x="11899" y="19601"/>
                  </a:cubicBezTo>
                  <a:cubicBezTo>
                    <a:pt x="6545" y="20703"/>
                    <a:pt x="1312" y="17258"/>
                    <a:pt x="207" y="11907"/>
                  </a:cubicBezTo>
                  <a:cubicBezTo>
                    <a:pt x="206" y="11904"/>
                    <a:pt x="206" y="11901"/>
                    <a:pt x="205" y="11898"/>
                  </a:cubicBezTo>
                  <a:cubicBezTo>
                    <a:pt x="-897" y="6542"/>
                    <a:pt x="2552" y="1307"/>
                    <a:pt x="7908" y="205"/>
                  </a:cubicBezTo>
                  <a:close/>
                </a:path>
              </a:pathLst>
            </a:custGeom>
            <a:solidFill>
              <a:schemeClr val="accent5"/>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82" name="Shape 720"/>
            <p:cNvSpPr/>
            <p:nvPr/>
          </p:nvSpPr>
          <p:spPr>
            <a:xfrm>
              <a:off x="287861" y="287871"/>
              <a:ext cx="335911" cy="335886"/>
            </a:xfrm>
            <a:custGeom>
              <a:avLst/>
              <a:gdLst/>
              <a:ahLst/>
              <a:cxnLst>
                <a:cxn ang="0">
                  <a:pos x="wd2" y="hd2"/>
                </a:cxn>
                <a:cxn ang="5400000">
                  <a:pos x="wd2" y="hd2"/>
                </a:cxn>
                <a:cxn ang="10800000">
                  <a:pos x="wd2" y="hd2"/>
                </a:cxn>
                <a:cxn ang="16200000">
                  <a:pos x="wd2" y="hd2"/>
                </a:cxn>
              </a:cxnLst>
              <a:rect l="0" t="0" r="r" b="b"/>
              <a:pathLst>
                <a:path w="21600" h="21600" extrusionOk="0">
                  <a:moveTo>
                    <a:pt x="10800" y="15497"/>
                  </a:moveTo>
                  <a:cubicBezTo>
                    <a:pt x="8207" y="15497"/>
                    <a:pt x="6104" y="13394"/>
                    <a:pt x="6104" y="10801"/>
                  </a:cubicBezTo>
                  <a:cubicBezTo>
                    <a:pt x="6104" y="8206"/>
                    <a:pt x="8207" y="6103"/>
                    <a:pt x="10800" y="6103"/>
                  </a:cubicBezTo>
                  <a:cubicBezTo>
                    <a:pt x="13395" y="6103"/>
                    <a:pt x="15497" y="8206"/>
                    <a:pt x="15497" y="10801"/>
                  </a:cubicBezTo>
                  <a:cubicBezTo>
                    <a:pt x="15497" y="13394"/>
                    <a:pt x="13395" y="15497"/>
                    <a:pt x="10800" y="15497"/>
                  </a:cubicBezTo>
                  <a:close/>
                  <a:moveTo>
                    <a:pt x="19522" y="10801"/>
                  </a:moveTo>
                  <a:cubicBezTo>
                    <a:pt x="19522" y="9454"/>
                    <a:pt x="20352" y="8390"/>
                    <a:pt x="21600" y="7659"/>
                  </a:cubicBezTo>
                  <a:cubicBezTo>
                    <a:pt x="21376" y="6908"/>
                    <a:pt x="21077" y="6187"/>
                    <a:pt x="20711" y="5509"/>
                  </a:cubicBezTo>
                  <a:cubicBezTo>
                    <a:pt x="19310" y="5876"/>
                    <a:pt x="18177" y="5328"/>
                    <a:pt x="17225" y="4375"/>
                  </a:cubicBezTo>
                  <a:cubicBezTo>
                    <a:pt x="16273" y="3423"/>
                    <a:pt x="15982" y="2288"/>
                    <a:pt x="16347" y="889"/>
                  </a:cubicBezTo>
                  <a:cubicBezTo>
                    <a:pt x="15671" y="522"/>
                    <a:pt x="14951" y="224"/>
                    <a:pt x="14198" y="0"/>
                  </a:cubicBezTo>
                  <a:cubicBezTo>
                    <a:pt x="13467" y="1248"/>
                    <a:pt x="12147" y="2078"/>
                    <a:pt x="10800" y="2078"/>
                  </a:cubicBezTo>
                  <a:cubicBezTo>
                    <a:pt x="9453" y="2078"/>
                    <a:pt x="8134" y="1248"/>
                    <a:pt x="7403" y="0"/>
                  </a:cubicBezTo>
                  <a:cubicBezTo>
                    <a:pt x="6651" y="224"/>
                    <a:pt x="5931" y="522"/>
                    <a:pt x="5253" y="889"/>
                  </a:cubicBezTo>
                  <a:cubicBezTo>
                    <a:pt x="5620" y="2288"/>
                    <a:pt x="5329" y="3422"/>
                    <a:pt x="4375" y="4375"/>
                  </a:cubicBezTo>
                  <a:cubicBezTo>
                    <a:pt x="3423" y="5328"/>
                    <a:pt x="2290" y="5876"/>
                    <a:pt x="890" y="5510"/>
                  </a:cubicBezTo>
                  <a:cubicBezTo>
                    <a:pt x="523" y="6187"/>
                    <a:pt x="224" y="6908"/>
                    <a:pt x="0" y="7659"/>
                  </a:cubicBezTo>
                  <a:cubicBezTo>
                    <a:pt x="1249" y="8390"/>
                    <a:pt x="2078" y="9454"/>
                    <a:pt x="2078" y="10801"/>
                  </a:cubicBezTo>
                  <a:cubicBezTo>
                    <a:pt x="2078" y="12146"/>
                    <a:pt x="1249" y="13467"/>
                    <a:pt x="0" y="14198"/>
                  </a:cubicBezTo>
                  <a:cubicBezTo>
                    <a:pt x="224" y="14950"/>
                    <a:pt x="523" y="15670"/>
                    <a:pt x="890" y="16348"/>
                  </a:cubicBezTo>
                  <a:cubicBezTo>
                    <a:pt x="2290" y="15981"/>
                    <a:pt x="3423" y="16272"/>
                    <a:pt x="4375" y="17226"/>
                  </a:cubicBezTo>
                  <a:cubicBezTo>
                    <a:pt x="5327" y="18178"/>
                    <a:pt x="5620" y="19312"/>
                    <a:pt x="5253" y="20711"/>
                  </a:cubicBezTo>
                  <a:cubicBezTo>
                    <a:pt x="5931" y="21078"/>
                    <a:pt x="6651" y="21377"/>
                    <a:pt x="7403" y="21600"/>
                  </a:cubicBezTo>
                  <a:cubicBezTo>
                    <a:pt x="8134" y="20352"/>
                    <a:pt x="9453" y="19524"/>
                    <a:pt x="10800" y="19524"/>
                  </a:cubicBezTo>
                  <a:cubicBezTo>
                    <a:pt x="12147" y="19524"/>
                    <a:pt x="13467" y="20352"/>
                    <a:pt x="14198" y="21600"/>
                  </a:cubicBezTo>
                  <a:cubicBezTo>
                    <a:pt x="14951" y="21376"/>
                    <a:pt x="15671" y="21078"/>
                    <a:pt x="16349" y="20711"/>
                  </a:cubicBezTo>
                  <a:cubicBezTo>
                    <a:pt x="15982" y="19312"/>
                    <a:pt x="16273" y="18178"/>
                    <a:pt x="17225" y="17226"/>
                  </a:cubicBezTo>
                  <a:cubicBezTo>
                    <a:pt x="18177" y="16272"/>
                    <a:pt x="19310" y="15724"/>
                    <a:pt x="20711" y="16091"/>
                  </a:cubicBezTo>
                  <a:cubicBezTo>
                    <a:pt x="21077" y="15413"/>
                    <a:pt x="21376" y="14693"/>
                    <a:pt x="21600" y="13941"/>
                  </a:cubicBezTo>
                  <a:cubicBezTo>
                    <a:pt x="20352" y="13210"/>
                    <a:pt x="19522" y="12146"/>
                    <a:pt x="19522" y="10801"/>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6" name="Group 727"/>
          <p:cNvGrpSpPr/>
          <p:nvPr userDrawn="1"/>
        </p:nvGrpSpPr>
        <p:grpSpPr>
          <a:xfrm>
            <a:off x="7699138" y="4538461"/>
            <a:ext cx="455681" cy="455815"/>
            <a:chOff x="-1" y="0"/>
            <a:chExt cx="911598" cy="911628"/>
          </a:xfrm>
        </p:grpSpPr>
        <p:sp>
          <p:nvSpPr>
            <p:cNvPr id="87" name="Shape 725"/>
            <p:cNvSpPr/>
            <p:nvPr/>
          </p:nvSpPr>
          <p:spPr>
            <a:xfrm>
              <a:off x="-1" y="0"/>
              <a:ext cx="911598" cy="911628"/>
            </a:xfrm>
            <a:custGeom>
              <a:avLst/>
              <a:gdLst/>
              <a:ahLst/>
              <a:cxnLst>
                <a:cxn ang="0">
                  <a:pos x="wd2" y="hd2"/>
                </a:cxn>
                <a:cxn ang="5400000">
                  <a:pos x="wd2" y="hd2"/>
                </a:cxn>
                <a:cxn ang="10800000">
                  <a:pos x="wd2" y="hd2"/>
                </a:cxn>
                <a:cxn ang="16200000">
                  <a:pos x="wd2" y="hd2"/>
                </a:cxn>
              </a:cxnLst>
              <a:rect l="0" t="0" r="r" b="b"/>
              <a:pathLst>
                <a:path w="19806" h="19806" extrusionOk="0">
                  <a:moveTo>
                    <a:pt x="11898" y="19600"/>
                  </a:moveTo>
                  <a:cubicBezTo>
                    <a:pt x="6542" y="20703"/>
                    <a:pt x="1307" y="17254"/>
                    <a:pt x="205" y="11898"/>
                  </a:cubicBezTo>
                  <a:cubicBezTo>
                    <a:pt x="-897" y="6542"/>
                    <a:pt x="2551" y="1307"/>
                    <a:pt x="7908" y="205"/>
                  </a:cubicBezTo>
                  <a:cubicBezTo>
                    <a:pt x="13261" y="-897"/>
                    <a:pt x="18494" y="2548"/>
                    <a:pt x="19599" y="7899"/>
                  </a:cubicBezTo>
                  <a:cubicBezTo>
                    <a:pt x="19600" y="7902"/>
                    <a:pt x="19600" y="7905"/>
                    <a:pt x="19600" y="7907"/>
                  </a:cubicBezTo>
                  <a:cubicBezTo>
                    <a:pt x="20703" y="13263"/>
                    <a:pt x="17254" y="18499"/>
                    <a:pt x="11898" y="19600"/>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88" name="Shape 726"/>
            <p:cNvSpPr/>
            <p:nvPr/>
          </p:nvSpPr>
          <p:spPr>
            <a:xfrm>
              <a:off x="287844" y="306407"/>
              <a:ext cx="335911" cy="298811"/>
            </a:xfrm>
            <a:custGeom>
              <a:avLst/>
              <a:gdLst/>
              <a:ahLst/>
              <a:cxnLst>
                <a:cxn ang="0">
                  <a:pos x="wd2" y="hd2"/>
                </a:cxn>
                <a:cxn ang="5400000">
                  <a:pos x="wd2" y="hd2"/>
                </a:cxn>
                <a:cxn ang="10800000">
                  <a:pos x="wd2" y="hd2"/>
                </a:cxn>
                <a:cxn ang="16200000">
                  <a:pos x="wd2" y="hd2"/>
                </a:cxn>
              </a:cxnLst>
              <a:rect l="0" t="0" r="r" b="b"/>
              <a:pathLst>
                <a:path w="21446" h="21471" extrusionOk="0">
                  <a:moveTo>
                    <a:pt x="2906" y="19280"/>
                  </a:moveTo>
                  <a:cubicBezTo>
                    <a:pt x="2683" y="19534"/>
                    <a:pt x="2683" y="19946"/>
                    <a:pt x="2906" y="20200"/>
                  </a:cubicBezTo>
                  <a:lnTo>
                    <a:pt x="3930" y="21326"/>
                  </a:lnTo>
                  <a:cubicBezTo>
                    <a:pt x="4154" y="21580"/>
                    <a:pt x="4510" y="21473"/>
                    <a:pt x="4734" y="21220"/>
                  </a:cubicBezTo>
                  <a:lnTo>
                    <a:pt x="10017" y="15372"/>
                  </a:lnTo>
                  <a:lnTo>
                    <a:pt x="8398" y="13299"/>
                  </a:lnTo>
                  <a:cubicBezTo>
                    <a:pt x="8398" y="13299"/>
                    <a:pt x="2906" y="19280"/>
                    <a:pt x="2906" y="19280"/>
                  </a:cubicBezTo>
                  <a:close/>
                  <a:moveTo>
                    <a:pt x="21387" y="2723"/>
                  </a:moveTo>
                  <a:cubicBezTo>
                    <a:pt x="21307" y="2125"/>
                    <a:pt x="21031" y="2252"/>
                    <a:pt x="20888" y="2505"/>
                  </a:cubicBezTo>
                  <a:cubicBezTo>
                    <a:pt x="20746" y="2758"/>
                    <a:pt x="20111" y="3840"/>
                    <a:pt x="19852" y="4329"/>
                  </a:cubicBezTo>
                  <a:cubicBezTo>
                    <a:pt x="19593" y="4815"/>
                    <a:pt x="18956" y="5772"/>
                    <a:pt x="17770" y="4826"/>
                  </a:cubicBezTo>
                  <a:cubicBezTo>
                    <a:pt x="16533" y="3843"/>
                    <a:pt x="16963" y="3157"/>
                    <a:pt x="17179" y="2694"/>
                  </a:cubicBezTo>
                  <a:cubicBezTo>
                    <a:pt x="17395" y="2232"/>
                    <a:pt x="18059" y="931"/>
                    <a:pt x="18155" y="768"/>
                  </a:cubicBezTo>
                  <a:cubicBezTo>
                    <a:pt x="18251" y="605"/>
                    <a:pt x="18139" y="129"/>
                    <a:pt x="17756" y="329"/>
                  </a:cubicBezTo>
                  <a:cubicBezTo>
                    <a:pt x="17372" y="527"/>
                    <a:pt x="15039" y="1572"/>
                    <a:pt x="14715" y="3066"/>
                  </a:cubicBezTo>
                  <a:cubicBezTo>
                    <a:pt x="14386" y="4590"/>
                    <a:pt x="14993" y="5950"/>
                    <a:pt x="13800" y="7301"/>
                  </a:cubicBezTo>
                  <a:lnTo>
                    <a:pt x="12355" y="8998"/>
                  </a:lnTo>
                  <a:lnTo>
                    <a:pt x="13806" y="10898"/>
                  </a:lnTo>
                  <a:lnTo>
                    <a:pt x="15589" y="8995"/>
                  </a:lnTo>
                  <a:cubicBezTo>
                    <a:pt x="16013" y="8514"/>
                    <a:pt x="16919" y="8048"/>
                    <a:pt x="17740" y="8257"/>
                  </a:cubicBezTo>
                  <a:cubicBezTo>
                    <a:pt x="19498" y="8705"/>
                    <a:pt x="20456" y="7962"/>
                    <a:pt x="21035" y="6733"/>
                  </a:cubicBezTo>
                  <a:cubicBezTo>
                    <a:pt x="21552" y="5635"/>
                    <a:pt x="21466" y="3322"/>
                    <a:pt x="21387" y="2723"/>
                  </a:cubicBezTo>
                  <a:close/>
                  <a:moveTo>
                    <a:pt x="9478" y="7592"/>
                  </a:moveTo>
                  <a:cubicBezTo>
                    <a:pt x="9350" y="7424"/>
                    <a:pt x="9189" y="7421"/>
                    <a:pt x="9050" y="7558"/>
                  </a:cubicBezTo>
                  <a:lnTo>
                    <a:pt x="7506" y="9074"/>
                  </a:lnTo>
                  <a:cubicBezTo>
                    <a:pt x="7384" y="9194"/>
                    <a:pt x="7369" y="9419"/>
                    <a:pt x="7477" y="9559"/>
                  </a:cubicBezTo>
                  <a:lnTo>
                    <a:pt x="16408" y="20996"/>
                  </a:lnTo>
                  <a:cubicBezTo>
                    <a:pt x="16616" y="21268"/>
                    <a:pt x="16979" y="21295"/>
                    <a:pt x="17217" y="21061"/>
                  </a:cubicBezTo>
                  <a:lnTo>
                    <a:pt x="18263" y="20076"/>
                  </a:lnTo>
                  <a:cubicBezTo>
                    <a:pt x="18500" y="19839"/>
                    <a:pt x="18526" y="19429"/>
                    <a:pt x="18317" y="19158"/>
                  </a:cubicBezTo>
                  <a:cubicBezTo>
                    <a:pt x="18317" y="19158"/>
                    <a:pt x="9478" y="7592"/>
                    <a:pt x="9478" y="7592"/>
                  </a:cubicBezTo>
                  <a:close/>
                  <a:moveTo>
                    <a:pt x="3331" y="6965"/>
                  </a:moveTo>
                  <a:cubicBezTo>
                    <a:pt x="4336" y="6088"/>
                    <a:pt x="5170" y="6693"/>
                    <a:pt x="6282" y="8142"/>
                  </a:cubicBezTo>
                  <a:cubicBezTo>
                    <a:pt x="6408" y="8304"/>
                    <a:pt x="6575" y="8114"/>
                    <a:pt x="6671" y="8021"/>
                  </a:cubicBezTo>
                  <a:cubicBezTo>
                    <a:pt x="6766" y="7926"/>
                    <a:pt x="8233" y="6440"/>
                    <a:pt x="8306" y="6370"/>
                  </a:cubicBezTo>
                  <a:cubicBezTo>
                    <a:pt x="8377" y="6300"/>
                    <a:pt x="8464" y="6167"/>
                    <a:pt x="8349" y="6018"/>
                  </a:cubicBezTo>
                  <a:cubicBezTo>
                    <a:pt x="8235" y="5868"/>
                    <a:pt x="7817" y="5261"/>
                    <a:pt x="7550" y="4867"/>
                  </a:cubicBezTo>
                  <a:cubicBezTo>
                    <a:pt x="5603" y="2001"/>
                    <a:pt x="12876" y="57"/>
                    <a:pt x="11758" y="25"/>
                  </a:cubicBezTo>
                  <a:cubicBezTo>
                    <a:pt x="11190" y="9"/>
                    <a:pt x="8909" y="-20"/>
                    <a:pt x="8569" y="21"/>
                  </a:cubicBezTo>
                  <a:cubicBezTo>
                    <a:pt x="7186" y="186"/>
                    <a:pt x="5452" y="1638"/>
                    <a:pt x="4578" y="2313"/>
                  </a:cubicBezTo>
                  <a:cubicBezTo>
                    <a:pt x="3437" y="3196"/>
                    <a:pt x="3011" y="3711"/>
                    <a:pt x="2939" y="3781"/>
                  </a:cubicBezTo>
                  <a:cubicBezTo>
                    <a:pt x="2617" y="4099"/>
                    <a:pt x="2887" y="4832"/>
                    <a:pt x="2303" y="5410"/>
                  </a:cubicBezTo>
                  <a:cubicBezTo>
                    <a:pt x="1683" y="6021"/>
                    <a:pt x="1297" y="5560"/>
                    <a:pt x="939" y="5913"/>
                  </a:cubicBezTo>
                  <a:cubicBezTo>
                    <a:pt x="761" y="6090"/>
                    <a:pt x="264" y="6509"/>
                    <a:pt x="122" y="6650"/>
                  </a:cubicBezTo>
                  <a:cubicBezTo>
                    <a:pt x="-22" y="6790"/>
                    <a:pt x="-48" y="7030"/>
                    <a:pt x="99" y="7219"/>
                  </a:cubicBezTo>
                  <a:cubicBezTo>
                    <a:pt x="99" y="7219"/>
                    <a:pt x="1459" y="8912"/>
                    <a:pt x="1574" y="9061"/>
                  </a:cubicBezTo>
                  <a:cubicBezTo>
                    <a:pt x="1688" y="9210"/>
                    <a:pt x="1994" y="9337"/>
                    <a:pt x="2185" y="9149"/>
                  </a:cubicBezTo>
                  <a:cubicBezTo>
                    <a:pt x="2375" y="8960"/>
                    <a:pt x="2864" y="8477"/>
                    <a:pt x="2947" y="8394"/>
                  </a:cubicBezTo>
                  <a:cubicBezTo>
                    <a:pt x="3031" y="8312"/>
                    <a:pt x="2893" y="7349"/>
                    <a:pt x="3331" y="6965"/>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7" name="Group 730"/>
          <p:cNvGrpSpPr/>
          <p:nvPr userDrawn="1"/>
        </p:nvGrpSpPr>
        <p:grpSpPr>
          <a:xfrm>
            <a:off x="7699138" y="2850347"/>
            <a:ext cx="455681" cy="455815"/>
            <a:chOff x="0" y="0"/>
            <a:chExt cx="911598" cy="911629"/>
          </a:xfrm>
        </p:grpSpPr>
        <p:sp>
          <p:nvSpPr>
            <p:cNvPr id="90" name="Shape 728"/>
            <p:cNvSpPr/>
            <p:nvPr/>
          </p:nvSpPr>
          <p:spPr>
            <a:xfrm>
              <a:off x="0" y="0"/>
              <a:ext cx="911598" cy="911629"/>
            </a:xfrm>
            <a:custGeom>
              <a:avLst/>
              <a:gdLst/>
              <a:ahLst/>
              <a:cxnLst>
                <a:cxn ang="0">
                  <a:pos x="wd2" y="hd2"/>
                </a:cxn>
                <a:cxn ang="5400000">
                  <a:pos x="wd2" y="hd2"/>
                </a:cxn>
                <a:cxn ang="10800000">
                  <a:pos x="wd2" y="hd2"/>
                </a:cxn>
                <a:cxn ang="16200000">
                  <a:pos x="wd2" y="hd2"/>
                </a:cxn>
              </a:cxnLst>
              <a:rect l="0" t="0" r="r" b="b"/>
              <a:pathLst>
                <a:path w="19806" h="19806" extrusionOk="0">
                  <a:moveTo>
                    <a:pt x="11898" y="19600"/>
                  </a:moveTo>
                  <a:cubicBezTo>
                    <a:pt x="6542" y="20703"/>
                    <a:pt x="1307" y="17254"/>
                    <a:pt x="205" y="11898"/>
                  </a:cubicBezTo>
                  <a:cubicBezTo>
                    <a:pt x="-897" y="6542"/>
                    <a:pt x="2551" y="1307"/>
                    <a:pt x="7908" y="205"/>
                  </a:cubicBezTo>
                  <a:cubicBezTo>
                    <a:pt x="13261" y="-897"/>
                    <a:pt x="18494" y="2548"/>
                    <a:pt x="19599" y="7899"/>
                  </a:cubicBezTo>
                  <a:cubicBezTo>
                    <a:pt x="19600" y="7902"/>
                    <a:pt x="19600" y="7905"/>
                    <a:pt x="19600" y="7907"/>
                  </a:cubicBezTo>
                  <a:cubicBezTo>
                    <a:pt x="20703" y="13263"/>
                    <a:pt x="17254" y="18499"/>
                    <a:pt x="11898" y="19600"/>
                  </a:cubicBezTo>
                  <a:close/>
                </a:path>
              </a:pathLst>
            </a:custGeom>
            <a:solidFill>
              <a:schemeClr val="accent1"/>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1" name="Shape 729"/>
            <p:cNvSpPr/>
            <p:nvPr/>
          </p:nvSpPr>
          <p:spPr>
            <a:xfrm>
              <a:off x="285188" y="305676"/>
              <a:ext cx="341220" cy="300278"/>
            </a:xfrm>
            <a:custGeom>
              <a:avLst/>
              <a:gdLst/>
              <a:ahLst/>
              <a:cxnLst>
                <a:cxn ang="0">
                  <a:pos x="wd2" y="hd2"/>
                </a:cxn>
                <a:cxn ang="5400000">
                  <a:pos x="wd2" y="hd2"/>
                </a:cxn>
                <a:cxn ang="10800000">
                  <a:pos x="wd2" y="hd2"/>
                </a:cxn>
                <a:cxn ang="16200000">
                  <a:pos x="wd2" y="hd2"/>
                </a:cxn>
              </a:cxnLst>
              <a:rect l="0" t="0" r="r" b="b"/>
              <a:pathLst>
                <a:path w="21600" h="21600" extrusionOk="0">
                  <a:moveTo>
                    <a:pt x="19440" y="15832"/>
                  </a:moveTo>
                  <a:lnTo>
                    <a:pt x="2160" y="15832"/>
                  </a:lnTo>
                  <a:lnTo>
                    <a:pt x="2160" y="2209"/>
                  </a:lnTo>
                  <a:lnTo>
                    <a:pt x="19440" y="2209"/>
                  </a:lnTo>
                  <a:cubicBezTo>
                    <a:pt x="19440" y="2209"/>
                    <a:pt x="19440" y="15832"/>
                    <a:pt x="19440" y="15832"/>
                  </a:cubicBezTo>
                  <a:close/>
                  <a:moveTo>
                    <a:pt x="19440" y="0"/>
                  </a:moveTo>
                  <a:lnTo>
                    <a:pt x="2160" y="0"/>
                  </a:lnTo>
                  <a:cubicBezTo>
                    <a:pt x="971" y="0"/>
                    <a:pt x="0" y="1104"/>
                    <a:pt x="0" y="2455"/>
                  </a:cubicBezTo>
                  <a:lnTo>
                    <a:pt x="0" y="15955"/>
                  </a:lnTo>
                  <a:cubicBezTo>
                    <a:pt x="0" y="17304"/>
                    <a:pt x="953" y="18627"/>
                    <a:pt x="2119" y="18891"/>
                  </a:cubicBezTo>
                  <a:lnTo>
                    <a:pt x="6839" y="19964"/>
                  </a:lnTo>
                  <a:cubicBezTo>
                    <a:pt x="6839" y="19964"/>
                    <a:pt x="2775" y="21600"/>
                    <a:pt x="5400" y="21600"/>
                  </a:cubicBezTo>
                  <a:lnTo>
                    <a:pt x="16200" y="21600"/>
                  </a:lnTo>
                  <a:cubicBezTo>
                    <a:pt x="18825" y="21600"/>
                    <a:pt x="14761" y="19964"/>
                    <a:pt x="14761" y="19964"/>
                  </a:cubicBezTo>
                  <a:lnTo>
                    <a:pt x="19483" y="18891"/>
                  </a:lnTo>
                  <a:cubicBezTo>
                    <a:pt x="20647" y="18627"/>
                    <a:pt x="21600" y="17304"/>
                    <a:pt x="21600" y="15955"/>
                  </a:cubicBezTo>
                  <a:lnTo>
                    <a:pt x="21600" y="2455"/>
                  </a:lnTo>
                  <a:cubicBezTo>
                    <a:pt x="21600" y="1104"/>
                    <a:pt x="20629" y="0"/>
                    <a:pt x="19440"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8" name="Group 733"/>
          <p:cNvGrpSpPr/>
          <p:nvPr userDrawn="1"/>
        </p:nvGrpSpPr>
        <p:grpSpPr>
          <a:xfrm>
            <a:off x="4038472" y="2850347"/>
            <a:ext cx="455691" cy="455814"/>
            <a:chOff x="0" y="0"/>
            <a:chExt cx="911618" cy="911627"/>
          </a:xfrm>
        </p:grpSpPr>
        <p:sp>
          <p:nvSpPr>
            <p:cNvPr id="94" name="Shape 731"/>
            <p:cNvSpPr/>
            <p:nvPr/>
          </p:nvSpPr>
          <p:spPr>
            <a:xfrm>
              <a:off x="-1" y="-1"/>
              <a:ext cx="911620" cy="911629"/>
            </a:xfrm>
            <a:custGeom>
              <a:avLst/>
              <a:gdLst/>
              <a:ahLst/>
              <a:cxnLst>
                <a:cxn ang="0">
                  <a:pos x="wd2" y="hd2"/>
                </a:cxn>
                <a:cxn ang="5400000">
                  <a:pos x="wd2" y="hd2"/>
                </a:cxn>
                <a:cxn ang="10800000">
                  <a:pos x="wd2" y="hd2"/>
                </a:cxn>
                <a:cxn ang="16200000">
                  <a:pos x="wd2" y="hd2"/>
                </a:cxn>
              </a:cxnLst>
              <a:rect l="0" t="0" r="r" b="b"/>
              <a:pathLst>
                <a:path w="19807" h="19807" extrusionOk="0">
                  <a:moveTo>
                    <a:pt x="7907" y="205"/>
                  </a:moveTo>
                  <a:cubicBezTo>
                    <a:pt x="13264" y="-897"/>
                    <a:pt x="18498" y="2551"/>
                    <a:pt x="19601" y="7908"/>
                  </a:cubicBezTo>
                  <a:cubicBezTo>
                    <a:pt x="20703" y="13264"/>
                    <a:pt x="17254" y="18500"/>
                    <a:pt x="11898" y="19602"/>
                  </a:cubicBezTo>
                  <a:cubicBezTo>
                    <a:pt x="6545" y="20703"/>
                    <a:pt x="1312" y="17258"/>
                    <a:pt x="206" y="11907"/>
                  </a:cubicBezTo>
                  <a:cubicBezTo>
                    <a:pt x="206" y="11904"/>
                    <a:pt x="205" y="11901"/>
                    <a:pt x="204" y="11899"/>
                  </a:cubicBezTo>
                  <a:cubicBezTo>
                    <a:pt x="-897" y="6542"/>
                    <a:pt x="2551" y="1307"/>
                    <a:pt x="7907" y="205"/>
                  </a:cubicBezTo>
                  <a:close/>
                </a:path>
              </a:pathLst>
            </a:custGeom>
            <a:solidFill>
              <a:schemeClr val="accent5"/>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5" name="Shape 732"/>
            <p:cNvSpPr/>
            <p:nvPr/>
          </p:nvSpPr>
          <p:spPr>
            <a:xfrm>
              <a:off x="287277" y="355105"/>
              <a:ext cx="337065" cy="202231"/>
            </a:xfrm>
            <a:custGeom>
              <a:avLst/>
              <a:gdLst/>
              <a:ahLst/>
              <a:cxnLst>
                <a:cxn ang="0">
                  <a:pos x="wd2" y="hd2"/>
                </a:cxn>
                <a:cxn ang="5400000">
                  <a:pos x="wd2" y="hd2"/>
                </a:cxn>
                <a:cxn ang="10800000">
                  <a:pos x="wd2" y="hd2"/>
                </a:cxn>
                <a:cxn ang="16200000">
                  <a:pos x="wd2" y="hd2"/>
                </a:cxn>
              </a:cxnLst>
              <a:rect l="0" t="0" r="r" b="b"/>
              <a:pathLst>
                <a:path w="21600" h="21600" extrusionOk="0">
                  <a:moveTo>
                    <a:pt x="19440" y="7201"/>
                  </a:moveTo>
                  <a:lnTo>
                    <a:pt x="15120" y="7201"/>
                  </a:lnTo>
                  <a:lnTo>
                    <a:pt x="15120" y="3600"/>
                  </a:lnTo>
                  <a:lnTo>
                    <a:pt x="19440" y="3600"/>
                  </a:lnTo>
                  <a:cubicBezTo>
                    <a:pt x="19440" y="3600"/>
                    <a:pt x="19440" y="7201"/>
                    <a:pt x="19440" y="7201"/>
                  </a:cubicBezTo>
                  <a:close/>
                  <a:moveTo>
                    <a:pt x="16200" y="12600"/>
                  </a:moveTo>
                  <a:lnTo>
                    <a:pt x="16200" y="9000"/>
                  </a:lnTo>
                  <a:lnTo>
                    <a:pt x="18359" y="9000"/>
                  </a:lnTo>
                  <a:lnTo>
                    <a:pt x="18359" y="12600"/>
                  </a:lnTo>
                  <a:cubicBezTo>
                    <a:pt x="18359" y="12600"/>
                    <a:pt x="16200" y="12600"/>
                    <a:pt x="16200" y="12600"/>
                  </a:cubicBezTo>
                  <a:close/>
                  <a:moveTo>
                    <a:pt x="19440" y="18000"/>
                  </a:moveTo>
                  <a:lnTo>
                    <a:pt x="17280" y="18000"/>
                  </a:lnTo>
                  <a:lnTo>
                    <a:pt x="17280" y="14401"/>
                  </a:lnTo>
                  <a:lnTo>
                    <a:pt x="19440" y="14401"/>
                  </a:lnTo>
                  <a:cubicBezTo>
                    <a:pt x="19440" y="14401"/>
                    <a:pt x="19440" y="18000"/>
                    <a:pt x="19440" y="18000"/>
                  </a:cubicBezTo>
                  <a:close/>
                  <a:moveTo>
                    <a:pt x="16200" y="18000"/>
                  </a:moveTo>
                  <a:lnTo>
                    <a:pt x="5400" y="18000"/>
                  </a:lnTo>
                  <a:lnTo>
                    <a:pt x="5400" y="14401"/>
                  </a:lnTo>
                  <a:lnTo>
                    <a:pt x="16200" y="14401"/>
                  </a:lnTo>
                  <a:cubicBezTo>
                    <a:pt x="16200" y="14401"/>
                    <a:pt x="16200" y="18000"/>
                    <a:pt x="16200" y="18000"/>
                  </a:cubicBezTo>
                  <a:close/>
                  <a:moveTo>
                    <a:pt x="4319" y="18000"/>
                  </a:moveTo>
                  <a:lnTo>
                    <a:pt x="2160" y="18000"/>
                  </a:lnTo>
                  <a:lnTo>
                    <a:pt x="2160" y="14401"/>
                  </a:lnTo>
                  <a:lnTo>
                    <a:pt x="4319" y="14401"/>
                  </a:lnTo>
                  <a:cubicBezTo>
                    <a:pt x="4319" y="14401"/>
                    <a:pt x="4319" y="18000"/>
                    <a:pt x="4319" y="18000"/>
                  </a:cubicBezTo>
                  <a:close/>
                  <a:moveTo>
                    <a:pt x="5400" y="9000"/>
                  </a:moveTo>
                  <a:lnTo>
                    <a:pt x="5400" y="12600"/>
                  </a:lnTo>
                  <a:lnTo>
                    <a:pt x="3240" y="12600"/>
                  </a:lnTo>
                  <a:lnTo>
                    <a:pt x="3240" y="9000"/>
                  </a:lnTo>
                  <a:cubicBezTo>
                    <a:pt x="3240" y="9000"/>
                    <a:pt x="5400" y="9000"/>
                    <a:pt x="5400" y="9000"/>
                  </a:cubicBezTo>
                  <a:close/>
                  <a:moveTo>
                    <a:pt x="2160" y="3600"/>
                  </a:moveTo>
                  <a:lnTo>
                    <a:pt x="4319" y="3600"/>
                  </a:lnTo>
                  <a:lnTo>
                    <a:pt x="4319" y="7201"/>
                  </a:lnTo>
                  <a:lnTo>
                    <a:pt x="2160" y="7201"/>
                  </a:lnTo>
                  <a:cubicBezTo>
                    <a:pt x="2160" y="7201"/>
                    <a:pt x="2160" y="3600"/>
                    <a:pt x="2160" y="3600"/>
                  </a:cubicBezTo>
                  <a:close/>
                  <a:moveTo>
                    <a:pt x="8639" y="9000"/>
                  </a:moveTo>
                  <a:lnTo>
                    <a:pt x="8639" y="12600"/>
                  </a:lnTo>
                  <a:lnTo>
                    <a:pt x="6479" y="12600"/>
                  </a:lnTo>
                  <a:lnTo>
                    <a:pt x="6479" y="9000"/>
                  </a:lnTo>
                  <a:cubicBezTo>
                    <a:pt x="6479" y="9000"/>
                    <a:pt x="8639" y="9000"/>
                    <a:pt x="8639" y="9000"/>
                  </a:cubicBezTo>
                  <a:close/>
                  <a:moveTo>
                    <a:pt x="5400" y="3600"/>
                  </a:moveTo>
                  <a:lnTo>
                    <a:pt x="7560" y="3600"/>
                  </a:lnTo>
                  <a:lnTo>
                    <a:pt x="7560" y="7201"/>
                  </a:lnTo>
                  <a:lnTo>
                    <a:pt x="5400" y="7201"/>
                  </a:lnTo>
                  <a:cubicBezTo>
                    <a:pt x="5400" y="7201"/>
                    <a:pt x="5400" y="3600"/>
                    <a:pt x="5400" y="3600"/>
                  </a:cubicBezTo>
                  <a:close/>
                  <a:moveTo>
                    <a:pt x="11880" y="9000"/>
                  </a:moveTo>
                  <a:lnTo>
                    <a:pt x="11880" y="12600"/>
                  </a:lnTo>
                  <a:lnTo>
                    <a:pt x="9720" y="12600"/>
                  </a:lnTo>
                  <a:lnTo>
                    <a:pt x="9720" y="9000"/>
                  </a:lnTo>
                  <a:cubicBezTo>
                    <a:pt x="9720" y="9000"/>
                    <a:pt x="11880" y="9000"/>
                    <a:pt x="11880" y="9000"/>
                  </a:cubicBezTo>
                  <a:close/>
                  <a:moveTo>
                    <a:pt x="8639" y="3600"/>
                  </a:moveTo>
                  <a:lnTo>
                    <a:pt x="10799" y="3600"/>
                  </a:lnTo>
                  <a:lnTo>
                    <a:pt x="10799" y="7201"/>
                  </a:lnTo>
                  <a:lnTo>
                    <a:pt x="8639" y="7201"/>
                  </a:lnTo>
                  <a:cubicBezTo>
                    <a:pt x="8639" y="7201"/>
                    <a:pt x="8639" y="3600"/>
                    <a:pt x="8639" y="3600"/>
                  </a:cubicBezTo>
                  <a:close/>
                  <a:moveTo>
                    <a:pt x="15120" y="9000"/>
                  </a:moveTo>
                  <a:lnTo>
                    <a:pt x="15120" y="12600"/>
                  </a:lnTo>
                  <a:lnTo>
                    <a:pt x="12959" y="12600"/>
                  </a:lnTo>
                  <a:lnTo>
                    <a:pt x="12959" y="9000"/>
                  </a:lnTo>
                  <a:cubicBezTo>
                    <a:pt x="12959" y="9000"/>
                    <a:pt x="15120" y="9000"/>
                    <a:pt x="15120" y="9000"/>
                  </a:cubicBezTo>
                  <a:close/>
                  <a:moveTo>
                    <a:pt x="11880" y="3600"/>
                  </a:moveTo>
                  <a:lnTo>
                    <a:pt x="14040" y="3600"/>
                  </a:lnTo>
                  <a:lnTo>
                    <a:pt x="14040" y="7201"/>
                  </a:lnTo>
                  <a:lnTo>
                    <a:pt x="11880" y="7201"/>
                  </a:lnTo>
                  <a:cubicBezTo>
                    <a:pt x="11880" y="7201"/>
                    <a:pt x="11880" y="3600"/>
                    <a:pt x="11880" y="3600"/>
                  </a:cubicBezTo>
                  <a:close/>
                  <a:moveTo>
                    <a:pt x="20088" y="0"/>
                  </a:moveTo>
                  <a:lnTo>
                    <a:pt x="1511" y="0"/>
                  </a:lnTo>
                  <a:cubicBezTo>
                    <a:pt x="680" y="0"/>
                    <a:pt x="0" y="1134"/>
                    <a:pt x="0" y="2519"/>
                  </a:cubicBezTo>
                  <a:lnTo>
                    <a:pt x="0" y="19081"/>
                  </a:lnTo>
                  <a:cubicBezTo>
                    <a:pt x="0" y="20466"/>
                    <a:pt x="680" y="21600"/>
                    <a:pt x="1511" y="21600"/>
                  </a:cubicBezTo>
                  <a:lnTo>
                    <a:pt x="20088" y="21600"/>
                  </a:lnTo>
                  <a:cubicBezTo>
                    <a:pt x="20920" y="21600"/>
                    <a:pt x="21600" y="20466"/>
                    <a:pt x="21600" y="19081"/>
                  </a:cubicBezTo>
                  <a:lnTo>
                    <a:pt x="21600" y="2519"/>
                  </a:lnTo>
                  <a:cubicBezTo>
                    <a:pt x="21600" y="1134"/>
                    <a:pt x="20920" y="0"/>
                    <a:pt x="20088" y="0"/>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grpSp>
        <p:nvGrpSpPr>
          <p:cNvPr id="11" name="Group 736"/>
          <p:cNvGrpSpPr/>
          <p:nvPr userDrawn="1"/>
        </p:nvGrpSpPr>
        <p:grpSpPr>
          <a:xfrm>
            <a:off x="4038474" y="3694404"/>
            <a:ext cx="455687" cy="455814"/>
            <a:chOff x="0" y="0"/>
            <a:chExt cx="911610" cy="911627"/>
          </a:xfrm>
        </p:grpSpPr>
        <p:sp>
          <p:nvSpPr>
            <p:cNvPr id="97" name="Shape 734"/>
            <p:cNvSpPr/>
            <p:nvPr/>
          </p:nvSpPr>
          <p:spPr>
            <a:xfrm>
              <a:off x="0" y="0"/>
              <a:ext cx="911611" cy="911628"/>
            </a:xfrm>
            <a:custGeom>
              <a:avLst/>
              <a:gdLst/>
              <a:ahLst/>
              <a:cxnLst>
                <a:cxn ang="0">
                  <a:pos x="wd2" y="hd2"/>
                </a:cxn>
                <a:cxn ang="5400000">
                  <a:pos x="wd2" y="hd2"/>
                </a:cxn>
                <a:cxn ang="10800000">
                  <a:pos x="wd2" y="hd2"/>
                </a:cxn>
                <a:cxn ang="16200000">
                  <a:pos x="wd2" y="hd2"/>
                </a:cxn>
              </a:cxnLst>
              <a:rect l="0" t="0" r="r" b="b"/>
              <a:pathLst>
                <a:path w="19806" h="19807" extrusionOk="0">
                  <a:moveTo>
                    <a:pt x="7908" y="205"/>
                  </a:moveTo>
                  <a:cubicBezTo>
                    <a:pt x="13264" y="-897"/>
                    <a:pt x="18499" y="2552"/>
                    <a:pt x="19601" y="7908"/>
                  </a:cubicBezTo>
                  <a:cubicBezTo>
                    <a:pt x="20703" y="13265"/>
                    <a:pt x="17255" y="18500"/>
                    <a:pt x="11899" y="19602"/>
                  </a:cubicBezTo>
                  <a:cubicBezTo>
                    <a:pt x="6545" y="20703"/>
                    <a:pt x="1313" y="17258"/>
                    <a:pt x="207" y="11907"/>
                  </a:cubicBezTo>
                  <a:cubicBezTo>
                    <a:pt x="207" y="11904"/>
                    <a:pt x="206" y="11901"/>
                    <a:pt x="206" y="11899"/>
                  </a:cubicBezTo>
                  <a:cubicBezTo>
                    <a:pt x="-897" y="6543"/>
                    <a:pt x="2552" y="1307"/>
                    <a:pt x="7908" y="205"/>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8" name="Shape 735"/>
            <p:cNvSpPr/>
            <p:nvPr/>
          </p:nvSpPr>
          <p:spPr>
            <a:xfrm>
              <a:off x="344357" y="315715"/>
              <a:ext cx="222897" cy="280197"/>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6" y="0"/>
                    <a:pt x="0" y="1447"/>
                    <a:pt x="0" y="3231"/>
                  </a:cubicBezTo>
                  <a:lnTo>
                    <a:pt x="0" y="4776"/>
                  </a:lnTo>
                  <a:cubicBezTo>
                    <a:pt x="0" y="6669"/>
                    <a:pt x="4836" y="8203"/>
                    <a:pt x="10799" y="8203"/>
                  </a:cubicBezTo>
                  <a:cubicBezTo>
                    <a:pt x="16764" y="8203"/>
                    <a:pt x="21600" y="6669"/>
                    <a:pt x="21600" y="4776"/>
                  </a:cubicBezTo>
                  <a:lnTo>
                    <a:pt x="21600" y="3231"/>
                  </a:lnTo>
                  <a:cubicBezTo>
                    <a:pt x="21600" y="1447"/>
                    <a:pt x="16764" y="0"/>
                    <a:pt x="10799" y="0"/>
                  </a:cubicBezTo>
                  <a:close/>
                  <a:moveTo>
                    <a:pt x="21195" y="8008"/>
                  </a:moveTo>
                  <a:cubicBezTo>
                    <a:pt x="19915" y="9488"/>
                    <a:pt x="15746" y="10572"/>
                    <a:pt x="10799" y="10572"/>
                  </a:cubicBezTo>
                  <a:cubicBezTo>
                    <a:pt x="5856" y="10572"/>
                    <a:pt x="1685" y="9488"/>
                    <a:pt x="405" y="8008"/>
                  </a:cubicBezTo>
                  <a:cubicBezTo>
                    <a:pt x="141" y="7702"/>
                    <a:pt x="0" y="7868"/>
                    <a:pt x="0" y="8007"/>
                  </a:cubicBezTo>
                  <a:cubicBezTo>
                    <a:pt x="0" y="8144"/>
                    <a:pt x="0" y="10898"/>
                    <a:pt x="0" y="10898"/>
                  </a:cubicBezTo>
                  <a:cubicBezTo>
                    <a:pt x="0" y="13061"/>
                    <a:pt x="4836" y="14814"/>
                    <a:pt x="10799" y="14814"/>
                  </a:cubicBezTo>
                  <a:cubicBezTo>
                    <a:pt x="16764" y="14814"/>
                    <a:pt x="21600" y="13061"/>
                    <a:pt x="21600" y="10898"/>
                  </a:cubicBezTo>
                  <a:cubicBezTo>
                    <a:pt x="21600" y="10898"/>
                    <a:pt x="21600" y="8144"/>
                    <a:pt x="21600" y="8007"/>
                  </a:cubicBezTo>
                  <a:cubicBezTo>
                    <a:pt x="21600" y="7868"/>
                    <a:pt x="21459" y="7702"/>
                    <a:pt x="21195" y="8008"/>
                  </a:cubicBezTo>
                  <a:close/>
                  <a:moveTo>
                    <a:pt x="21176" y="14285"/>
                  </a:moveTo>
                  <a:cubicBezTo>
                    <a:pt x="19876" y="15959"/>
                    <a:pt x="15722" y="17184"/>
                    <a:pt x="10799" y="17184"/>
                  </a:cubicBezTo>
                  <a:cubicBezTo>
                    <a:pt x="5878" y="17184"/>
                    <a:pt x="1724" y="15959"/>
                    <a:pt x="424" y="14285"/>
                  </a:cubicBezTo>
                  <a:cubicBezTo>
                    <a:pt x="147" y="13932"/>
                    <a:pt x="0" y="14121"/>
                    <a:pt x="0" y="14297"/>
                  </a:cubicBezTo>
                  <a:cubicBezTo>
                    <a:pt x="0" y="14472"/>
                    <a:pt x="0" y="16754"/>
                    <a:pt x="0" y="16754"/>
                  </a:cubicBezTo>
                  <a:cubicBezTo>
                    <a:pt x="0" y="19133"/>
                    <a:pt x="4836" y="21600"/>
                    <a:pt x="10799" y="21600"/>
                  </a:cubicBezTo>
                  <a:cubicBezTo>
                    <a:pt x="16764" y="21600"/>
                    <a:pt x="21600" y="19133"/>
                    <a:pt x="21600" y="16754"/>
                  </a:cubicBezTo>
                  <a:cubicBezTo>
                    <a:pt x="21600" y="16754"/>
                    <a:pt x="21600" y="14472"/>
                    <a:pt x="21600" y="14297"/>
                  </a:cubicBezTo>
                  <a:cubicBezTo>
                    <a:pt x="21600" y="14121"/>
                    <a:pt x="21453" y="13932"/>
                    <a:pt x="21176" y="14285"/>
                  </a:cubicBezTo>
                  <a:close/>
                </a:path>
              </a:pathLst>
            </a:custGeom>
            <a:solidFill>
              <a:srgbClr val="FFFFFF"/>
            </a:solidFill>
            <a:ln w="12700" cap="flat">
              <a:noFill/>
              <a:miter lim="400000"/>
            </a:ln>
            <a:effectLst/>
          </p:spPr>
          <p:txBody>
            <a:bodyPr wrap="square" lIns="38100" tIns="38100" rIns="38100" bIns="381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100" name="Content Placeholder 20"/>
          <p:cNvSpPr>
            <a:spLocks noGrp="1"/>
          </p:cNvSpPr>
          <p:nvPr>
            <p:ph sz="quarter" idx="24"/>
          </p:nvPr>
        </p:nvSpPr>
        <p:spPr>
          <a:xfrm>
            <a:off x="2399307" y="2006502"/>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01" name="Text Placeholder 17"/>
          <p:cNvSpPr>
            <a:spLocks noGrp="1"/>
          </p:cNvSpPr>
          <p:nvPr>
            <p:ph type="body" sz="quarter" idx="25"/>
          </p:nvPr>
        </p:nvSpPr>
        <p:spPr>
          <a:xfrm>
            <a:off x="1686519" y="2250651"/>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06" name="Content Placeholder 20"/>
          <p:cNvSpPr>
            <a:spLocks noGrp="1"/>
          </p:cNvSpPr>
          <p:nvPr>
            <p:ph sz="quarter" idx="26"/>
          </p:nvPr>
        </p:nvSpPr>
        <p:spPr>
          <a:xfrm>
            <a:off x="8360752" y="2859552"/>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7" name="Text Placeholder 17"/>
          <p:cNvSpPr>
            <a:spLocks noGrp="1"/>
          </p:cNvSpPr>
          <p:nvPr>
            <p:ph type="body" sz="quarter" idx="27"/>
          </p:nvPr>
        </p:nvSpPr>
        <p:spPr>
          <a:xfrm>
            <a:off x="8360752" y="3103701"/>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08" name="Content Placeholder 20"/>
          <p:cNvSpPr>
            <a:spLocks noGrp="1"/>
          </p:cNvSpPr>
          <p:nvPr>
            <p:ph sz="quarter" idx="28"/>
          </p:nvPr>
        </p:nvSpPr>
        <p:spPr>
          <a:xfrm>
            <a:off x="2399307" y="2859552"/>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09" name="Text Placeholder 17"/>
          <p:cNvSpPr>
            <a:spLocks noGrp="1"/>
          </p:cNvSpPr>
          <p:nvPr>
            <p:ph type="body" sz="quarter" idx="29"/>
          </p:nvPr>
        </p:nvSpPr>
        <p:spPr>
          <a:xfrm>
            <a:off x="1686519" y="3103701"/>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0" name="Content Placeholder 20"/>
          <p:cNvSpPr>
            <a:spLocks noGrp="1"/>
          </p:cNvSpPr>
          <p:nvPr>
            <p:ph sz="quarter" idx="30"/>
          </p:nvPr>
        </p:nvSpPr>
        <p:spPr>
          <a:xfrm>
            <a:off x="8360752" y="3694404"/>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11" name="Text Placeholder 17"/>
          <p:cNvSpPr>
            <a:spLocks noGrp="1"/>
          </p:cNvSpPr>
          <p:nvPr>
            <p:ph type="body" sz="quarter" idx="31"/>
          </p:nvPr>
        </p:nvSpPr>
        <p:spPr>
          <a:xfrm>
            <a:off x="8360752" y="3938553"/>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2" name="Content Placeholder 20"/>
          <p:cNvSpPr>
            <a:spLocks noGrp="1"/>
          </p:cNvSpPr>
          <p:nvPr>
            <p:ph sz="quarter" idx="32"/>
          </p:nvPr>
        </p:nvSpPr>
        <p:spPr>
          <a:xfrm>
            <a:off x="2399307" y="3694404"/>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13" name="Text Placeholder 17"/>
          <p:cNvSpPr>
            <a:spLocks noGrp="1"/>
          </p:cNvSpPr>
          <p:nvPr>
            <p:ph type="body" sz="quarter" idx="33"/>
          </p:nvPr>
        </p:nvSpPr>
        <p:spPr>
          <a:xfrm>
            <a:off x="1686519" y="3938553"/>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4" name="Content Placeholder 20"/>
          <p:cNvSpPr>
            <a:spLocks noGrp="1"/>
          </p:cNvSpPr>
          <p:nvPr>
            <p:ph sz="quarter" idx="34"/>
          </p:nvPr>
        </p:nvSpPr>
        <p:spPr>
          <a:xfrm>
            <a:off x="8360752" y="4547454"/>
            <a:ext cx="14208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15" name="Text Placeholder 17"/>
          <p:cNvSpPr>
            <a:spLocks noGrp="1"/>
          </p:cNvSpPr>
          <p:nvPr>
            <p:ph type="body" sz="quarter" idx="35"/>
          </p:nvPr>
        </p:nvSpPr>
        <p:spPr>
          <a:xfrm>
            <a:off x="8360752" y="4791603"/>
            <a:ext cx="2133600" cy="332532"/>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116" name="Content Placeholder 20"/>
          <p:cNvSpPr>
            <a:spLocks noGrp="1"/>
          </p:cNvSpPr>
          <p:nvPr>
            <p:ph sz="quarter" idx="36"/>
          </p:nvPr>
        </p:nvSpPr>
        <p:spPr>
          <a:xfrm>
            <a:off x="2399307" y="4547454"/>
            <a:ext cx="14208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endParaRPr lang="en-GB" dirty="0"/>
          </a:p>
        </p:txBody>
      </p:sp>
      <p:sp>
        <p:nvSpPr>
          <p:cNvPr id="117" name="Text Placeholder 17"/>
          <p:cNvSpPr>
            <a:spLocks noGrp="1"/>
          </p:cNvSpPr>
          <p:nvPr>
            <p:ph type="body" sz="quarter" idx="37"/>
          </p:nvPr>
        </p:nvSpPr>
        <p:spPr>
          <a:xfrm>
            <a:off x="1686519" y="4791603"/>
            <a:ext cx="2133600" cy="332532"/>
          </a:xfrm>
        </p:spPr>
        <p:txBody>
          <a:bodyPr lIns="0" tIns="0" rIns="0" bIns="0">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Tree>
    <p:extLst>
      <p:ext uri="{BB962C8B-B14F-4D97-AF65-F5344CB8AC3E}">
        <p14:creationId xmlns:p14="http://schemas.microsoft.com/office/powerpoint/2010/main" val="3881119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9"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00">
                                            <p:txEl>
                                              <p:pRg st="0" end="0"/>
                                            </p:txEl>
                                          </p:spTgt>
                                        </p:tgtEl>
                                        <p:attrNameLst>
                                          <p:attrName>style.visibility</p:attrName>
                                        </p:attrNameLst>
                                      </p:cBhvr>
                                      <p:to>
                                        <p:strVal val="visible"/>
                                      </p:to>
                                    </p:set>
                                    <p:animEffect transition="in" filter="dissolve">
                                      <p:cBhvr>
                                        <p:cTn id="23" dur="500"/>
                                        <p:tgtEl>
                                          <p:spTgt spid="100">
                                            <p:txEl>
                                              <p:pRg st="0" end="0"/>
                                            </p:txEl>
                                          </p:spTgt>
                                        </p:tgtEl>
                                      </p:cBhvr>
                                    </p:animEffect>
                                  </p:childTnLst>
                                </p:cTn>
                              </p:par>
                              <p:par>
                                <p:cTn id="24" presetID="9" presetClass="entr" presetSubtype="0" fill="hold" grpId="0" nodeType="withEffect" nodePh="1">
                                  <p:stCondLst>
                                    <p:cond delay="0"/>
                                  </p:stCondLst>
                                  <p:endCondLst>
                                    <p:cond evt="begin" delay="0">
                                      <p:tn val="24"/>
                                    </p:cond>
                                  </p:endCondLst>
                                  <p:childTnLst>
                                    <p:set>
                                      <p:cBhvr>
                                        <p:cTn id="25" dur="1" fill="hold">
                                          <p:stCondLst>
                                            <p:cond delay="0"/>
                                          </p:stCondLst>
                                        </p:cTn>
                                        <p:tgtEl>
                                          <p:spTgt spid="101">
                                            <p:txEl>
                                              <p:pRg st="0" end="0"/>
                                            </p:txEl>
                                          </p:spTgt>
                                        </p:tgtEl>
                                        <p:attrNameLst>
                                          <p:attrName>style.visibility</p:attrName>
                                        </p:attrNameLst>
                                      </p:cBhvr>
                                      <p:to>
                                        <p:strVal val="visible"/>
                                      </p:to>
                                    </p:set>
                                    <p:animEffect transition="in" filter="dissolve">
                                      <p:cBhvr>
                                        <p:cTn id="26" dur="500"/>
                                        <p:tgtEl>
                                          <p:spTgt spid="101">
                                            <p:txEl>
                                              <p:pRg st="0" end="0"/>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9" presetClass="entr" presetSubtype="0" fill="hold" grpId="0" nodeType="afterEffect" nodePh="1">
                                  <p:stCondLst>
                                    <p:cond delay="0"/>
                                  </p:stCondLst>
                                  <p:endCondLst>
                                    <p:cond evt="begin" delay="0">
                                      <p:tn val="32"/>
                                    </p:cond>
                                  </p:endCondLst>
                                  <p:childTnLst>
                                    <p:set>
                                      <p:cBhvr>
                                        <p:cTn id="33" dur="1" fill="hold">
                                          <p:stCondLst>
                                            <p:cond delay="0"/>
                                          </p:stCondLst>
                                        </p:cTn>
                                        <p:tgtEl>
                                          <p:spTgt spid="108">
                                            <p:txEl>
                                              <p:pRg st="0" end="0"/>
                                            </p:txEl>
                                          </p:spTgt>
                                        </p:tgtEl>
                                        <p:attrNameLst>
                                          <p:attrName>style.visibility</p:attrName>
                                        </p:attrNameLst>
                                      </p:cBhvr>
                                      <p:to>
                                        <p:strVal val="visible"/>
                                      </p:to>
                                    </p:set>
                                    <p:animEffect transition="in" filter="dissolve">
                                      <p:cBhvr>
                                        <p:cTn id="34" dur="500"/>
                                        <p:tgtEl>
                                          <p:spTgt spid="108">
                                            <p:txEl>
                                              <p:pRg st="0" end="0"/>
                                            </p:txEl>
                                          </p:spTgt>
                                        </p:tgtEl>
                                      </p:cBhvr>
                                    </p:animEffect>
                                  </p:childTnLst>
                                </p:cTn>
                              </p:par>
                              <p:par>
                                <p:cTn id="35" presetID="9" presetClass="entr" presetSubtype="0" fill="hold" grpId="0" nodeType="withEffect" nodePh="1">
                                  <p:stCondLst>
                                    <p:cond delay="0"/>
                                  </p:stCondLst>
                                  <p:endCondLst>
                                    <p:cond evt="begin" delay="0">
                                      <p:tn val="35"/>
                                    </p:cond>
                                  </p:endCondLst>
                                  <p:childTnLst>
                                    <p:set>
                                      <p:cBhvr>
                                        <p:cTn id="36" dur="1" fill="hold">
                                          <p:stCondLst>
                                            <p:cond delay="0"/>
                                          </p:stCondLst>
                                        </p:cTn>
                                        <p:tgtEl>
                                          <p:spTgt spid="109">
                                            <p:txEl>
                                              <p:pRg st="0" end="0"/>
                                            </p:txEl>
                                          </p:spTgt>
                                        </p:tgtEl>
                                        <p:attrNameLst>
                                          <p:attrName>style.visibility</p:attrName>
                                        </p:attrNameLst>
                                      </p:cBhvr>
                                      <p:to>
                                        <p:strVal val="visible"/>
                                      </p:to>
                                    </p:set>
                                    <p:animEffect transition="in" filter="dissolve">
                                      <p:cBhvr>
                                        <p:cTn id="37" dur="500"/>
                                        <p:tgtEl>
                                          <p:spTgt spid="109">
                                            <p:txEl>
                                              <p:pRg st="0" end="0"/>
                                            </p:txEl>
                                          </p:spTgt>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4000"/>
                            </p:stCondLst>
                            <p:childTnLst>
                              <p:par>
                                <p:cTn id="43" presetID="9" presetClass="entr" presetSubtype="0" fill="hold" grpId="0" nodeType="afterEffect" nodePh="1">
                                  <p:stCondLst>
                                    <p:cond delay="0"/>
                                  </p:stCondLst>
                                  <p:endCondLst>
                                    <p:cond evt="begin" delay="0">
                                      <p:tn val="43"/>
                                    </p:cond>
                                  </p:endCondLst>
                                  <p:childTnLst>
                                    <p:set>
                                      <p:cBhvr>
                                        <p:cTn id="44" dur="1" fill="hold">
                                          <p:stCondLst>
                                            <p:cond delay="0"/>
                                          </p:stCondLst>
                                        </p:cTn>
                                        <p:tgtEl>
                                          <p:spTgt spid="112">
                                            <p:txEl>
                                              <p:pRg st="0" end="0"/>
                                            </p:txEl>
                                          </p:spTgt>
                                        </p:tgtEl>
                                        <p:attrNameLst>
                                          <p:attrName>style.visibility</p:attrName>
                                        </p:attrNameLst>
                                      </p:cBhvr>
                                      <p:to>
                                        <p:strVal val="visible"/>
                                      </p:to>
                                    </p:set>
                                    <p:animEffect transition="in" filter="dissolve">
                                      <p:cBhvr>
                                        <p:cTn id="45" dur="500"/>
                                        <p:tgtEl>
                                          <p:spTgt spid="112">
                                            <p:txEl>
                                              <p:pRg st="0" end="0"/>
                                            </p:txEl>
                                          </p:spTgt>
                                        </p:tgtEl>
                                      </p:cBhvr>
                                    </p:animEffect>
                                  </p:childTnLst>
                                </p:cTn>
                              </p:par>
                              <p:par>
                                <p:cTn id="46" presetID="9" presetClass="entr" presetSubtype="0" fill="hold" grpId="0" nodeType="withEffect" nodePh="1">
                                  <p:stCondLst>
                                    <p:cond delay="0"/>
                                  </p:stCondLst>
                                  <p:endCondLst>
                                    <p:cond evt="begin" delay="0">
                                      <p:tn val="46"/>
                                    </p:cond>
                                  </p:endCondLst>
                                  <p:childTnLst>
                                    <p:set>
                                      <p:cBhvr>
                                        <p:cTn id="47" dur="1" fill="hold">
                                          <p:stCondLst>
                                            <p:cond delay="0"/>
                                          </p:stCondLst>
                                        </p:cTn>
                                        <p:tgtEl>
                                          <p:spTgt spid="113">
                                            <p:txEl>
                                              <p:pRg st="0" end="0"/>
                                            </p:txEl>
                                          </p:spTgt>
                                        </p:tgtEl>
                                        <p:attrNameLst>
                                          <p:attrName>style.visibility</p:attrName>
                                        </p:attrNameLst>
                                      </p:cBhvr>
                                      <p:to>
                                        <p:strVal val="visible"/>
                                      </p:to>
                                    </p:set>
                                    <p:animEffect transition="in" filter="dissolve">
                                      <p:cBhvr>
                                        <p:cTn id="48" dur="500"/>
                                        <p:tgtEl>
                                          <p:spTgt spid="113">
                                            <p:txEl>
                                              <p:pRg st="0" end="0"/>
                                            </p:txEl>
                                          </p:spTgt>
                                        </p:tgtEl>
                                      </p:cBhvr>
                                    </p:animEffect>
                                  </p:childTnLst>
                                </p:cTn>
                              </p:par>
                            </p:childTnLst>
                          </p:cTn>
                        </p:par>
                        <p:par>
                          <p:cTn id="49" fill="hold">
                            <p:stCondLst>
                              <p:cond delay="4500"/>
                            </p:stCondLst>
                            <p:childTnLst>
                              <p:par>
                                <p:cTn id="50" presetID="10" presetClass="entr" presetSubtype="0" fill="hold"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childTnLst>
                          </p:cTn>
                        </p:par>
                        <p:par>
                          <p:cTn id="53" fill="hold">
                            <p:stCondLst>
                              <p:cond delay="5000"/>
                            </p:stCondLst>
                            <p:childTnLst>
                              <p:par>
                                <p:cTn id="54" presetID="9" presetClass="entr" presetSubtype="0" fill="hold" grpId="0" nodeType="afterEffect" nodePh="1">
                                  <p:stCondLst>
                                    <p:cond delay="0"/>
                                  </p:stCondLst>
                                  <p:endCondLst>
                                    <p:cond evt="begin" delay="0">
                                      <p:tn val="54"/>
                                    </p:cond>
                                  </p:endCondLst>
                                  <p:childTnLst>
                                    <p:set>
                                      <p:cBhvr>
                                        <p:cTn id="55" dur="1" fill="hold">
                                          <p:stCondLst>
                                            <p:cond delay="0"/>
                                          </p:stCondLst>
                                        </p:cTn>
                                        <p:tgtEl>
                                          <p:spTgt spid="116">
                                            <p:txEl>
                                              <p:pRg st="0" end="0"/>
                                            </p:txEl>
                                          </p:spTgt>
                                        </p:tgtEl>
                                        <p:attrNameLst>
                                          <p:attrName>style.visibility</p:attrName>
                                        </p:attrNameLst>
                                      </p:cBhvr>
                                      <p:to>
                                        <p:strVal val="visible"/>
                                      </p:to>
                                    </p:set>
                                    <p:animEffect transition="in" filter="dissolve">
                                      <p:cBhvr>
                                        <p:cTn id="56" dur="500"/>
                                        <p:tgtEl>
                                          <p:spTgt spid="116">
                                            <p:txEl>
                                              <p:pRg st="0" end="0"/>
                                            </p:txEl>
                                          </p:spTgt>
                                        </p:tgtEl>
                                      </p:cBhvr>
                                    </p:animEffect>
                                  </p:childTnLst>
                                </p:cTn>
                              </p:par>
                              <p:par>
                                <p:cTn id="57" presetID="9" presetClass="entr" presetSubtype="0" fill="hold" grpId="0" nodeType="withEffect" nodePh="1">
                                  <p:stCondLst>
                                    <p:cond delay="0"/>
                                  </p:stCondLst>
                                  <p:endCondLst>
                                    <p:cond evt="begin" delay="0">
                                      <p:tn val="57"/>
                                    </p:cond>
                                  </p:endCondLst>
                                  <p:childTnLst>
                                    <p:set>
                                      <p:cBhvr>
                                        <p:cTn id="58" dur="1" fill="hold">
                                          <p:stCondLst>
                                            <p:cond delay="0"/>
                                          </p:stCondLst>
                                        </p:cTn>
                                        <p:tgtEl>
                                          <p:spTgt spid="117">
                                            <p:txEl>
                                              <p:pRg st="0" end="0"/>
                                            </p:txEl>
                                          </p:spTgt>
                                        </p:tgtEl>
                                        <p:attrNameLst>
                                          <p:attrName>style.visibility</p:attrName>
                                        </p:attrNameLst>
                                      </p:cBhvr>
                                      <p:to>
                                        <p:strVal val="visible"/>
                                      </p:to>
                                    </p:set>
                                    <p:animEffect transition="in" filter="dissolve">
                                      <p:cBhvr>
                                        <p:cTn id="59" dur="500"/>
                                        <p:tgtEl>
                                          <p:spTgt spid="117">
                                            <p:txEl>
                                              <p:pRg st="0" end="0"/>
                                            </p:txEl>
                                          </p:spTgt>
                                        </p:tgtEl>
                                      </p:cBhvr>
                                    </p:animEffect>
                                  </p:childTnLst>
                                </p:cTn>
                              </p:par>
                            </p:childTnLst>
                          </p:cTn>
                        </p:par>
                        <p:par>
                          <p:cTn id="60" fill="hold">
                            <p:stCondLst>
                              <p:cond delay="5500"/>
                            </p:stCondLst>
                            <p:childTnLst>
                              <p:par>
                                <p:cTn id="61" presetID="10" presetClass="entr" presetSubtype="0" fill="hold" grpId="0" nodeType="afterEffect">
                                  <p:stCondLst>
                                    <p:cond delay="0"/>
                                  </p:stCondLst>
                                  <p:iterate>
                                    <p:tmAbs val="0"/>
                                  </p:iterate>
                                  <p:childTnLst>
                                    <p:set>
                                      <p:cBhvr>
                                        <p:cTn id="62" fill="hold"/>
                                        <p:tgtEl>
                                          <p:spTgt spid="2"/>
                                        </p:tgtEl>
                                        <p:attrNameLst>
                                          <p:attrName>style.visibility</p:attrName>
                                        </p:attrNameLst>
                                      </p:cBhvr>
                                      <p:to>
                                        <p:strVal val="visible"/>
                                      </p:to>
                                    </p:set>
                                    <p:animEffect transition="in" filter="fade">
                                      <p:cBhvr>
                                        <p:cTn id="63" dur="500"/>
                                        <p:tgtEl>
                                          <p:spTgt spid="2"/>
                                        </p:tgtEl>
                                      </p:cBhvr>
                                    </p:animEffect>
                                  </p:childTnLst>
                                </p:cTn>
                              </p:par>
                            </p:childTnLst>
                          </p:cTn>
                        </p:par>
                        <p:par>
                          <p:cTn id="64" fill="hold">
                            <p:stCondLst>
                              <p:cond delay="6000"/>
                            </p:stCondLst>
                            <p:childTnLst>
                              <p:par>
                                <p:cTn id="65" presetID="9" presetClass="entr" presetSubtype="0" fill="hold" grpId="0" nodeType="afterEffect" nodePh="1">
                                  <p:stCondLst>
                                    <p:cond delay="0"/>
                                  </p:stCondLst>
                                  <p:endCondLst>
                                    <p:cond evt="begin" delay="0">
                                      <p:tn val="65"/>
                                    </p:cond>
                                  </p:endCondLst>
                                  <p:childTnLst>
                                    <p:set>
                                      <p:cBhvr>
                                        <p:cTn id="66" dur="1" fill="hold">
                                          <p:stCondLst>
                                            <p:cond delay="0"/>
                                          </p:stCondLst>
                                        </p:cTn>
                                        <p:tgtEl>
                                          <p:spTgt spid="9">
                                            <p:txEl>
                                              <p:pRg st="0" end="0"/>
                                            </p:txEl>
                                          </p:spTgt>
                                        </p:tgtEl>
                                        <p:attrNameLst>
                                          <p:attrName>style.visibility</p:attrName>
                                        </p:attrNameLst>
                                      </p:cBhvr>
                                      <p:to>
                                        <p:strVal val="visible"/>
                                      </p:to>
                                    </p:set>
                                    <p:animEffect transition="in" filter="dissolve">
                                      <p:cBhvr>
                                        <p:cTn id="67" dur="500"/>
                                        <p:tgtEl>
                                          <p:spTgt spid="9">
                                            <p:txEl>
                                              <p:pRg st="0" end="0"/>
                                            </p:txEl>
                                          </p:spTgt>
                                        </p:tgtEl>
                                      </p:cBhvr>
                                    </p:animEffect>
                                  </p:childTnLst>
                                </p:cTn>
                              </p:par>
                              <p:par>
                                <p:cTn id="68" presetID="9" presetClass="entr" presetSubtype="0" fill="hold" grpId="0" nodeType="withEffect" nodePh="1">
                                  <p:stCondLst>
                                    <p:cond delay="0"/>
                                  </p:stCondLst>
                                  <p:endCondLst>
                                    <p:cond evt="begin" delay="0">
                                      <p:tn val="68"/>
                                    </p:cond>
                                  </p:endCondLst>
                                  <p:childTnLst>
                                    <p:set>
                                      <p:cBhvr>
                                        <p:cTn id="69" dur="1" fill="hold">
                                          <p:stCondLst>
                                            <p:cond delay="0"/>
                                          </p:stCondLst>
                                        </p:cTn>
                                        <p:tgtEl>
                                          <p:spTgt spid="10">
                                            <p:txEl>
                                              <p:pRg st="0" end="0"/>
                                            </p:txEl>
                                          </p:spTgt>
                                        </p:tgtEl>
                                        <p:attrNameLst>
                                          <p:attrName>style.visibility</p:attrName>
                                        </p:attrNameLst>
                                      </p:cBhvr>
                                      <p:to>
                                        <p:strVal val="visible"/>
                                      </p:to>
                                    </p:set>
                                    <p:animEffect transition="in" filter="dissolve">
                                      <p:cBhvr>
                                        <p:cTn id="70" dur="500"/>
                                        <p:tgtEl>
                                          <p:spTgt spid="10">
                                            <p:txEl>
                                              <p:pRg st="0" end="0"/>
                                            </p:txEl>
                                          </p:spTgt>
                                        </p:tgtEl>
                                      </p:cBhvr>
                                    </p:animEffect>
                                  </p:childTnLst>
                                </p:cTn>
                              </p:par>
                            </p:childTnLst>
                          </p:cTn>
                        </p:par>
                        <p:par>
                          <p:cTn id="71" fill="hold">
                            <p:stCondLst>
                              <p:cond delay="6500"/>
                            </p:stCondLst>
                            <p:childTnLst>
                              <p:par>
                                <p:cTn id="72" presetID="10" presetClass="entr" presetSubtype="0" fill="hold" nodeType="after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childTnLst>
                          </p:cTn>
                        </p:par>
                        <p:par>
                          <p:cTn id="75" fill="hold">
                            <p:stCondLst>
                              <p:cond delay="7000"/>
                            </p:stCondLst>
                            <p:childTnLst>
                              <p:par>
                                <p:cTn id="76" presetID="9" presetClass="entr" presetSubtype="0" fill="hold" grpId="0" nodeType="afterEffect" nodePh="1">
                                  <p:stCondLst>
                                    <p:cond delay="0"/>
                                  </p:stCondLst>
                                  <p:endCondLst>
                                    <p:cond evt="begin" delay="0">
                                      <p:tn val="76"/>
                                    </p:cond>
                                  </p:endCondLst>
                                  <p:childTnLst>
                                    <p:set>
                                      <p:cBhvr>
                                        <p:cTn id="77" dur="1" fill="hold">
                                          <p:stCondLst>
                                            <p:cond delay="0"/>
                                          </p:stCondLst>
                                        </p:cTn>
                                        <p:tgtEl>
                                          <p:spTgt spid="106">
                                            <p:txEl>
                                              <p:pRg st="0" end="0"/>
                                            </p:txEl>
                                          </p:spTgt>
                                        </p:tgtEl>
                                        <p:attrNameLst>
                                          <p:attrName>style.visibility</p:attrName>
                                        </p:attrNameLst>
                                      </p:cBhvr>
                                      <p:to>
                                        <p:strVal val="visible"/>
                                      </p:to>
                                    </p:set>
                                    <p:animEffect transition="in" filter="dissolve">
                                      <p:cBhvr>
                                        <p:cTn id="78" dur="500"/>
                                        <p:tgtEl>
                                          <p:spTgt spid="106">
                                            <p:txEl>
                                              <p:pRg st="0" end="0"/>
                                            </p:txEl>
                                          </p:spTgt>
                                        </p:tgtEl>
                                      </p:cBhvr>
                                    </p:animEffect>
                                  </p:childTnLst>
                                </p:cTn>
                              </p:par>
                              <p:par>
                                <p:cTn id="79" presetID="9" presetClass="entr" presetSubtype="0" fill="hold" grpId="0" nodeType="withEffect" nodePh="1">
                                  <p:stCondLst>
                                    <p:cond delay="0"/>
                                  </p:stCondLst>
                                  <p:endCondLst>
                                    <p:cond evt="begin" delay="0">
                                      <p:tn val="79"/>
                                    </p:cond>
                                  </p:endCondLst>
                                  <p:childTnLst>
                                    <p:set>
                                      <p:cBhvr>
                                        <p:cTn id="80" dur="1" fill="hold">
                                          <p:stCondLst>
                                            <p:cond delay="0"/>
                                          </p:stCondLst>
                                        </p:cTn>
                                        <p:tgtEl>
                                          <p:spTgt spid="107">
                                            <p:txEl>
                                              <p:pRg st="0" end="0"/>
                                            </p:txEl>
                                          </p:spTgt>
                                        </p:tgtEl>
                                        <p:attrNameLst>
                                          <p:attrName>style.visibility</p:attrName>
                                        </p:attrNameLst>
                                      </p:cBhvr>
                                      <p:to>
                                        <p:strVal val="visible"/>
                                      </p:to>
                                    </p:set>
                                    <p:animEffect transition="in" filter="dissolve">
                                      <p:cBhvr>
                                        <p:cTn id="81" dur="500"/>
                                        <p:tgtEl>
                                          <p:spTgt spid="107">
                                            <p:txEl>
                                              <p:pRg st="0" end="0"/>
                                            </p:txEl>
                                          </p:spTgt>
                                        </p:tgtEl>
                                      </p:cBhvr>
                                    </p:animEffect>
                                  </p:childTnLst>
                                </p:cTn>
                              </p:par>
                            </p:childTnLst>
                          </p:cTn>
                        </p:par>
                        <p:par>
                          <p:cTn id="82" fill="hold">
                            <p:stCondLst>
                              <p:cond delay="7500"/>
                            </p:stCondLst>
                            <p:childTnLst>
                              <p:par>
                                <p:cTn id="83" presetID="10" presetClass="entr" presetSubtype="0" fill="hold" nodeType="afterEffect">
                                  <p:stCondLst>
                                    <p:cond delay="0"/>
                                  </p:stCondLst>
                                  <p:childTnLst>
                                    <p:set>
                                      <p:cBhvr>
                                        <p:cTn id="84" dur="1" fill="hold">
                                          <p:stCondLst>
                                            <p:cond delay="0"/>
                                          </p:stCondLst>
                                        </p:cTn>
                                        <p:tgtEl>
                                          <p:spTgt spid="5"/>
                                        </p:tgtEl>
                                        <p:attrNameLst>
                                          <p:attrName>style.visibility</p:attrName>
                                        </p:attrNameLst>
                                      </p:cBhvr>
                                      <p:to>
                                        <p:strVal val="visible"/>
                                      </p:to>
                                    </p:set>
                                    <p:animEffect transition="in" filter="fade">
                                      <p:cBhvr>
                                        <p:cTn id="85" dur="500"/>
                                        <p:tgtEl>
                                          <p:spTgt spid="5"/>
                                        </p:tgtEl>
                                      </p:cBhvr>
                                    </p:animEffect>
                                  </p:childTnLst>
                                </p:cTn>
                              </p:par>
                            </p:childTnLst>
                          </p:cTn>
                        </p:par>
                        <p:par>
                          <p:cTn id="86" fill="hold">
                            <p:stCondLst>
                              <p:cond delay="8000"/>
                            </p:stCondLst>
                            <p:childTnLst>
                              <p:par>
                                <p:cTn id="87" presetID="9" presetClass="entr" presetSubtype="0" fill="hold" grpId="0" nodeType="afterEffect" nodePh="1">
                                  <p:stCondLst>
                                    <p:cond delay="0"/>
                                  </p:stCondLst>
                                  <p:endCondLst>
                                    <p:cond evt="begin" delay="0">
                                      <p:tn val="87"/>
                                    </p:cond>
                                  </p:endCondLst>
                                  <p:childTnLst>
                                    <p:set>
                                      <p:cBhvr>
                                        <p:cTn id="88" dur="1" fill="hold">
                                          <p:stCondLst>
                                            <p:cond delay="0"/>
                                          </p:stCondLst>
                                        </p:cTn>
                                        <p:tgtEl>
                                          <p:spTgt spid="110">
                                            <p:txEl>
                                              <p:pRg st="0" end="0"/>
                                            </p:txEl>
                                          </p:spTgt>
                                        </p:tgtEl>
                                        <p:attrNameLst>
                                          <p:attrName>style.visibility</p:attrName>
                                        </p:attrNameLst>
                                      </p:cBhvr>
                                      <p:to>
                                        <p:strVal val="visible"/>
                                      </p:to>
                                    </p:set>
                                    <p:animEffect transition="in" filter="dissolve">
                                      <p:cBhvr>
                                        <p:cTn id="89" dur="500"/>
                                        <p:tgtEl>
                                          <p:spTgt spid="110">
                                            <p:txEl>
                                              <p:pRg st="0" end="0"/>
                                            </p:txEl>
                                          </p:spTgt>
                                        </p:tgtEl>
                                      </p:cBhvr>
                                    </p:animEffect>
                                  </p:childTnLst>
                                </p:cTn>
                              </p:par>
                              <p:par>
                                <p:cTn id="90" presetID="9" presetClass="entr" presetSubtype="0" fill="hold" grpId="0" nodeType="withEffect" nodePh="1">
                                  <p:stCondLst>
                                    <p:cond delay="0"/>
                                  </p:stCondLst>
                                  <p:endCondLst>
                                    <p:cond evt="begin" delay="0">
                                      <p:tn val="90"/>
                                    </p:cond>
                                  </p:endCondLst>
                                  <p:childTnLst>
                                    <p:set>
                                      <p:cBhvr>
                                        <p:cTn id="91" dur="1" fill="hold">
                                          <p:stCondLst>
                                            <p:cond delay="0"/>
                                          </p:stCondLst>
                                        </p:cTn>
                                        <p:tgtEl>
                                          <p:spTgt spid="111">
                                            <p:txEl>
                                              <p:pRg st="0" end="0"/>
                                            </p:txEl>
                                          </p:spTgt>
                                        </p:tgtEl>
                                        <p:attrNameLst>
                                          <p:attrName>style.visibility</p:attrName>
                                        </p:attrNameLst>
                                      </p:cBhvr>
                                      <p:to>
                                        <p:strVal val="visible"/>
                                      </p:to>
                                    </p:set>
                                    <p:animEffect transition="in" filter="dissolve">
                                      <p:cBhvr>
                                        <p:cTn id="92" dur="500"/>
                                        <p:tgtEl>
                                          <p:spTgt spid="111">
                                            <p:txEl>
                                              <p:pRg st="0" end="0"/>
                                            </p:txEl>
                                          </p:spTgt>
                                        </p:tgtEl>
                                      </p:cBhvr>
                                    </p:animEffect>
                                  </p:childTnLst>
                                </p:cTn>
                              </p:par>
                            </p:childTnLst>
                          </p:cTn>
                        </p:par>
                        <p:par>
                          <p:cTn id="93" fill="hold">
                            <p:stCondLst>
                              <p:cond delay="8500"/>
                            </p:stCondLst>
                            <p:childTnLst>
                              <p:par>
                                <p:cTn id="94" presetID="10" presetClass="entr" presetSubtype="0" fill="hold" nodeType="afterEffect">
                                  <p:stCondLst>
                                    <p:cond delay="0"/>
                                  </p:stCondLst>
                                  <p:childTnLst>
                                    <p:set>
                                      <p:cBhvr>
                                        <p:cTn id="95" dur="1" fill="hold">
                                          <p:stCondLst>
                                            <p:cond delay="0"/>
                                          </p:stCondLst>
                                        </p:cTn>
                                        <p:tgtEl>
                                          <p:spTgt spid="6"/>
                                        </p:tgtEl>
                                        <p:attrNameLst>
                                          <p:attrName>style.visibility</p:attrName>
                                        </p:attrNameLst>
                                      </p:cBhvr>
                                      <p:to>
                                        <p:strVal val="visible"/>
                                      </p:to>
                                    </p:set>
                                    <p:animEffect transition="in" filter="fade">
                                      <p:cBhvr>
                                        <p:cTn id="96" dur="500"/>
                                        <p:tgtEl>
                                          <p:spTgt spid="6"/>
                                        </p:tgtEl>
                                      </p:cBhvr>
                                    </p:animEffect>
                                  </p:childTnLst>
                                </p:cTn>
                              </p:par>
                            </p:childTnLst>
                          </p:cTn>
                        </p:par>
                        <p:par>
                          <p:cTn id="97" fill="hold">
                            <p:stCondLst>
                              <p:cond delay="9000"/>
                            </p:stCondLst>
                            <p:childTnLst>
                              <p:par>
                                <p:cTn id="98" presetID="9" presetClass="entr" presetSubtype="0" fill="hold" grpId="0" nodeType="afterEffect" nodePh="1">
                                  <p:stCondLst>
                                    <p:cond delay="0"/>
                                  </p:stCondLst>
                                  <p:endCondLst>
                                    <p:cond evt="begin" delay="0">
                                      <p:tn val="98"/>
                                    </p:cond>
                                  </p:endCondLst>
                                  <p:childTnLst>
                                    <p:set>
                                      <p:cBhvr>
                                        <p:cTn id="99" dur="1" fill="hold">
                                          <p:stCondLst>
                                            <p:cond delay="0"/>
                                          </p:stCondLst>
                                        </p:cTn>
                                        <p:tgtEl>
                                          <p:spTgt spid="114">
                                            <p:txEl>
                                              <p:pRg st="0" end="0"/>
                                            </p:txEl>
                                          </p:spTgt>
                                        </p:tgtEl>
                                        <p:attrNameLst>
                                          <p:attrName>style.visibility</p:attrName>
                                        </p:attrNameLst>
                                      </p:cBhvr>
                                      <p:to>
                                        <p:strVal val="visible"/>
                                      </p:to>
                                    </p:set>
                                    <p:animEffect transition="in" filter="dissolve">
                                      <p:cBhvr>
                                        <p:cTn id="100" dur="500"/>
                                        <p:tgtEl>
                                          <p:spTgt spid="114">
                                            <p:txEl>
                                              <p:pRg st="0" end="0"/>
                                            </p:txEl>
                                          </p:spTgt>
                                        </p:tgtEl>
                                      </p:cBhvr>
                                    </p:animEffect>
                                  </p:childTnLst>
                                </p:cTn>
                              </p:par>
                              <p:par>
                                <p:cTn id="101" presetID="9" presetClass="entr" presetSubtype="0" fill="hold" grpId="0" nodeType="withEffect" nodePh="1">
                                  <p:stCondLst>
                                    <p:cond delay="0"/>
                                  </p:stCondLst>
                                  <p:endCondLst>
                                    <p:cond evt="begin" delay="0">
                                      <p:tn val="101"/>
                                    </p:cond>
                                  </p:endCondLst>
                                  <p:childTnLst>
                                    <p:set>
                                      <p:cBhvr>
                                        <p:cTn id="102" dur="1" fill="hold">
                                          <p:stCondLst>
                                            <p:cond delay="0"/>
                                          </p:stCondLst>
                                        </p:cTn>
                                        <p:tgtEl>
                                          <p:spTgt spid="115">
                                            <p:txEl>
                                              <p:pRg st="0" end="0"/>
                                            </p:txEl>
                                          </p:spTgt>
                                        </p:tgtEl>
                                        <p:attrNameLst>
                                          <p:attrName>style.visibility</p:attrName>
                                        </p:attrNameLst>
                                      </p:cBhvr>
                                      <p:to>
                                        <p:strVal val="visible"/>
                                      </p:to>
                                    </p:set>
                                    <p:animEffect transition="in" filter="dissolve">
                                      <p:cBhvr>
                                        <p:cTn id="103" dur="500"/>
                                        <p:tgtEl>
                                          <p:spTgt spid="115">
                                            <p:txEl>
                                              <p:pRg st="0" end="0"/>
                                            </p:txEl>
                                          </p:spTgt>
                                        </p:tgtEl>
                                      </p:cBhvr>
                                    </p:animEffect>
                                  </p:childTnLst>
                                </p:cTn>
                              </p:par>
                            </p:childTnLst>
                          </p:cTn>
                        </p:par>
                        <p:par>
                          <p:cTn id="104" fill="hold">
                            <p:stCondLst>
                              <p:cond delay="9500"/>
                            </p:stCondLst>
                            <p:childTnLst>
                              <p:par>
                                <p:cTn id="105" presetID="10" presetClass="entr" presetSubtype="0" fill="hold" grpId="0" nodeType="afterEffect">
                                  <p:stCondLst>
                                    <p:cond delay="0"/>
                                  </p:stCondLst>
                                  <p:iterate>
                                    <p:tmAbs val="0"/>
                                  </p:iterate>
                                  <p:childTnLst>
                                    <p:set>
                                      <p:cBhvr>
                                        <p:cTn id="106" fill="hold"/>
                                        <p:tgtEl>
                                          <p:spTgt spid="46"/>
                                        </p:tgtEl>
                                        <p:attrNameLst>
                                          <p:attrName>style.visibility</p:attrName>
                                        </p:attrNameLst>
                                      </p:cBhvr>
                                      <p:to>
                                        <p:strVal val="visible"/>
                                      </p:to>
                                    </p:set>
                                    <p:animEffect transition="in" filter="fade">
                                      <p:cBhvr>
                                        <p:cTn id="10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advAuto="0"/>
      <p:bldP spid="2" grpId="0" animBg="1" advAuto="0"/>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10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0"/>
                        </p:tgtEl>
                        <p:attrNameLst>
                          <p:attrName>style.visibility</p:attrName>
                        </p:attrNameLst>
                      </p:cBhvr>
                      <p:to>
                        <p:strVal val="visible"/>
                      </p:to>
                    </p:set>
                    <p:animEffect transition="in" filter="dissolve">
                      <p:cBhvr>
                        <p:cTn dur="500"/>
                        <p:tgtEl>
                          <p:spTgt spid="100"/>
                        </p:tgtEl>
                      </p:cBhvr>
                    </p:animEffect>
                  </p:childTnLst>
                </p:cTn>
              </p:par>
            </p:tnLst>
          </p:tmpl>
        </p:tmplLst>
      </p:bldP>
      <p:bldP spid="101"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1"/>
                        </p:tgtEl>
                        <p:attrNameLst>
                          <p:attrName>style.visibility</p:attrName>
                        </p:attrNameLst>
                      </p:cBhvr>
                      <p:to>
                        <p:strVal val="visible"/>
                      </p:to>
                    </p:set>
                    <p:animEffect transition="in" filter="dissolve">
                      <p:cBhvr>
                        <p:cTn dur="500"/>
                        <p:tgtEl>
                          <p:spTgt spid="101"/>
                        </p:tgtEl>
                      </p:cBhvr>
                    </p:animEffect>
                  </p:childTnLst>
                </p:cTn>
              </p:par>
            </p:tnLst>
          </p:tmpl>
        </p:tmplLst>
      </p:bldP>
      <p:bldP spid="106"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6"/>
                        </p:tgtEl>
                        <p:attrNameLst>
                          <p:attrName>style.visibility</p:attrName>
                        </p:attrNameLst>
                      </p:cBhvr>
                      <p:to>
                        <p:strVal val="visible"/>
                      </p:to>
                    </p:set>
                    <p:animEffect transition="in" filter="dissolve">
                      <p:cBhvr>
                        <p:cTn dur="500"/>
                        <p:tgtEl>
                          <p:spTgt spid="106"/>
                        </p:tgtEl>
                      </p:cBhvr>
                    </p:animEffect>
                  </p:childTnLst>
                </p:cTn>
              </p:par>
            </p:tnLst>
          </p:tmpl>
        </p:tmplLst>
      </p:bldP>
      <p:bldP spid="107"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7"/>
                        </p:tgtEl>
                        <p:attrNameLst>
                          <p:attrName>style.visibility</p:attrName>
                        </p:attrNameLst>
                      </p:cBhvr>
                      <p:to>
                        <p:strVal val="visible"/>
                      </p:to>
                    </p:set>
                    <p:animEffect transition="in" filter="dissolve">
                      <p:cBhvr>
                        <p:cTn dur="500"/>
                        <p:tgtEl>
                          <p:spTgt spid="107"/>
                        </p:tgtEl>
                      </p:cBhvr>
                    </p:animEffect>
                  </p:childTnLst>
                </p:cTn>
              </p:par>
            </p:tnLst>
          </p:tmpl>
        </p:tmplLst>
      </p:bldP>
      <p:bldP spid="108"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8"/>
                        </p:tgtEl>
                        <p:attrNameLst>
                          <p:attrName>style.visibility</p:attrName>
                        </p:attrNameLst>
                      </p:cBhvr>
                      <p:to>
                        <p:strVal val="visible"/>
                      </p:to>
                    </p:set>
                    <p:animEffect transition="in" filter="dissolve">
                      <p:cBhvr>
                        <p:cTn dur="500"/>
                        <p:tgtEl>
                          <p:spTgt spid="108"/>
                        </p:tgtEl>
                      </p:cBhvr>
                    </p:animEffect>
                  </p:childTnLst>
                </p:cTn>
              </p:par>
            </p:tnLst>
          </p:tmpl>
        </p:tmplLst>
      </p:bldP>
      <p:bldP spid="109"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09"/>
                        </p:tgtEl>
                        <p:attrNameLst>
                          <p:attrName>style.visibility</p:attrName>
                        </p:attrNameLst>
                      </p:cBhvr>
                      <p:to>
                        <p:strVal val="visible"/>
                      </p:to>
                    </p:set>
                    <p:animEffect transition="in" filter="dissolve">
                      <p:cBhvr>
                        <p:cTn dur="500"/>
                        <p:tgtEl>
                          <p:spTgt spid="109"/>
                        </p:tgtEl>
                      </p:cBhvr>
                    </p:animEffect>
                  </p:childTnLst>
                </p:cTn>
              </p:par>
            </p:tnLst>
          </p:tmpl>
        </p:tmplLst>
      </p:bldP>
      <p:bldP spid="1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0"/>
                        </p:tgtEl>
                        <p:attrNameLst>
                          <p:attrName>style.visibility</p:attrName>
                        </p:attrNameLst>
                      </p:cBhvr>
                      <p:to>
                        <p:strVal val="visible"/>
                      </p:to>
                    </p:set>
                    <p:animEffect transition="in" filter="dissolve">
                      <p:cBhvr>
                        <p:cTn dur="500"/>
                        <p:tgtEl>
                          <p:spTgt spid="110"/>
                        </p:tgtEl>
                      </p:cBhvr>
                    </p:animEffect>
                  </p:childTnLst>
                </p:cTn>
              </p:par>
            </p:tnLst>
          </p:tmpl>
        </p:tmplLst>
      </p:bldP>
      <p:bldP spid="111"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1"/>
                        </p:tgtEl>
                        <p:attrNameLst>
                          <p:attrName>style.visibility</p:attrName>
                        </p:attrNameLst>
                      </p:cBhvr>
                      <p:to>
                        <p:strVal val="visible"/>
                      </p:to>
                    </p:set>
                    <p:animEffect transition="in" filter="dissolve">
                      <p:cBhvr>
                        <p:cTn dur="500"/>
                        <p:tgtEl>
                          <p:spTgt spid="111"/>
                        </p:tgtEl>
                      </p:cBhvr>
                    </p:animEffect>
                  </p:childTnLst>
                </p:cTn>
              </p:par>
            </p:tnLst>
          </p:tmpl>
        </p:tmplLst>
      </p:bldP>
      <p:bldP spid="112"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2"/>
                        </p:tgtEl>
                        <p:attrNameLst>
                          <p:attrName>style.visibility</p:attrName>
                        </p:attrNameLst>
                      </p:cBhvr>
                      <p:to>
                        <p:strVal val="visible"/>
                      </p:to>
                    </p:set>
                    <p:animEffect transition="in" filter="dissolve">
                      <p:cBhvr>
                        <p:cTn dur="500"/>
                        <p:tgtEl>
                          <p:spTgt spid="112"/>
                        </p:tgtEl>
                      </p:cBhvr>
                    </p:animEffect>
                  </p:childTnLst>
                </p:cTn>
              </p:par>
            </p:tnLst>
          </p:tmpl>
        </p:tmplLst>
      </p:bldP>
      <p:bldP spid="113"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3"/>
                        </p:tgtEl>
                        <p:attrNameLst>
                          <p:attrName>style.visibility</p:attrName>
                        </p:attrNameLst>
                      </p:cBhvr>
                      <p:to>
                        <p:strVal val="visible"/>
                      </p:to>
                    </p:set>
                    <p:animEffect transition="in" filter="dissolve">
                      <p:cBhvr>
                        <p:cTn dur="500"/>
                        <p:tgtEl>
                          <p:spTgt spid="113"/>
                        </p:tgtEl>
                      </p:cBhvr>
                    </p:animEffect>
                  </p:childTnLst>
                </p:cTn>
              </p:par>
            </p:tnLst>
          </p:tmpl>
        </p:tmplLst>
      </p:bldP>
      <p:bldP spid="114"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4"/>
                        </p:tgtEl>
                        <p:attrNameLst>
                          <p:attrName>style.visibility</p:attrName>
                        </p:attrNameLst>
                      </p:cBhvr>
                      <p:to>
                        <p:strVal val="visible"/>
                      </p:to>
                    </p:set>
                    <p:animEffect transition="in" filter="dissolve">
                      <p:cBhvr>
                        <p:cTn dur="500"/>
                        <p:tgtEl>
                          <p:spTgt spid="114"/>
                        </p:tgtEl>
                      </p:cBhvr>
                    </p:animEffect>
                  </p:childTnLst>
                </p:cTn>
              </p:par>
            </p:tnLst>
          </p:tmpl>
        </p:tmplLst>
      </p:bldP>
      <p:bldP spid="115"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5"/>
                        </p:tgtEl>
                        <p:attrNameLst>
                          <p:attrName>style.visibility</p:attrName>
                        </p:attrNameLst>
                      </p:cBhvr>
                      <p:to>
                        <p:strVal val="visible"/>
                      </p:to>
                    </p:set>
                    <p:animEffect transition="in" filter="dissolve">
                      <p:cBhvr>
                        <p:cTn dur="500"/>
                        <p:tgtEl>
                          <p:spTgt spid="115"/>
                        </p:tgtEl>
                      </p:cBhvr>
                    </p:animEffect>
                  </p:childTnLst>
                </p:cTn>
              </p:par>
            </p:tnLst>
          </p:tmpl>
        </p:tmplLst>
      </p:bldP>
      <p:bldP spid="116"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16"/>
                        </p:tgtEl>
                        <p:attrNameLst>
                          <p:attrName>style.visibility</p:attrName>
                        </p:attrNameLst>
                      </p:cBhvr>
                      <p:to>
                        <p:strVal val="visible"/>
                      </p:to>
                    </p:set>
                    <p:animEffect transition="in" filter="dissolve">
                      <p:cBhvr>
                        <p:cTn dur="500"/>
                        <p:tgtEl>
                          <p:spTgt spid="116"/>
                        </p:tgtEl>
                      </p:cBhvr>
                    </p:animEffect>
                  </p:childTnLst>
                </p:cTn>
              </p:par>
            </p:tnLst>
          </p:tmpl>
        </p:tmplLst>
      </p:bldP>
      <p:bldP spid="117" grpId="0" build="p">
        <p:tmplLst>
          <p:tmpl lvl="1">
            <p:tnLst>
              <p:par>
                <p:cTn presetID="9" presetClass="entr" presetSubtype="0" fill="hold" nodeType="withEffect" nodePh="1">
                  <p:stCondLst>
                    <p:cond delay="0"/>
                  </p:stCondLst>
                  <p:endCondLst>
                    <p:cond delay="0"/>
                  </p:endCondLst>
                  <p:childTnLst>
                    <p:set>
                      <p:cBhvr>
                        <p:cTn dur="1" fill="hold">
                          <p:stCondLst>
                            <p:cond delay="0"/>
                          </p:stCondLst>
                        </p:cTn>
                        <p:tgtEl>
                          <p:spTgt spid="117"/>
                        </p:tgtEl>
                        <p:attrNameLst>
                          <p:attrName>style.visibility</p:attrName>
                        </p:attrNameLst>
                      </p:cBhvr>
                      <p:to>
                        <p:strVal val="visible"/>
                      </p:to>
                    </p:set>
                    <p:animEffect transition="in" filter="dissolve">
                      <p:cBhvr>
                        <p:cTn dur="500"/>
                        <p:tgtEl>
                          <p:spTgt spid="117"/>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119" name="Picture Placeholder 2"/>
          <p:cNvSpPr>
            <a:spLocks noGrp="1"/>
          </p:cNvSpPr>
          <p:nvPr userDrawn="1">
            <p:ph type="pic" sz="quarter" idx="24"/>
          </p:nvPr>
        </p:nvSpPr>
        <p:spPr>
          <a:xfrm>
            <a:off x="7229670" y="1711191"/>
            <a:ext cx="2972736" cy="1764973"/>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57" name="Picture Placeholder 2"/>
          <p:cNvSpPr>
            <a:spLocks noGrp="1"/>
          </p:cNvSpPr>
          <p:nvPr>
            <p:ph type="pic" sz="quarter" idx="23"/>
          </p:nvPr>
        </p:nvSpPr>
        <p:spPr>
          <a:xfrm>
            <a:off x="1981309" y="1709886"/>
            <a:ext cx="2983072" cy="176631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grpSp>
        <p:nvGrpSpPr>
          <p:cNvPr id="2" name="Group 971"/>
          <p:cNvGrpSpPr/>
          <p:nvPr userDrawn="1"/>
        </p:nvGrpSpPr>
        <p:grpSpPr>
          <a:xfrm>
            <a:off x="1981309" y="3829050"/>
            <a:ext cx="8226208" cy="1571331"/>
            <a:chOff x="0" y="0"/>
            <a:chExt cx="16456700" cy="3142661"/>
          </a:xfrm>
        </p:grpSpPr>
        <p:sp>
          <p:nvSpPr>
            <p:cNvPr id="53" name="Shape 963"/>
            <p:cNvSpPr/>
            <p:nvPr/>
          </p:nvSpPr>
          <p:spPr>
            <a:xfrm>
              <a:off x="0" y="0"/>
              <a:ext cx="5967697" cy="123357"/>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4" name="Shape 964"/>
            <p:cNvSpPr/>
            <p:nvPr/>
          </p:nvSpPr>
          <p:spPr>
            <a:xfrm>
              <a:off x="10489003" y="0"/>
              <a:ext cx="5967698" cy="123357"/>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5" name="Shape 965"/>
            <p:cNvSpPr/>
            <p:nvPr/>
          </p:nvSpPr>
          <p:spPr>
            <a:xfrm>
              <a:off x="0" y="1002504"/>
              <a:ext cx="5967697" cy="123358"/>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6" name="Shape 966"/>
            <p:cNvSpPr/>
            <p:nvPr/>
          </p:nvSpPr>
          <p:spPr>
            <a:xfrm>
              <a:off x="10489003" y="1002504"/>
              <a:ext cx="5967698" cy="123358"/>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8" name="Shape 967"/>
            <p:cNvSpPr/>
            <p:nvPr/>
          </p:nvSpPr>
          <p:spPr>
            <a:xfrm>
              <a:off x="0" y="2016800"/>
              <a:ext cx="5967697" cy="123357"/>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59" name="Shape 968"/>
            <p:cNvSpPr/>
            <p:nvPr/>
          </p:nvSpPr>
          <p:spPr>
            <a:xfrm>
              <a:off x="10489003" y="2016800"/>
              <a:ext cx="5967698" cy="123357"/>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60" name="Shape 969"/>
            <p:cNvSpPr/>
            <p:nvPr/>
          </p:nvSpPr>
          <p:spPr>
            <a:xfrm>
              <a:off x="0" y="3019304"/>
              <a:ext cx="5967697" cy="123358"/>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61" name="Shape 970"/>
            <p:cNvSpPr/>
            <p:nvPr/>
          </p:nvSpPr>
          <p:spPr>
            <a:xfrm>
              <a:off x="10489003" y="3019304"/>
              <a:ext cx="5967698" cy="123358"/>
            </a:xfrm>
            <a:prstGeom prst="rect">
              <a:avLst/>
            </a:prstGeom>
            <a:solidFill>
              <a:schemeClr val="bg1">
                <a:lumMod val="85000"/>
              </a:schemeClr>
            </a:solidFill>
            <a:ln w="12700" cap="flat">
              <a:noFill/>
              <a:miter lim="400000"/>
            </a:ln>
            <a:effectLst/>
          </p:spPr>
          <p:txBody>
            <a:bodyPr wrap="square" lIns="50800" tIns="50800" rIns="50800" bIns="5080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grpSp>
      <p:sp>
        <p:nvSpPr>
          <p:cNvPr id="62" name="Shape 972"/>
          <p:cNvSpPr/>
          <p:nvPr userDrawn="1"/>
        </p:nvSpPr>
        <p:spPr>
          <a:xfrm>
            <a:off x="2294447" y="3829050"/>
            <a:ext cx="2669934" cy="61679"/>
          </a:xfrm>
          <a:prstGeom prst="rect">
            <a:avLst/>
          </a:prstGeom>
          <a:solidFill>
            <a:schemeClr val="accent5"/>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64" name="Shape 973"/>
          <p:cNvSpPr/>
          <p:nvPr/>
        </p:nvSpPr>
        <p:spPr>
          <a:xfrm>
            <a:off x="5131947" y="1711191"/>
            <a:ext cx="1924931" cy="1764973"/>
          </a:xfrm>
          <a:prstGeom prst="rect">
            <a:avLst/>
          </a:prstGeom>
          <a:solidFill>
            <a:schemeClr val="accent1"/>
          </a:solidFill>
          <a:ln w="12700" cap="flat">
            <a:noFill/>
            <a:miter lim="400000"/>
          </a:ln>
          <a:effectLst/>
        </p:spPr>
        <p:txBody>
          <a:bodyPr wrap="square" lIns="50800" tIns="50800" rIns="50800" bIns="50800" numCol="1" anchor="ctr">
            <a:noAutofit/>
          </a:bodyPr>
          <a:lstStyle/>
          <a:p>
            <a:pPr algn="ct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66" name="Shape 976"/>
          <p:cNvSpPr/>
          <p:nvPr userDrawn="1"/>
        </p:nvSpPr>
        <p:spPr>
          <a:xfrm>
            <a:off x="7224635" y="3829050"/>
            <a:ext cx="2451785" cy="61679"/>
          </a:xfrm>
          <a:prstGeom prst="rect">
            <a:avLst/>
          </a:prstGeom>
          <a:solidFill>
            <a:schemeClr val="accent2"/>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69" name="Shape 979"/>
          <p:cNvSpPr/>
          <p:nvPr userDrawn="1"/>
        </p:nvSpPr>
        <p:spPr>
          <a:xfrm>
            <a:off x="3344295" y="4330302"/>
            <a:ext cx="1620085" cy="61679"/>
          </a:xfrm>
          <a:prstGeom prst="rect">
            <a:avLst/>
          </a:prstGeom>
          <a:solidFill>
            <a:schemeClr val="accent5"/>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0" name="Shape 980"/>
          <p:cNvSpPr/>
          <p:nvPr userDrawn="1"/>
        </p:nvSpPr>
        <p:spPr>
          <a:xfrm>
            <a:off x="7224635" y="4330302"/>
            <a:ext cx="745673" cy="61679"/>
          </a:xfrm>
          <a:prstGeom prst="rect">
            <a:avLst/>
          </a:prstGeom>
          <a:solidFill>
            <a:schemeClr val="accent2"/>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73" name="Shape 983"/>
          <p:cNvSpPr/>
          <p:nvPr userDrawn="1"/>
        </p:nvSpPr>
        <p:spPr>
          <a:xfrm>
            <a:off x="2950615" y="4837450"/>
            <a:ext cx="2013765" cy="61679"/>
          </a:xfrm>
          <a:prstGeom prst="rect">
            <a:avLst/>
          </a:prstGeom>
          <a:solidFill>
            <a:schemeClr val="accent5"/>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83" name="Shape 984"/>
          <p:cNvSpPr/>
          <p:nvPr userDrawn="1"/>
        </p:nvSpPr>
        <p:spPr>
          <a:xfrm>
            <a:off x="7224635" y="4837450"/>
            <a:ext cx="1561929" cy="61679"/>
          </a:xfrm>
          <a:prstGeom prst="rect">
            <a:avLst/>
          </a:prstGeom>
          <a:solidFill>
            <a:schemeClr val="accent2"/>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3" name="Shape 987"/>
          <p:cNvSpPr/>
          <p:nvPr userDrawn="1"/>
        </p:nvSpPr>
        <p:spPr>
          <a:xfrm>
            <a:off x="2057430" y="5338702"/>
            <a:ext cx="2906950" cy="61679"/>
          </a:xfrm>
          <a:prstGeom prst="rect">
            <a:avLst/>
          </a:prstGeom>
          <a:solidFill>
            <a:schemeClr val="accent5"/>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99" name="Shape 988"/>
          <p:cNvSpPr/>
          <p:nvPr userDrawn="1"/>
        </p:nvSpPr>
        <p:spPr>
          <a:xfrm>
            <a:off x="7224635" y="5338702"/>
            <a:ext cx="1924930" cy="61679"/>
          </a:xfrm>
          <a:prstGeom prst="rect">
            <a:avLst/>
          </a:prstGeom>
          <a:solidFill>
            <a:schemeClr val="accent2"/>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120" name="Text Placeholder 17"/>
          <p:cNvSpPr>
            <a:spLocks noGrp="1"/>
          </p:cNvSpPr>
          <p:nvPr>
            <p:ph type="body" sz="quarter" idx="25" hasCustomPrompt="1"/>
          </p:nvPr>
        </p:nvSpPr>
        <p:spPr>
          <a:xfrm>
            <a:off x="5256213" y="3706565"/>
            <a:ext cx="1676398" cy="281245"/>
          </a:xfrm>
        </p:spPr>
        <p:txBody>
          <a:bodyPr lIns="0" tIns="0" rIns="0" bIns="0" anchor="ctr">
            <a:normAutofit/>
          </a:bodyPr>
          <a:lstStyle>
            <a:lvl1pPr marL="0" indent="0" algn="ctr">
              <a:lnSpc>
                <a:spcPts val="1500"/>
              </a:lnSpc>
              <a:buNone/>
              <a:defRPr sz="1000">
                <a:solidFill>
                  <a:schemeClr val="tx1">
                    <a:lumMod val="65000"/>
                    <a:lumOff val="35000"/>
                  </a:schemeClr>
                </a:solidFill>
                <a:latin typeface="Source Sans Pro Light"/>
              </a:defRPr>
            </a:lvl1pPr>
          </a:lstStyle>
          <a:p>
            <a:pPr lvl="0"/>
            <a:r>
              <a:rPr lang="en-US" dirty="0"/>
              <a:t>Professional Design</a:t>
            </a:r>
          </a:p>
        </p:txBody>
      </p:sp>
      <p:sp>
        <p:nvSpPr>
          <p:cNvPr id="121" name="Text Placeholder 17"/>
          <p:cNvSpPr>
            <a:spLocks noGrp="1"/>
          </p:cNvSpPr>
          <p:nvPr>
            <p:ph type="body" sz="quarter" idx="26" hasCustomPrompt="1"/>
          </p:nvPr>
        </p:nvSpPr>
        <p:spPr>
          <a:xfrm>
            <a:off x="5256213" y="4220518"/>
            <a:ext cx="1676398" cy="281245"/>
          </a:xfrm>
        </p:spPr>
        <p:txBody>
          <a:bodyPr lIns="0" tIns="0" rIns="0" bIns="0" anchor="ctr">
            <a:normAutofit/>
          </a:bodyPr>
          <a:lstStyle>
            <a:lvl1pPr marL="0" indent="0" algn="ctr">
              <a:lnSpc>
                <a:spcPts val="1500"/>
              </a:lnSpc>
              <a:buNone/>
              <a:defRPr sz="1000">
                <a:solidFill>
                  <a:schemeClr val="tx1">
                    <a:lumMod val="65000"/>
                    <a:lumOff val="35000"/>
                  </a:schemeClr>
                </a:solidFill>
                <a:latin typeface="Source Sans Pro Light"/>
              </a:defRPr>
            </a:lvl1pPr>
          </a:lstStyle>
          <a:p>
            <a:pPr lvl="0"/>
            <a:r>
              <a:rPr lang="en-US" dirty="0"/>
              <a:t>Compatibility</a:t>
            </a:r>
          </a:p>
        </p:txBody>
      </p:sp>
      <p:sp>
        <p:nvSpPr>
          <p:cNvPr id="122" name="Text Placeholder 17"/>
          <p:cNvSpPr>
            <a:spLocks noGrp="1"/>
          </p:cNvSpPr>
          <p:nvPr>
            <p:ph type="body" sz="quarter" idx="27" hasCustomPrompt="1"/>
          </p:nvPr>
        </p:nvSpPr>
        <p:spPr>
          <a:xfrm>
            <a:off x="5256213" y="4714966"/>
            <a:ext cx="1676398" cy="281245"/>
          </a:xfrm>
        </p:spPr>
        <p:txBody>
          <a:bodyPr lIns="0" tIns="0" rIns="0" bIns="0" anchor="ctr">
            <a:normAutofit/>
          </a:bodyPr>
          <a:lstStyle>
            <a:lvl1pPr marL="0" indent="0" algn="ctr">
              <a:lnSpc>
                <a:spcPts val="1500"/>
              </a:lnSpc>
              <a:buNone/>
              <a:defRPr sz="1000">
                <a:solidFill>
                  <a:schemeClr val="tx1">
                    <a:lumMod val="65000"/>
                    <a:lumOff val="35000"/>
                  </a:schemeClr>
                </a:solidFill>
                <a:latin typeface="Source Sans Pro Light"/>
              </a:defRPr>
            </a:lvl1pPr>
          </a:lstStyle>
          <a:p>
            <a:pPr lvl="0"/>
            <a:r>
              <a:rPr lang="en-US" dirty="0"/>
              <a:t>Responsive</a:t>
            </a:r>
          </a:p>
        </p:txBody>
      </p:sp>
      <p:sp>
        <p:nvSpPr>
          <p:cNvPr id="123" name="Text Placeholder 17"/>
          <p:cNvSpPr>
            <a:spLocks noGrp="1"/>
          </p:cNvSpPr>
          <p:nvPr>
            <p:ph type="body" sz="quarter" idx="28" hasCustomPrompt="1"/>
          </p:nvPr>
        </p:nvSpPr>
        <p:spPr>
          <a:xfrm>
            <a:off x="5256213" y="5228919"/>
            <a:ext cx="1676398" cy="281245"/>
          </a:xfrm>
        </p:spPr>
        <p:txBody>
          <a:bodyPr lIns="0" tIns="0" rIns="0" bIns="0" anchor="ctr">
            <a:normAutofit/>
          </a:bodyPr>
          <a:lstStyle>
            <a:lvl1pPr marL="0" indent="0" algn="ctr">
              <a:lnSpc>
                <a:spcPts val="1500"/>
              </a:lnSpc>
              <a:buNone/>
              <a:defRPr sz="1000">
                <a:solidFill>
                  <a:schemeClr val="tx1">
                    <a:lumMod val="65000"/>
                    <a:lumOff val="35000"/>
                  </a:schemeClr>
                </a:solidFill>
                <a:latin typeface="Source Sans Pro Light"/>
              </a:defRPr>
            </a:lvl1pPr>
          </a:lstStyle>
          <a:p>
            <a:pPr lvl="0"/>
            <a:r>
              <a:rPr lang="en-US" dirty="0"/>
              <a:t>Multicolor</a:t>
            </a:r>
          </a:p>
        </p:txBody>
      </p:sp>
      <p:sp>
        <p:nvSpPr>
          <p:cNvPr id="125" name="Text Placeholder 17"/>
          <p:cNvSpPr>
            <a:spLocks noGrp="1"/>
          </p:cNvSpPr>
          <p:nvPr>
            <p:ph type="body" sz="quarter" idx="29" hasCustomPrompt="1"/>
          </p:nvPr>
        </p:nvSpPr>
        <p:spPr>
          <a:xfrm>
            <a:off x="9488123" y="3962400"/>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80%</a:t>
            </a:r>
          </a:p>
        </p:txBody>
      </p:sp>
      <p:sp>
        <p:nvSpPr>
          <p:cNvPr id="126" name="Text Placeholder 17"/>
          <p:cNvSpPr>
            <a:spLocks noGrp="1"/>
          </p:cNvSpPr>
          <p:nvPr>
            <p:ph type="body" sz="quarter" idx="30" hasCustomPrompt="1"/>
          </p:nvPr>
        </p:nvSpPr>
        <p:spPr>
          <a:xfrm>
            <a:off x="7797187" y="4454814"/>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25%</a:t>
            </a:r>
          </a:p>
        </p:txBody>
      </p:sp>
      <p:sp>
        <p:nvSpPr>
          <p:cNvPr id="127" name="Text Placeholder 17"/>
          <p:cNvSpPr>
            <a:spLocks noGrp="1"/>
          </p:cNvSpPr>
          <p:nvPr>
            <p:ph type="body" sz="quarter" idx="31" hasCustomPrompt="1"/>
          </p:nvPr>
        </p:nvSpPr>
        <p:spPr>
          <a:xfrm>
            <a:off x="8620324" y="4961962"/>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55%</a:t>
            </a:r>
          </a:p>
        </p:txBody>
      </p:sp>
      <p:sp>
        <p:nvSpPr>
          <p:cNvPr id="128" name="Text Placeholder 17"/>
          <p:cNvSpPr>
            <a:spLocks noGrp="1"/>
          </p:cNvSpPr>
          <p:nvPr>
            <p:ph type="body" sz="quarter" idx="32" hasCustomPrompt="1"/>
          </p:nvPr>
        </p:nvSpPr>
        <p:spPr>
          <a:xfrm>
            <a:off x="8954723" y="5463215"/>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65%</a:t>
            </a:r>
          </a:p>
        </p:txBody>
      </p:sp>
      <p:sp>
        <p:nvSpPr>
          <p:cNvPr id="129" name="Text Placeholder 17"/>
          <p:cNvSpPr>
            <a:spLocks noGrp="1"/>
          </p:cNvSpPr>
          <p:nvPr>
            <p:ph type="body" sz="quarter" idx="33" hasCustomPrompt="1"/>
          </p:nvPr>
        </p:nvSpPr>
        <p:spPr>
          <a:xfrm>
            <a:off x="2268681" y="3941345"/>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90%</a:t>
            </a:r>
          </a:p>
        </p:txBody>
      </p:sp>
      <p:sp>
        <p:nvSpPr>
          <p:cNvPr id="130" name="Text Placeholder 17"/>
          <p:cNvSpPr>
            <a:spLocks noGrp="1"/>
          </p:cNvSpPr>
          <p:nvPr>
            <p:ph type="body" sz="quarter" idx="34" hasCustomPrompt="1"/>
          </p:nvPr>
        </p:nvSpPr>
        <p:spPr>
          <a:xfrm>
            <a:off x="3310957" y="4448689"/>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55%</a:t>
            </a:r>
          </a:p>
        </p:txBody>
      </p:sp>
      <p:sp>
        <p:nvSpPr>
          <p:cNvPr id="131" name="Text Placeholder 17"/>
          <p:cNvSpPr>
            <a:spLocks noGrp="1"/>
          </p:cNvSpPr>
          <p:nvPr>
            <p:ph type="body" sz="quarter" idx="35" hasCustomPrompt="1"/>
          </p:nvPr>
        </p:nvSpPr>
        <p:spPr>
          <a:xfrm>
            <a:off x="2923098" y="4970542"/>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70%</a:t>
            </a:r>
          </a:p>
        </p:txBody>
      </p:sp>
      <p:sp>
        <p:nvSpPr>
          <p:cNvPr id="132" name="Text Placeholder 17"/>
          <p:cNvSpPr>
            <a:spLocks noGrp="1"/>
          </p:cNvSpPr>
          <p:nvPr>
            <p:ph type="body" sz="quarter" idx="36" hasCustomPrompt="1"/>
          </p:nvPr>
        </p:nvSpPr>
        <p:spPr>
          <a:xfrm>
            <a:off x="2029907" y="5457805"/>
            <a:ext cx="492489" cy="226775"/>
          </a:xfrm>
        </p:spPr>
        <p:txBody>
          <a:bodyPr lIns="0" tIns="0" rIns="0" bIns="0" anchor="ctr">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97%</a:t>
            </a:r>
          </a:p>
        </p:txBody>
      </p:sp>
      <p:sp>
        <p:nvSpPr>
          <p:cNvPr id="133" name="Text Placeholder 17"/>
          <p:cNvSpPr>
            <a:spLocks noGrp="1"/>
          </p:cNvSpPr>
          <p:nvPr>
            <p:ph type="body" sz="quarter" idx="37" hasCustomPrompt="1"/>
          </p:nvPr>
        </p:nvSpPr>
        <p:spPr>
          <a:xfrm>
            <a:off x="5256213" y="2133601"/>
            <a:ext cx="1676398" cy="920154"/>
          </a:xfrm>
        </p:spPr>
        <p:txBody>
          <a:bodyPr lIns="0" tIns="0" rIns="0" bIns="0" anchor="ctr">
            <a:normAutofit/>
          </a:bodyPr>
          <a:lstStyle>
            <a:lvl1pPr marL="0" indent="0" algn="ctr">
              <a:lnSpc>
                <a:spcPts val="1500"/>
              </a:lnSpc>
              <a:buNone/>
              <a:defRPr sz="2700">
                <a:solidFill>
                  <a:schemeClr val="bg1"/>
                </a:solidFill>
                <a:latin typeface="Source Sans Pro Light"/>
              </a:defRPr>
            </a:lvl1pPr>
          </a:lstStyle>
          <a:p>
            <a:pPr lvl="0"/>
            <a:r>
              <a:rPr lang="en-US" dirty="0" err="1"/>
              <a:t>vs</a:t>
            </a:r>
            <a:endParaRPr lang="en-US" dirty="0"/>
          </a:p>
        </p:txBody>
      </p:sp>
    </p:spTree>
    <p:extLst>
      <p:ext uri="{BB962C8B-B14F-4D97-AF65-F5344CB8AC3E}">
        <p14:creationId xmlns:p14="http://schemas.microsoft.com/office/powerpoint/2010/main" val="315021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9" presetClass="entr" presetSubtype="0" fill="hold" grpId="0" nodeType="afterEffect" nodePh="1">
                                  <p:stCondLst>
                                    <p:cond delay="0"/>
                                  </p:stCondLst>
                                  <p:endCondLst>
                                    <p:cond evt="begin" delay="0">
                                      <p:tn val="13"/>
                                    </p:cond>
                                  </p:endCondLst>
                                  <p:childTnLst>
                                    <p:set>
                                      <p:cBhvr>
                                        <p:cTn id="14" dur="1" fill="hold">
                                          <p:stCondLst>
                                            <p:cond delay="0"/>
                                          </p:stCondLst>
                                        </p:cTn>
                                        <p:tgtEl>
                                          <p:spTgt spid="57"/>
                                        </p:tgtEl>
                                        <p:attrNameLst>
                                          <p:attrName>style.visibility</p:attrName>
                                        </p:attrNameLst>
                                      </p:cBhvr>
                                      <p:to>
                                        <p:strVal val="visible"/>
                                      </p:to>
                                    </p:set>
                                    <p:animEffect transition="in" filter="dissolve">
                                      <p:cBhvr>
                                        <p:cTn id="15" dur="500"/>
                                        <p:tgtEl>
                                          <p:spTgt spid="57"/>
                                        </p:tgtEl>
                                      </p:cBhvr>
                                    </p:animEffect>
                                  </p:childTnLst>
                                </p:cTn>
                              </p:par>
                            </p:childTnLst>
                          </p:cTn>
                        </p:par>
                        <p:par>
                          <p:cTn id="16" fill="hold">
                            <p:stCondLst>
                              <p:cond delay="1500"/>
                            </p:stCondLst>
                            <p:childTnLst>
                              <p:par>
                                <p:cTn id="17" presetID="9" presetClass="entr" presetSubtype="0" fill="hold" grpId="0"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33">
                                            <p:txEl>
                                              <p:pRg st="0" end="0"/>
                                            </p:txEl>
                                          </p:spTgt>
                                        </p:tgtEl>
                                        <p:attrNameLst>
                                          <p:attrName>style.visibility</p:attrName>
                                        </p:attrNameLst>
                                      </p:cBhvr>
                                      <p:to>
                                        <p:strVal val="visible"/>
                                      </p:to>
                                    </p:set>
                                    <p:animEffect transition="in" filter="dissolve">
                                      <p:cBhvr>
                                        <p:cTn id="22" dur="500"/>
                                        <p:tgtEl>
                                          <p:spTgt spid="133">
                                            <p:txEl>
                                              <p:pRg st="0" end="0"/>
                                            </p:txEl>
                                          </p:spTgt>
                                        </p:tgtEl>
                                      </p:cBhvr>
                                    </p:animEffect>
                                  </p:childTnLst>
                                </p:cTn>
                              </p:par>
                            </p:childTnLst>
                          </p:cTn>
                        </p:par>
                        <p:par>
                          <p:cTn id="23" fill="hold">
                            <p:stCondLst>
                              <p:cond delay="2000"/>
                            </p:stCondLst>
                            <p:childTnLst>
                              <p:par>
                                <p:cTn id="24" presetID="9" presetClass="entr" presetSubtype="0" fill="hold" grpId="0" nodeType="afterEffect" nodePh="1">
                                  <p:stCondLst>
                                    <p:cond delay="0"/>
                                  </p:stCondLst>
                                  <p:endCondLst>
                                    <p:cond evt="begin" delay="0">
                                      <p:tn val="24"/>
                                    </p:cond>
                                  </p:endCondLst>
                                  <p:childTnLst>
                                    <p:set>
                                      <p:cBhvr>
                                        <p:cTn id="25" dur="1" fill="hold">
                                          <p:stCondLst>
                                            <p:cond delay="0"/>
                                          </p:stCondLst>
                                        </p:cTn>
                                        <p:tgtEl>
                                          <p:spTgt spid="119"/>
                                        </p:tgtEl>
                                        <p:attrNameLst>
                                          <p:attrName>style.visibility</p:attrName>
                                        </p:attrNameLst>
                                      </p:cBhvr>
                                      <p:to>
                                        <p:strVal val="visible"/>
                                      </p:to>
                                    </p:set>
                                    <p:animEffect transition="in" filter="dissolve">
                                      <p:cBhvr>
                                        <p:cTn id="26" dur="500"/>
                                        <p:tgtEl>
                                          <p:spTgt spid="119"/>
                                        </p:tgtEl>
                                      </p:cBhvr>
                                    </p:animEffect>
                                  </p:childTnLst>
                                </p:cTn>
                              </p:par>
                            </p:childTnLst>
                          </p:cTn>
                        </p:par>
                        <p:par>
                          <p:cTn id="27" fill="hold">
                            <p:stCondLst>
                              <p:cond delay="2500"/>
                            </p:stCondLst>
                            <p:childTnLst>
                              <p:par>
                                <p:cTn id="28" presetID="9" presetClass="entr" presetSubtype="0" fill="hold" grpId="0" nodeType="afterEffect">
                                  <p:stCondLst>
                                    <p:cond delay="0"/>
                                  </p:stCondLst>
                                  <p:childTnLst>
                                    <p:set>
                                      <p:cBhvr>
                                        <p:cTn id="29" dur="1" fill="hold">
                                          <p:stCondLst>
                                            <p:cond delay="0"/>
                                          </p:stCondLst>
                                        </p:cTn>
                                        <p:tgtEl>
                                          <p:spTgt spid="120">
                                            <p:txEl>
                                              <p:pRg st="0" end="0"/>
                                            </p:txEl>
                                          </p:spTgt>
                                        </p:tgtEl>
                                        <p:attrNameLst>
                                          <p:attrName>style.visibility</p:attrName>
                                        </p:attrNameLst>
                                      </p:cBhvr>
                                      <p:to>
                                        <p:strVal val="visible"/>
                                      </p:to>
                                    </p:set>
                                    <p:animEffect transition="in" filter="dissolve">
                                      <p:cBhvr>
                                        <p:cTn id="30" dur="500"/>
                                        <p:tgtEl>
                                          <p:spTgt spid="120">
                                            <p:txEl>
                                              <p:pRg st="0" end="0"/>
                                            </p:txEl>
                                          </p:spTgt>
                                        </p:tgtEl>
                                      </p:cBhvr>
                                    </p:animEffect>
                                  </p:childTnLst>
                                </p:cTn>
                              </p:par>
                            </p:childTnLst>
                          </p:cTn>
                        </p:par>
                        <p:par>
                          <p:cTn id="31" fill="hold">
                            <p:stCondLst>
                              <p:cond delay="3000"/>
                            </p:stCondLst>
                            <p:childTnLst>
                              <p:par>
                                <p:cTn id="32" presetID="9" presetClass="entr" presetSubtype="0" fill="hold" grpId="0" nodeType="afterEffect">
                                  <p:stCondLst>
                                    <p:cond delay="0"/>
                                  </p:stCondLst>
                                  <p:childTnLst>
                                    <p:set>
                                      <p:cBhvr>
                                        <p:cTn id="33" dur="1" fill="hold">
                                          <p:stCondLst>
                                            <p:cond delay="0"/>
                                          </p:stCondLst>
                                        </p:cTn>
                                        <p:tgtEl>
                                          <p:spTgt spid="121">
                                            <p:txEl>
                                              <p:pRg st="0" end="0"/>
                                            </p:txEl>
                                          </p:spTgt>
                                        </p:tgtEl>
                                        <p:attrNameLst>
                                          <p:attrName>style.visibility</p:attrName>
                                        </p:attrNameLst>
                                      </p:cBhvr>
                                      <p:to>
                                        <p:strVal val="visible"/>
                                      </p:to>
                                    </p:set>
                                    <p:animEffect transition="in" filter="dissolve">
                                      <p:cBhvr>
                                        <p:cTn id="34" dur="500"/>
                                        <p:tgtEl>
                                          <p:spTgt spid="121">
                                            <p:txEl>
                                              <p:pRg st="0" end="0"/>
                                            </p:txEl>
                                          </p:spTgt>
                                        </p:tgtEl>
                                      </p:cBhvr>
                                    </p:animEffect>
                                  </p:childTnLst>
                                </p:cTn>
                              </p:par>
                            </p:childTnLst>
                          </p:cTn>
                        </p:par>
                        <p:par>
                          <p:cTn id="35" fill="hold">
                            <p:stCondLst>
                              <p:cond delay="3500"/>
                            </p:stCondLst>
                            <p:childTnLst>
                              <p:par>
                                <p:cTn id="36" presetID="9" presetClass="entr" presetSubtype="0" fill="hold" grpId="0" nodeType="afterEffect">
                                  <p:stCondLst>
                                    <p:cond delay="0"/>
                                  </p:stCondLst>
                                  <p:childTnLst>
                                    <p:set>
                                      <p:cBhvr>
                                        <p:cTn id="37" dur="1" fill="hold">
                                          <p:stCondLst>
                                            <p:cond delay="0"/>
                                          </p:stCondLst>
                                        </p:cTn>
                                        <p:tgtEl>
                                          <p:spTgt spid="122">
                                            <p:txEl>
                                              <p:pRg st="0" end="0"/>
                                            </p:txEl>
                                          </p:spTgt>
                                        </p:tgtEl>
                                        <p:attrNameLst>
                                          <p:attrName>style.visibility</p:attrName>
                                        </p:attrNameLst>
                                      </p:cBhvr>
                                      <p:to>
                                        <p:strVal val="visible"/>
                                      </p:to>
                                    </p:set>
                                    <p:animEffect transition="in" filter="dissolve">
                                      <p:cBhvr>
                                        <p:cTn id="38" dur="500"/>
                                        <p:tgtEl>
                                          <p:spTgt spid="122">
                                            <p:txEl>
                                              <p:pRg st="0" end="0"/>
                                            </p:txEl>
                                          </p:spTgt>
                                        </p:tgtEl>
                                      </p:cBhvr>
                                    </p:animEffect>
                                  </p:childTnLst>
                                </p:cTn>
                              </p:par>
                            </p:childTnLst>
                          </p:cTn>
                        </p:par>
                        <p:par>
                          <p:cTn id="39" fill="hold">
                            <p:stCondLst>
                              <p:cond delay="4000"/>
                            </p:stCondLst>
                            <p:childTnLst>
                              <p:par>
                                <p:cTn id="40" presetID="9" presetClass="entr" presetSubtype="0" fill="hold" grpId="0" nodeType="afterEffect">
                                  <p:stCondLst>
                                    <p:cond delay="0"/>
                                  </p:stCondLst>
                                  <p:childTnLst>
                                    <p:set>
                                      <p:cBhvr>
                                        <p:cTn id="41" dur="1" fill="hold">
                                          <p:stCondLst>
                                            <p:cond delay="0"/>
                                          </p:stCondLst>
                                        </p:cTn>
                                        <p:tgtEl>
                                          <p:spTgt spid="123">
                                            <p:txEl>
                                              <p:pRg st="0" end="0"/>
                                            </p:txEl>
                                          </p:spTgt>
                                        </p:tgtEl>
                                        <p:attrNameLst>
                                          <p:attrName>style.visibility</p:attrName>
                                        </p:attrNameLst>
                                      </p:cBhvr>
                                      <p:to>
                                        <p:strVal val="visible"/>
                                      </p:to>
                                    </p:set>
                                    <p:animEffect transition="in" filter="dissolve">
                                      <p:cBhvr>
                                        <p:cTn id="42" dur="500"/>
                                        <p:tgtEl>
                                          <p:spTgt spid="123">
                                            <p:txEl>
                                              <p:pRg st="0" end="0"/>
                                            </p:txEl>
                                          </p:spTgt>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fade">
                                      <p:cBhvr>
                                        <p:cTn id="46" dur="500"/>
                                        <p:tgtEl>
                                          <p:spTgt spid="2"/>
                                        </p:tgtEl>
                                      </p:cBhvr>
                                    </p:animEffect>
                                  </p:childTnLst>
                                </p:cTn>
                              </p:par>
                            </p:childTnLst>
                          </p:cTn>
                        </p:par>
                        <p:par>
                          <p:cTn id="47" fill="hold">
                            <p:stCondLst>
                              <p:cond delay="5000"/>
                            </p:stCondLst>
                            <p:childTnLst>
                              <p:par>
                                <p:cTn id="48" presetID="22" presetClass="entr" presetSubtype="2" fill="hold" grpId="0" nodeType="after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wipe(right)">
                                      <p:cBhvr>
                                        <p:cTn id="50" dur="500"/>
                                        <p:tgtEl>
                                          <p:spTgt spid="62"/>
                                        </p:tgtEl>
                                      </p:cBhvr>
                                    </p:animEffect>
                                  </p:childTnLst>
                                </p:cTn>
                              </p:par>
                            </p:childTnLst>
                          </p:cTn>
                        </p:par>
                        <p:par>
                          <p:cTn id="51" fill="hold">
                            <p:stCondLst>
                              <p:cond delay="5500"/>
                            </p:stCondLst>
                            <p:childTnLst>
                              <p:par>
                                <p:cTn id="52" presetID="9" presetClass="entr" presetSubtype="0" fill="hold" grpId="0" nodeType="afterEffect">
                                  <p:stCondLst>
                                    <p:cond delay="0"/>
                                  </p:stCondLst>
                                  <p:childTnLst>
                                    <p:set>
                                      <p:cBhvr>
                                        <p:cTn id="53" dur="1" fill="hold">
                                          <p:stCondLst>
                                            <p:cond delay="0"/>
                                          </p:stCondLst>
                                        </p:cTn>
                                        <p:tgtEl>
                                          <p:spTgt spid="129">
                                            <p:txEl>
                                              <p:pRg st="0" end="0"/>
                                            </p:txEl>
                                          </p:spTgt>
                                        </p:tgtEl>
                                        <p:attrNameLst>
                                          <p:attrName>style.visibility</p:attrName>
                                        </p:attrNameLst>
                                      </p:cBhvr>
                                      <p:to>
                                        <p:strVal val="visible"/>
                                      </p:to>
                                    </p:set>
                                    <p:animEffect transition="in" filter="dissolve">
                                      <p:cBhvr>
                                        <p:cTn id="54" dur="500"/>
                                        <p:tgtEl>
                                          <p:spTgt spid="129">
                                            <p:txEl>
                                              <p:pRg st="0" end="0"/>
                                            </p:txEl>
                                          </p:spTgt>
                                        </p:tgtEl>
                                      </p:cBhvr>
                                    </p:animEffect>
                                  </p:childTnLst>
                                </p:cTn>
                              </p:par>
                            </p:childTnLst>
                          </p:cTn>
                        </p:par>
                        <p:par>
                          <p:cTn id="55" fill="hold">
                            <p:stCondLst>
                              <p:cond delay="6000"/>
                            </p:stCondLst>
                            <p:childTnLst>
                              <p:par>
                                <p:cTn id="56" presetID="22" presetClass="entr" presetSubtype="8" fill="hold" grpId="0" nodeType="afterEffect">
                                  <p:stCondLst>
                                    <p:cond delay="0"/>
                                  </p:stCondLst>
                                  <p:childTnLst>
                                    <p:set>
                                      <p:cBhvr>
                                        <p:cTn id="57" dur="1" fill="hold">
                                          <p:stCondLst>
                                            <p:cond delay="0"/>
                                          </p:stCondLst>
                                        </p:cTn>
                                        <p:tgtEl>
                                          <p:spTgt spid="66"/>
                                        </p:tgtEl>
                                        <p:attrNameLst>
                                          <p:attrName>style.visibility</p:attrName>
                                        </p:attrNameLst>
                                      </p:cBhvr>
                                      <p:to>
                                        <p:strVal val="visible"/>
                                      </p:to>
                                    </p:set>
                                    <p:animEffect transition="in" filter="wipe(left)">
                                      <p:cBhvr>
                                        <p:cTn id="58" dur="500"/>
                                        <p:tgtEl>
                                          <p:spTgt spid="66"/>
                                        </p:tgtEl>
                                      </p:cBhvr>
                                    </p:animEffect>
                                  </p:childTnLst>
                                </p:cTn>
                              </p:par>
                            </p:childTnLst>
                          </p:cTn>
                        </p:par>
                        <p:par>
                          <p:cTn id="59" fill="hold">
                            <p:stCondLst>
                              <p:cond delay="6500"/>
                            </p:stCondLst>
                            <p:childTnLst>
                              <p:par>
                                <p:cTn id="60" presetID="9" presetClass="entr" presetSubtype="0" fill="hold" grpId="0" nodeType="afterEffect">
                                  <p:stCondLst>
                                    <p:cond delay="0"/>
                                  </p:stCondLst>
                                  <p:childTnLst>
                                    <p:set>
                                      <p:cBhvr>
                                        <p:cTn id="61" dur="1" fill="hold">
                                          <p:stCondLst>
                                            <p:cond delay="0"/>
                                          </p:stCondLst>
                                        </p:cTn>
                                        <p:tgtEl>
                                          <p:spTgt spid="125">
                                            <p:txEl>
                                              <p:pRg st="0" end="0"/>
                                            </p:txEl>
                                          </p:spTgt>
                                        </p:tgtEl>
                                        <p:attrNameLst>
                                          <p:attrName>style.visibility</p:attrName>
                                        </p:attrNameLst>
                                      </p:cBhvr>
                                      <p:to>
                                        <p:strVal val="visible"/>
                                      </p:to>
                                    </p:set>
                                    <p:animEffect transition="in" filter="dissolve">
                                      <p:cBhvr>
                                        <p:cTn id="62" dur="500"/>
                                        <p:tgtEl>
                                          <p:spTgt spid="125">
                                            <p:txEl>
                                              <p:pRg st="0" end="0"/>
                                            </p:txEl>
                                          </p:spTgt>
                                        </p:tgtEl>
                                      </p:cBhvr>
                                    </p:animEffect>
                                  </p:childTnLst>
                                </p:cTn>
                              </p:par>
                            </p:childTnLst>
                          </p:cTn>
                        </p:par>
                        <p:par>
                          <p:cTn id="63" fill="hold">
                            <p:stCondLst>
                              <p:cond delay="7000"/>
                            </p:stCondLst>
                            <p:childTnLst>
                              <p:par>
                                <p:cTn id="64" presetID="22" presetClass="entr" presetSubtype="2" fill="hold" grpId="0" nodeType="afterEffect">
                                  <p:stCondLst>
                                    <p:cond delay="0"/>
                                  </p:stCondLst>
                                  <p:childTnLst>
                                    <p:set>
                                      <p:cBhvr>
                                        <p:cTn id="65" dur="1" fill="hold">
                                          <p:stCondLst>
                                            <p:cond delay="0"/>
                                          </p:stCondLst>
                                        </p:cTn>
                                        <p:tgtEl>
                                          <p:spTgt spid="69"/>
                                        </p:tgtEl>
                                        <p:attrNameLst>
                                          <p:attrName>style.visibility</p:attrName>
                                        </p:attrNameLst>
                                      </p:cBhvr>
                                      <p:to>
                                        <p:strVal val="visible"/>
                                      </p:to>
                                    </p:set>
                                    <p:animEffect transition="in" filter="wipe(right)">
                                      <p:cBhvr>
                                        <p:cTn id="66" dur="500"/>
                                        <p:tgtEl>
                                          <p:spTgt spid="69"/>
                                        </p:tgtEl>
                                      </p:cBhvr>
                                    </p:animEffect>
                                  </p:childTnLst>
                                </p:cTn>
                              </p:par>
                            </p:childTnLst>
                          </p:cTn>
                        </p:par>
                        <p:par>
                          <p:cTn id="67" fill="hold">
                            <p:stCondLst>
                              <p:cond delay="7500"/>
                            </p:stCondLst>
                            <p:childTnLst>
                              <p:par>
                                <p:cTn id="68" presetID="9" presetClass="entr" presetSubtype="0" fill="hold" grpId="0" nodeType="afterEffect">
                                  <p:stCondLst>
                                    <p:cond delay="0"/>
                                  </p:stCondLst>
                                  <p:childTnLst>
                                    <p:set>
                                      <p:cBhvr>
                                        <p:cTn id="69" dur="1" fill="hold">
                                          <p:stCondLst>
                                            <p:cond delay="0"/>
                                          </p:stCondLst>
                                        </p:cTn>
                                        <p:tgtEl>
                                          <p:spTgt spid="130">
                                            <p:txEl>
                                              <p:pRg st="0" end="0"/>
                                            </p:txEl>
                                          </p:spTgt>
                                        </p:tgtEl>
                                        <p:attrNameLst>
                                          <p:attrName>style.visibility</p:attrName>
                                        </p:attrNameLst>
                                      </p:cBhvr>
                                      <p:to>
                                        <p:strVal val="visible"/>
                                      </p:to>
                                    </p:set>
                                    <p:animEffect transition="in" filter="dissolve">
                                      <p:cBhvr>
                                        <p:cTn id="70" dur="500"/>
                                        <p:tgtEl>
                                          <p:spTgt spid="130">
                                            <p:txEl>
                                              <p:pRg st="0" end="0"/>
                                            </p:txEl>
                                          </p:spTgt>
                                        </p:tgtEl>
                                      </p:cBhvr>
                                    </p:animEffect>
                                  </p:childTnLst>
                                </p:cTn>
                              </p:par>
                            </p:childTnLst>
                          </p:cTn>
                        </p:par>
                        <p:par>
                          <p:cTn id="71" fill="hold">
                            <p:stCondLst>
                              <p:cond delay="8000"/>
                            </p:stCondLst>
                            <p:childTnLst>
                              <p:par>
                                <p:cTn id="72" presetID="22" presetClass="entr" presetSubtype="8" fill="hold" grpId="0" nodeType="afterEffect">
                                  <p:stCondLst>
                                    <p:cond delay="0"/>
                                  </p:stCondLst>
                                  <p:childTnLst>
                                    <p:set>
                                      <p:cBhvr>
                                        <p:cTn id="73" dur="1" fill="hold">
                                          <p:stCondLst>
                                            <p:cond delay="0"/>
                                          </p:stCondLst>
                                        </p:cTn>
                                        <p:tgtEl>
                                          <p:spTgt spid="70"/>
                                        </p:tgtEl>
                                        <p:attrNameLst>
                                          <p:attrName>style.visibility</p:attrName>
                                        </p:attrNameLst>
                                      </p:cBhvr>
                                      <p:to>
                                        <p:strVal val="visible"/>
                                      </p:to>
                                    </p:set>
                                    <p:animEffect transition="in" filter="wipe(left)">
                                      <p:cBhvr>
                                        <p:cTn id="74" dur="500"/>
                                        <p:tgtEl>
                                          <p:spTgt spid="70"/>
                                        </p:tgtEl>
                                      </p:cBhvr>
                                    </p:animEffect>
                                  </p:childTnLst>
                                </p:cTn>
                              </p:par>
                            </p:childTnLst>
                          </p:cTn>
                        </p:par>
                        <p:par>
                          <p:cTn id="75" fill="hold">
                            <p:stCondLst>
                              <p:cond delay="8500"/>
                            </p:stCondLst>
                            <p:childTnLst>
                              <p:par>
                                <p:cTn id="76" presetID="9" presetClass="entr" presetSubtype="0" fill="hold" grpId="0" nodeType="afterEffect">
                                  <p:stCondLst>
                                    <p:cond delay="0"/>
                                  </p:stCondLst>
                                  <p:childTnLst>
                                    <p:set>
                                      <p:cBhvr>
                                        <p:cTn id="77" dur="1" fill="hold">
                                          <p:stCondLst>
                                            <p:cond delay="0"/>
                                          </p:stCondLst>
                                        </p:cTn>
                                        <p:tgtEl>
                                          <p:spTgt spid="126">
                                            <p:txEl>
                                              <p:pRg st="0" end="0"/>
                                            </p:txEl>
                                          </p:spTgt>
                                        </p:tgtEl>
                                        <p:attrNameLst>
                                          <p:attrName>style.visibility</p:attrName>
                                        </p:attrNameLst>
                                      </p:cBhvr>
                                      <p:to>
                                        <p:strVal val="visible"/>
                                      </p:to>
                                    </p:set>
                                    <p:animEffect transition="in" filter="dissolve">
                                      <p:cBhvr>
                                        <p:cTn id="78" dur="500"/>
                                        <p:tgtEl>
                                          <p:spTgt spid="126">
                                            <p:txEl>
                                              <p:pRg st="0" end="0"/>
                                            </p:txEl>
                                          </p:spTgt>
                                        </p:tgtEl>
                                      </p:cBhvr>
                                    </p:animEffect>
                                  </p:childTnLst>
                                </p:cTn>
                              </p:par>
                            </p:childTnLst>
                          </p:cTn>
                        </p:par>
                        <p:par>
                          <p:cTn id="79" fill="hold">
                            <p:stCondLst>
                              <p:cond delay="9000"/>
                            </p:stCondLst>
                            <p:childTnLst>
                              <p:par>
                                <p:cTn id="80" presetID="22" presetClass="entr" presetSubtype="2" fill="hold" grpId="0" nodeType="after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wipe(right)">
                                      <p:cBhvr>
                                        <p:cTn id="82" dur="500"/>
                                        <p:tgtEl>
                                          <p:spTgt spid="73"/>
                                        </p:tgtEl>
                                      </p:cBhvr>
                                    </p:animEffect>
                                  </p:childTnLst>
                                </p:cTn>
                              </p:par>
                            </p:childTnLst>
                          </p:cTn>
                        </p:par>
                        <p:par>
                          <p:cTn id="83" fill="hold">
                            <p:stCondLst>
                              <p:cond delay="9500"/>
                            </p:stCondLst>
                            <p:childTnLst>
                              <p:par>
                                <p:cTn id="84" presetID="9" presetClass="entr" presetSubtype="0" fill="hold" grpId="0" nodeType="afterEffect">
                                  <p:stCondLst>
                                    <p:cond delay="0"/>
                                  </p:stCondLst>
                                  <p:childTnLst>
                                    <p:set>
                                      <p:cBhvr>
                                        <p:cTn id="85" dur="1" fill="hold">
                                          <p:stCondLst>
                                            <p:cond delay="0"/>
                                          </p:stCondLst>
                                        </p:cTn>
                                        <p:tgtEl>
                                          <p:spTgt spid="131">
                                            <p:txEl>
                                              <p:pRg st="0" end="0"/>
                                            </p:txEl>
                                          </p:spTgt>
                                        </p:tgtEl>
                                        <p:attrNameLst>
                                          <p:attrName>style.visibility</p:attrName>
                                        </p:attrNameLst>
                                      </p:cBhvr>
                                      <p:to>
                                        <p:strVal val="visible"/>
                                      </p:to>
                                    </p:set>
                                    <p:animEffect transition="in" filter="dissolve">
                                      <p:cBhvr>
                                        <p:cTn id="86" dur="500"/>
                                        <p:tgtEl>
                                          <p:spTgt spid="131">
                                            <p:txEl>
                                              <p:pRg st="0" end="0"/>
                                            </p:txEl>
                                          </p:spTgt>
                                        </p:tgtEl>
                                      </p:cBhvr>
                                    </p:animEffect>
                                  </p:childTnLst>
                                </p:cTn>
                              </p:par>
                            </p:childTnLst>
                          </p:cTn>
                        </p:par>
                        <p:par>
                          <p:cTn id="87" fill="hold">
                            <p:stCondLst>
                              <p:cond delay="10000"/>
                            </p:stCondLst>
                            <p:childTnLst>
                              <p:par>
                                <p:cTn id="88" presetID="22" presetClass="entr" presetSubtype="8" fill="hold" grpId="0" nodeType="afterEffect">
                                  <p:stCondLst>
                                    <p:cond delay="0"/>
                                  </p:stCondLst>
                                  <p:childTnLst>
                                    <p:set>
                                      <p:cBhvr>
                                        <p:cTn id="89" dur="1" fill="hold">
                                          <p:stCondLst>
                                            <p:cond delay="0"/>
                                          </p:stCondLst>
                                        </p:cTn>
                                        <p:tgtEl>
                                          <p:spTgt spid="83"/>
                                        </p:tgtEl>
                                        <p:attrNameLst>
                                          <p:attrName>style.visibility</p:attrName>
                                        </p:attrNameLst>
                                      </p:cBhvr>
                                      <p:to>
                                        <p:strVal val="visible"/>
                                      </p:to>
                                    </p:set>
                                    <p:animEffect transition="in" filter="wipe(left)">
                                      <p:cBhvr>
                                        <p:cTn id="90" dur="500"/>
                                        <p:tgtEl>
                                          <p:spTgt spid="83"/>
                                        </p:tgtEl>
                                      </p:cBhvr>
                                    </p:animEffect>
                                  </p:childTnLst>
                                </p:cTn>
                              </p:par>
                            </p:childTnLst>
                          </p:cTn>
                        </p:par>
                        <p:par>
                          <p:cTn id="91" fill="hold">
                            <p:stCondLst>
                              <p:cond delay="10500"/>
                            </p:stCondLst>
                            <p:childTnLst>
                              <p:par>
                                <p:cTn id="92" presetID="9" presetClass="entr" presetSubtype="0" fill="hold" grpId="0" nodeType="afterEffect">
                                  <p:stCondLst>
                                    <p:cond delay="0"/>
                                  </p:stCondLst>
                                  <p:childTnLst>
                                    <p:set>
                                      <p:cBhvr>
                                        <p:cTn id="93" dur="1" fill="hold">
                                          <p:stCondLst>
                                            <p:cond delay="0"/>
                                          </p:stCondLst>
                                        </p:cTn>
                                        <p:tgtEl>
                                          <p:spTgt spid="127">
                                            <p:txEl>
                                              <p:pRg st="0" end="0"/>
                                            </p:txEl>
                                          </p:spTgt>
                                        </p:tgtEl>
                                        <p:attrNameLst>
                                          <p:attrName>style.visibility</p:attrName>
                                        </p:attrNameLst>
                                      </p:cBhvr>
                                      <p:to>
                                        <p:strVal val="visible"/>
                                      </p:to>
                                    </p:set>
                                    <p:animEffect transition="in" filter="dissolve">
                                      <p:cBhvr>
                                        <p:cTn id="94" dur="500"/>
                                        <p:tgtEl>
                                          <p:spTgt spid="127">
                                            <p:txEl>
                                              <p:pRg st="0" end="0"/>
                                            </p:txEl>
                                          </p:spTgt>
                                        </p:tgtEl>
                                      </p:cBhvr>
                                    </p:animEffect>
                                  </p:childTnLst>
                                </p:cTn>
                              </p:par>
                            </p:childTnLst>
                          </p:cTn>
                        </p:par>
                        <p:par>
                          <p:cTn id="95" fill="hold">
                            <p:stCondLst>
                              <p:cond delay="11000"/>
                            </p:stCondLst>
                            <p:childTnLst>
                              <p:par>
                                <p:cTn id="96" presetID="22" presetClass="entr" presetSubtype="2" fill="hold" grpId="0" nodeType="after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wipe(right)">
                                      <p:cBhvr>
                                        <p:cTn id="98" dur="500"/>
                                        <p:tgtEl>
                                          <p:spTgt spid="93"/>
                                        </p:tgtEl>
                                      </p:cBhvr>
                                    </p:animEffect>
                                  </p:childTnLst>
                                </p:cTn>
                              </p:par>
                            </p:childTnLst>
                          </p:cTn>
                        </p:par>
                        <p:par>
                          <p:cTn id="99" fill="hold">
                            <p:stCondLst>
                              <p:cond delay="11500"/>
                            </p:stCondLst>
                            <p:childTnLst>
                              <p:par>
                                <p:cTn id="100" presetID="9" presetClass="entr" presetSubtype="0" fill="hold" grpId="0" nodeType="afterEffect">
                                  <p:stCondLst>
                                    <p:cond delay="0"/>
                                  </p:stCondLst>
                                  <p:childTnLst>
                                    <p:set>
                                      <p:cBhvr>
                                        <p:cTn id="101" dur="1" fill="hold">
                                          <p:stCondLst>
                                            <p:cond delay="0"/>
                                          </p:stCondLst>
                                        </p:cTn>
                                        <p:tgtEl>
                                          <p:spTgt spid="132">
                                            <p:txEl>
                                              <p:pRg st="0" end="0"/>
                                            </p:txEl>
                                          </p:spTgt>
                                        </p:tgtEl>
                                        <p:attrNameLst>
                                          <p:attrName>style.visibility</p:attrName>
                                        </p:attrNameLst>
                                      </p:cBhvr>
                                      <p:to>
                                        <p:strVal val="visible"/>
                                      </p:to>
                                    </p:set>
                                    <p:animEffect transition="in" filter="dissolve">
                                      <p:cBhvr>
                                        <p:cTn id="102" dur="500"/>
                                        <p:tgtEl>
                                          <p:spTgt spid="132">
                                            <p:txEl>
                                              <p:pRg st="0" end="0"/>
                                            </p:txEl>
                                          </p:spTgt>
                                        </p:tgtEl>
                                      </p:cBhvr>
                                    </p:animEffect>
                                  </p:childTnLst>
                                </p:cTn>
                              </p:par>
                            </p:childTnLst>
                          </p:cTn>
                        </p:par>
                        <p:par>
                          <p:cTn id="103" fill="hold">
                            <p:stCondLst>
                              <p:cond delay="12000"/>
                            </p:stCondLst>
                            <p:childTnLst>
                              <p:par>
                                <p:cTn id="104" presetID="22" presetClass="entr" presetSubtype="8" fill="hold" grpId="0" nodeType="afterEffect">
                                  <p:stCondLst>
                                    <p:cond delay="0"/>
                                  </p:stCondLst>
                                  <p:childTnLst>
                                    <p:set>
                                      <p:cBhvr>
                                        <p:cTn id="105" dur="1" fill="hold">
                                          <p:stCondLst>
                                            <p:cond delay="0"/>
                                          </p:stCondLst>
                                        </p:cTn>
                                        <p:tgtEl>
                                          <p:spTgt spid="99"/>
                                        </p:tgtEl>
                                        <p:attrNameLst>
                                          <p:attrName>style.visibility</p:attrName>
                                        </p:attrNameLst>
                                      </p:cBhvr>
                                      <p:to>
                                        <p:strVal val="visible"/>
                                      </p:to>
                                    </p:set>
                                    <p:animEffect transition="in" filter="wipe(left)">
                                      <p:cBhvr>
                                        <p:cTn id="106" dur="500"/>
                                        <p:tgtEl>
                                          <p:spTgt spid="99"/>
                                        </p:tgtEl>
                                      </p:cBhvr>
                                    </p:animEffect>
                                  </p:childTnLst>
                                </p:cTn>
                              </p:par>
                            </p:childTnLst>
                          </p:cTn>
                        </p:par>
                        <p:par>
                          <p:cTn id="107" fill="hold">
                            <p:stCondLst>
                              <p:cond delay="12500"/>
                            </p:stCondLst>
                            <p:childTnLst>
                              <p:par>
                                <p:cTn id="108" presetID="9" presetClass="entr" presetSubtype="0" fill="hold" grpId="0" nodeType="afterEffect">
                                  <p:stCondLst>
                                    <p:cond delay="0"/>
                                  </p:stCondLst>
                                  <p:childTnLst>
                                    <p:set>
                                      <p:cBhvr>
                                        <p:cTn id="109" dur="1" fill="hold">
                                          <p:stCondLst>
                                            <p:cond delay="0"/>
                                          </p:stCondLst>
                                        </p:cTn>
                                        <p:tgtEl>
                                          <p:spTgt spid="128">
                                            <p:txEl>
                                              <p:pRg st="0" end="0"/>
                                            </p:txEl>
                                          </p:spTgt>
                                        </p:tgtEl>
                                        <p:attrNameLst>
                                          <p:attrName>style.visibility</p:attrName>
                                        </p:attrNameLst>
                                      </p:cBhvr>
                                      <p:to>
                                        <p:strVal val="visible"/>
                                      </p:to>
                                    </p:set>
                                    <p:animEffect transition="in" filter="dissolve">
                                      <p:cBhvr>
                                        <p:cTn id="110" dur="500"/>
                                        <p:tgtEl>
                                          <p:spTgt spid="1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57" grpId="0"/>
      <p:bldP spid="62" grpId="0" animBg="1"/>
      <p:bldP spid="64" grpId="0" animBg="1"/>
      <p:bldP spid="66" grpId="0" animBg="1"/>
      <p:bldP spid="69" grpId="0" animBg="1"/>
      <p:bldP spid="70" grpId="0" animBg="1"/>
      <p:bldP spid="73" grpId="0" animBg="1"/>
      <p:bldP spid="83" grpId="0" animBg="1"/>
      <p:bldP spid="93" grpId="0" animBg="1"/>
      <p:bldP spid="99" grpId="0" animBg="1"/>
      <p:bldP spid="120" grpId="0" build="p">
        <p:tmplLst>
          <p:tmpl lvl="1">
            <p:tnLst>
              <p:par>
                <p:cTn presetID="9"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dissolve">
                      <p:cBhvr>
                        <p:cTn dur="500"/>
                        <p:tgtEl>
                          <p:spTgt spid="120"/>
                        </p:tgtEl>
                      </p:cBhvr>
                    </p:animEffect>
                  </p:childTnLst>
                </p:cTn>
              </p:par>
            </p:tnLst>
          </p:tmpl>
        </p:tmplLst>
      </p:bldP>
      <p:bldP spid="121" grpId="0" build="p">
        <p:tmplLst>
          <p:tmpl lvl="1">
            <p:tnLst>
              <p:par>
                <p:cTn presetID="9" presetClass="entr" presetSubtype="0" fill="hold" nodeType="afterEffect">
                  <p:stCondLst>
                    <p:cond delay="0"/>
                  </p:stCondLst>
                  <p:childTnLst>
                    <p:set>
                      <p:cBhvr>
                        <p:cTn dur="1" fill="hold">
                          <p:stCondLst>
                            <p:cond delay="0"/>
                          </p:stCondLst>
                        </p:cTn>
                        <p:tgtEl>
                          <p:spTgt spid="121"/>
                        </p:tgtEl>
                        <p:attrNameLst>
                          <p:attrName>style.visibility</p:attrName>
                        </p:attrNameLst>
                      </p:cBhvr>
                      <p:to>
                        <p:strVal val="visible"/>
                      </p:to>
                    </p:set>
                    <p:animEffect transition="in" filter="dissolve">
                      <p:cBhvr>
                        <p:cTn dur="500"/>
                        <p:tgtEl>
                          <p:spTgt spid="121"/>
                        </p:tgtEl>
                      </p:cBhvr>
                    </p:animEffect>
                  </p:childTnLst>
                </p:cTn>
              </p:par>
            </p:tnLst>
          </p:tmpl>
        </p:tmplLst>
      </p:bldP>
      <p:bldP spid="122" grpId="0" build="p">
        <p:tmplLst>
          <p:tmpl lvl="1">
            <p:tnLst>
              <p:par>
                <p:cTn presetID="9"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dissolve">
                      <p:cBhvr>
                        <p:cTn dur="500"/>
                        <p:tgtEl>
                          <p:spTgt spid="122"/>
                        </p:tgtEl>
                      </p:cBhvr>
                    </p:animEffect>
                  </p:childTnLst>
                </p:cTn>
              </p:par>
            </p:tnLst>
          </p:tmpl>
        </p:tmplLst>
      </p:bldP>
      <p:bldP spid="123" grpId="0" build="p">
        <p:tmplLst>
          <p:tmpl lvl="1">
            <p:tnLst>
              <p:par>
                <p:cTn presetID="9"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dissolve">
                      <p:cBhvr>
                        <p:cTn dur="500"/>
                        <p:tgtEl>
                          <p:spTgt spid="123"/>
                        </p:tgtEl>
                      </p:cBhvr>
                    </p:animEffect>
                  </p:childTnLst>
                </p:cTn>
              </p:par>
            </p:tnLst>
          </p:tmpl>
        </p:tmplLst>
      </p:bldP>
      <p:bldP spid="125" grpId="0" build="p">
        <p:tmplLst>
          <p:tmpl lvl="1">
            <p:tnLst>
              <p:par>
                <p:cTn presetID="9" presetClass="entr" presetSubtype="0" fill="hold" nodeType="afterEffect">
                  <p:stCondLst>
                    <p:cond delay="0"/>
                  </p:stCondLst>
                  <p:childTnLst>
                    <p:set>
                      <p:cBhvr>
                        <p:cTn dur="1" fill="hold">
                          <p:stCondLst>
                            <p:cond delay="0"/>
                          </p:stCondLst>
                        </p:cTn>
                        <p:tgtEl>
                          <p:spTgt spid="125"/>
                        </p:tgtEl>
                        <p:attrNameLst>
                          <p:attrName>style.visibility</p:attrName>
                        </p:attrNameLst>
                      </p:cBhvr>
                      <p:to>
                        <p:strVal val="visible"/>
                      </p:to>
                    </p:set>
                    <p:animEffect transition="in" filter="dissolve">
                      <p:cBhvr>
                        <p:cTn dur="500"/>
                        <p:tgtEl>
                          <p:spTgt spid="125"/>
                        </p:tgtEl>
                      </p:cBhvr>
                    </p:animEffect>
                  </p:childTnLst>
                </p:cTn>
              </p:par>
            </p:tnLst>
          </p:tmpl>
        </p:tmplLst>
      </p:bldP>
      <p:bldP spid="126" grpId="0" build="p">
        <p:tmplLst>
          <p:tmpl lvl="1">
            <p:tnLst>
              <p:par>
                <p:cTn presetID="9" presetClass="entr" presetSubtype="0" fill="hold" nodeType="afterEffect">
                  <p:stCondLst>
                    <p:cond delay="0"/>
                  </p:stCondLst>
                  <p:childTnLst>
                    <p:set>
                      <p:cBhvr>
                        <p:cTn dur="1" fill="hold">
                          <p:stCondLst>
                            <p:cond delay="0"/>
                          </p:stCondLst>
                        </p:cTn>
                        <p:tgtEl>
                          <p:spTgt spid="126"/>
                        </p:tgtEl>
                        <p:attrNameLst>
                          <p:attrName>style.visibility</p:attrName>
                        </p:attrNameLst>
                      </p:cBhvr>
                      <p:to>
                        <p:strVal val="visible"/>
                      </p:to>
                    </p:set>
                    <p:animEffect transition="in" filter="dissolve">
                      <p:cBhvr>
                        <p:cTn dur="500"/>
                        <p:tgtEl>
                          <p:spTgt spid="126"/>
                        </p:tgtEl>
                      </p:cBhvr>
                    </p:animEffect>
                  </p:childTnLst>
                </p:cTn>
              </p:par>
            </p:tnLst>
          </p:tmpl>
        </p:tmplLst>
      </p:bldP>
      <p:bldP spid="127" grpId="0" build="p">
        <p:tmplLst>
          <p:tmpl lvl="1">
            <p:tnLst>
              <p:par>
                <p:cTn presetID="9" presetClass="entr" presetSubtype="0" fill="hold" nodeType="afterEffect">
                  <p:stCondLst>
                    <p:cond delay="0"/>
                  </p:stCondLst>
                  <p:childTnLst>
                    <p:set>
                      <p:cBhvr>
                        <p:cTn dur="1" fill="hold">
                          <p:stCondLst>
                            <p:cond delay="0"/>
                          </p:stCondLst>
                        </p:cTn>
                        <p:tgtEl>
                          <p:spTgt spid="127"/>
                        </p:tgtEl>
                        <p:attrNameLst>
                          <p:attrName>style.visibility</p:attrName>
                        </p:attrNameLst>
                      </p:cBhvr>
                      <p:to>
                        <p:strVal val="visible"/>
                      </p:to>
                    </p:set>
                    <p:animEffect transition="in" filter="dissolve">
                      <p:cBhvr>
                        <p:cTn dur="500"/>
                        <p:tgtEl>
                          <p:spTgt spid="127"/>
                        </p:tgtEl>
                      </p:cBhvr>
                    </p:animEffect>
                  </p:childTnLst>
                </p:cTn>
              </p:par>
            </p:tnLst>
          </p:tmpl>
        </p:tmplLst>
      </p:bldP>
      <p:bldP spid="128" grpId="0" build="p">
        <p:tmplLst>
          <p:tmpl lvl="1">
            <p:tnLst>
              <p:par>
                <p:cTn presetID="9" presetClass="entr" presetSubtype="0" fill="hold" nodeType="afterEffect">
                  <p:stCondLst>
                    <p:cond delay="0"/>
                  </p:stCondLst>
                  <p:childTnLst>
                    <p:set>
                      <p:cBhvr>
                        <p:cTn dur="1" fill="hold">
                          <p:stCondLst>
                            <p:cond delay="0"/>
                          </p:stCondLst>
                        </p:cTn>
                        <p:tgtEl>
                          <p:spTgt spid="128"/>
                        </p:tgtEl>
                        <p:attrNameLst>
                          <p:attrName>style.visibility</p:attrName>
                        </p:attrNameLst>
                      </p:cBhvr>
                      <p:to>
                        <p:strVal val="visible"/>
                      </p:to>
                    </p:set>
                    <p:animEffect transition="in" filter="dissolve">
                      <p:cBhvr>
                        <p:cTn dur="500"/>
                        <p:tgtEl>
                          <p:spTgt spid="128"/>
                        </p:tgtEl>
                      </p:cBhvr>
                    </p:animEffect>
                  </p:childTnLst>
                </p:cTn>
              </p:par>
            </p:tnLst>
          </p:tmpl>
        </p:tmplLst>
      </p:bldP>
      <p:bldP spid="129" grpId="0" build="p">
        <p:tmplLst>
          <p:tmpl lvl="1">
            <p:tnLst>
              <p:par>
                <p:cTn presetID="9" presetClass="entr" presetSubtype="0" fill="hold" nodeType="afterEffect">
                  <p:stCondLst>
                    <p:cond delay="0"/>
                  </p:stCondLst>
                  <p:childTnLst>
                    <p:set>
                      <p:cBhvr>
                        <p:cTn dur="1" fill="hold">
                          <p:stCondLst>
                            <p:cond delay="0"/>
                          </p:stCondLst>
                        </p:cTn>
                        <p:tgtEl>
                          <p:spTgt spid="129"/>
                        </p:tgtEl>
                        <p:attrNameLst>
                          <p:attrName>style.visibility</p:attrName>
                        </p:attrNameLst>
                      </p:cBhvr>
                      <p:to>
                        <p:strVal val="visible"/>
                      </p:to>
                    </p:set>
                    <p:animEffect transition="in" filter="dissolve">
                      <p:cBhvr>
                        <p:cTn dur="500"/>
                        <p:tgtEl>
                          <p:spTgt spid="129"/>
                        </p:tgtEl>
                      </p:cBhvr>
                    </p:animEffect>
                  </p:childTnLst>
                </p:cTn>
              </p:par>
            </p:tnLst>
          </p:tmpl>
        </p:tmplLst>
      </p:bldP>
      <p:bldP spid="130" grpId="0" build="p">
        <p:tmplLst>
          <p:tmpl lvl="1">
            <p:tnLst>
              <p:par>
                <p:cTn presetID="9" presetClass="entr" presetSubtype="0" fill="hold" nodeType="afterEffect">
                  <p:stCondLst>
                    <p:cond delay="0"/>
                  </p:stCondLst>
                  <p:childTnLst>
                    <p:set>
                      <p:cBhvr>
                        <p:cTn dur="1" fill="hold">
                          <p:stCondLst>
                            <p:cond delay="0"/>
                          </p:stCondLst>
                        </p:cTn>
                        <p:tgtEl>
                          <p:spTgt spid="130"/>
                        </p:tgtEl>
                        <p:attrNameLst>
                          <p:attrName>style.visibility</p:attrName>
                        </p:attrNameLst>
                      </p:cBhvr>
                      <p:to>
                        <p:strVal val="visible"/>
                      </p:to>
                    </p:set>
                    <p:animEffect transition="in" filter="dissolve">
                      <p:cBhvr>
                        <p:cTn dur="500"/>
                        <p:tgtEl>
                          <p:spTgt spid="130"/>
                        </p:tgtEl>
                      </p:cBhvr>
                    </p:animEffect>
                  </p:childTnLst>
                </p:cTn>
              </p:par>
            </p:tnLst>
          </p:tmpl>
        </p:tmplLst>
      </p:bldP>
      <p:bldP spid="131" grpId="0" build="p">
        <p:tmplLst>
          <p:tmpl lvl="1">
            <p:tnLst>
              <p:par>
                <p:cTn presetID="9" presetClass="entr" presetSubtype="0" fill="hold" nodeType="afterEffect">
                  <p:stCondLst>
                    <p:cond delay="0"/>
                  </p:stCondLst>
                  <p:childTnLst>
                    <p:set>
                      <p:cBhvr>
                        <p:cTn dur="1" fill="hold">
                          <p:stCondLst>
                            <p:cond delay="0"/>
                          </p:stCondLst>
                        </p:cTn>
                        <p:tgtEl>
                          <p:spTgt spid="131"/>
                        </p:tgtEl>
                        <p:attrNameLst>
                          <p:attrName>style.visibility</p:attrName>
                        </p:attrNameLst>
                      </p:cBhvr>
                      <p:to>
                        <p:strVal val="visible"/>
                      </p:to>
                    </p:set>
                    <p:animEffect transition="in" filter="dissolve">
                      <p:cBhvr>
                        <p:cTn dur="500"/>
                        <p:tgtEl>
                          <p:spTgt spid="131"/>
                        </p:tgtEl>
                      </p:cBhvr>
                    </p:animEffect>
                  </p:childTnLst>
                </p:cTn>
              </p:par>
            </p:tnLst>
          </p:tmpl>
        </p:tmplLst>
      </p:bldP>
      <p:bldP spid="132" grpId="0" build="p">
        <p:tmplLst>
          <p:tmpl lvl="1">
            <p:tnLst>
              <p:par>
                <p:cTn presetID="9" presetClass="entr" presetSubtype="0" fill="hold" nodeType="afterEffect">
                  <p:stCondLst>
                    <p:cond delay="0"/>
                  </p:stCondLst>
                  <p:childTnLst>
                    <p:set>
                      <p:cBhvr>
                        <p:cTn dur="1" fill="hold">
                          <p:stCondLst>
                            <p:cond delay="0"/>
                          </p:stCondLst>
                        </p:cTn>
                        <p:tgtEl>
                          <p:spTgt spid="132"/>
                        </p:tgtEl>
                        <p:attrNameLst>
                          <p:attrName>style.visibility</p:attrName>
                        </p:attrNameLst>
                      </p:cBhvr>
                      <p:to>
                        <p:strVal val="visible"/>
                      </p:to>
                    </p:set>
                    <p:animEffect transition="in" filter="dissolve">
                      <p:cBhvr>
                        <p:cTn dur="500"/>
                        <p:tgtEl>
                          <p:spTgt spid="132"/>
                        </p:tgtEl>
                      </p:cBhvr>
                    </p:animEffect>
                  </p:childTnLst>
                </p:cTn>
              </p:par>
            </p:tnLst>
          </p:tmpl>
        </p:tmplLst>
      </p:bldP>
      <p:bldP spid="133" grpId="0" build="p">
        <p:tmplLst>
          <p:tmpl lvl="1">
            <p:tnLst>
              <p:par>
                <p:cTn presetID="9" presetClass="entr" presetSubtype="0" fill="hold" nodeType="withEffect">
                  <p:stCondLst>
                    <p:cond delay="0"/>
                  </p:stCondLst>
                  <p:childTnLst>
                    <p:set>
                      <p:cBhvr>
                        <p:cTn dur="1" fill="hold">
                          <p:stCondLst>
                            <p:cond delay="0"/>
                          </p:stCondLst>
                        </p:cTn>
                        <p:tgtEl>
                          <p:spTgt spid="133"/>
                        </p:tgtEl>
                        <p:attrNameLst>
                          <p:attrName>style.visibility</p:attrName>
                        </p:attrNameLst>
                      </p:cBhvr>
                      <p:to>
                        <p:strVal val="visible"/>
                      </p:to>
                    </p:set>
                    <p:animEffect transition="in" filter="dissolve">
                      <p:cBhvr>
                        <p:cTn dur="500"/>
                        <p:tgtEl>
                          <p:spTgt spid="133"/>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67" name="Shape 106"/>
          <p:cNvSpPr/>
          <p:nvPr userDrawn="1"/>
        </p:nvSpPr>
        <p:spPr>
          <a:xfrm>
            <a:off x="1212821" y="2910539"/>
            <a:ext cx="4329165" cy="1437847"/>
          </a:xfrm>
          <a:prstGeom prst="rect">
            <a:avLst/>
          </a:prstGeom>
          <a:solidFill>
            <a:schemeClr val="accent5"/>
          </a:solidFill>
          <a:ln w="12700">
            <a:miter lim="400000"/>
          </a:ln>
        </p:spPr>
        <p:txBody>
          <a:bodyPr lIns="25395" tIns="25395" rIns="25395" bIns="25395"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p>
        </p:txBody>
      </p:sp>
      <p:sp>
        <p:nvSpPr>
          <p:cNvPr id="3" name="Picture Placeholder 2"/>
          <p:cNvSpPr>
            <a:spLocks noGrp="1"/>
          </p:cNvSpPr>
          <p:nvPr>
            <p:ph type="pic" sz="quarter" idx="22"/>
          </p:nvPr>
        </p:nvSpPr>
        <p:spPr>
          <a:xfrm>
            <a:off x="2574904" y="2734658"/>
            <a:ext cx="2787730" cy="1781093"/>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6087634" y="2861878"/>
            <a:ext cx="29718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6087634" y="3292883"/>
            <a:ext cx="5188378" cy="1126717"/>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endParaRPr lang="en-US" dirty="0"/>
          </a:p>
        </p:txBody>
      </p:sp>
    </p:spTree>
    <p:extLst>
      <p:ext uri="{BB962C8B-B14F-4D97-AF65-F5344CB8AC3E}">
        <p14:creationId xmlns:p14="http://schemas.microsoft.com/office/powerpoint/2010/main" val="416465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wipe(left)">
                                      <p:cBhvr>
                                        <p:cTn id="15" dur="500"/>
                                        <p:tgtEl>
                                          <p:spTgt spid="67"/>
                                        </p:tgtEl>
                                      </p:cBhvr>
                                    </p:animEffect>
                                  </p:childTnLst>
                                </p:cTn>
                              </p:par>
                            </p:childTnLst>
                          </p:cTn>
                        </p:par>
                        <p:par>
                          <p:cTn id="16" fill="hold">
                            <p:stCondLst>
                              <p:cond delay="1500"/>
                            </p:stCondLst>
                            <p:childTnLst>
                              <p:par>
                                <p:cTn id="17" presetID="22" presetClass="entr" presetSubtype="2" fill="hold" grpId="0" nodeType="afterEffect" nodePh="1">
                                  <p:stCondLst>
                                    <p:cond delay="0"/>
                                  </p:stCondLst>
                                  <p:endCondLst>
                                    <p:cond evt="begin" delay="0">
                                      <p:tn val="17"/>
                                    </p:cond>
                                  </p:endCondLst>
                                  <p:childTnLst>
                                    <p:set>
                                      <p:cBhvr>
                                        <p:cTn id="18" dur="1" fill="hold">
                                          <p:stCondLst>
                                            <p:cond delay="0"/>
                                          </p:stCondLst>
                                        </p:cTn>
                                        <p:tgtEl>
                                          <p:spTgt spid="3"/>
                                        </p:tgtEl>
                                        <p:attrNameLst>
                                          <p:attrName>style.visibility</p:attrName>
                                        </p:attrNameLst>
                                      </p:cBhvr>
                                      <p:to>
                                        <p:strVal val="visible"/>
                                      </p:to>
                                    </p:set>
                                    <p:animEffect transition="in" filter="wipe(right)">
                                      <p:cBhvr>
                                        <p:cTn id="19" dur="500"/>
                                        <p:tgtEl>
                                          <p:spTgt spid="3"/>
                                        </p:tgtEl>
                                      </p:cBhvr>
                                    </p:animEffect>
                                  </p:childTnLst>
                                </p:cTn>
                              </p:par>
                            </p:childTnLst>
                          </p:cTn>
                        </p:par>
                        <p:par>
                          <p:cTn id="20" fill="hold">
                            <p:stCondLst>
                              <p:cond delay="2000"/>
                            </p:stCondLst>
                            <p:childTnLst>
                              <p:par>
                                <p:cTn id="21" presetID="9" presetClass="entr" presetSubtype="0" fill="hold" grpId="0" nodeType="afterEffect" nodePh="1">
                                  <p:stCondLst>
                                    <p:cond delay="0"/>
                                  </p:stCondLst>
                                  <p:endCondLst>
                                    <p:cond evt="begin" delay="0">
                                      <p:tn val="21"/>
                                    </p:cond>
                                  </p:end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dissolve">
                                      <p:cBhvr>
                                        <p:cTn id="23" dur="500"/>
                                        <p:tgtEl>
                                          <p:spTgt spid="9">
                                            <p:txEl>
                                              <p:pRg st="0" end="0"/>
                                            </p:txEl>
                                          </p:spTgt>
                                        </p:tgtEl>
                                      </p:cBhvr>
                                    </p:animEffect>
                                  </p:childTnLst>
                                </p:cTn>
                              </p:par>
                            </p:childTnLst>
                          </p:cTn>
                        </p:par>
                        <p:par>
                          <p:cTn id="24" fill="hold">
                            <p:stCondLst>
                              <p:cond delay="2500"/>
                            </p:stCondLst>
                            <p:childTnLst>
                              <p:par>
                                <p:cTn id="25" presetID="9"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dissolve">
                                      <p:cBhvr>
                                        <p:cTn id="2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3" grpId="0"/>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4611742" y="3002509"/>
            <a:ext cx="2843043" cy="3855493"/>
          </a:xfrm>
        </p:spPr>
        <p:txBody>
          <a:bodyPr/>
          <a:lstStyle/>
          <a:p>
            <a:endParaRPr lang="en-US"/>
          </a:p>
        </p:txBody>
      </p:sp>
    </p:spTree>
    <p:extLst>
      <p:ext uri="{BB962C8B-B14F-4D97-AF65-F5344CB8AC3E}">
        <p14:creationId xmlns:p14="http://schemas.microsoft.com/office/powerpoint/2010/main" val="22020590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15" name="macbook-pro.png"/>
          <p:cNvPicPr/>
          <p:nvPr userDrawn="1"/>
        </p:nvPicPr>
        <p:blipFill>
          <a:blip r:embed="rId2" cstate="print">
            <a:extLst/>
          </a:blip>
          <a:stretch>
            <a:fillRect/>
          </a:stretch>
        </p:blipFill>
        <p:spPr>
          <a:xfrm>
            <a:off x="6170612" y="2183215"/>
            <a:ext cx="4876050" cy="2780420"/>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1217612" y="2644287"/>
            <a:ext cx="2971800"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endParaRPr lang="en-GB" dirty="0"/>
          </a:p>
        </p:txBody>
      </p:sp>
      <p:sp>
        <p:nvSpPr>
          <p:cNvPr id="10" name="Text Placeholder 17"/>
          <p:cNvSpPr>
            <a:spLocks noGrp="1"/>
          </p:cNvSpPr>
          <p:nvPr>
            <p:ph type="body" sz="quarter" idx="21"/>
          </p:nvPr>
        </p:nvSpPr>
        <p:spPr>
          <a:xfrm>
            <a:off x="1217612" y="2988083"/>
            <a:ext cx="4661641" cy="2035649"/>
          </a:xfrm>
        </p:spPr>
        <p:txBody>
          <a:bodyPr lIns="0" tIns="0" rIns="0" bIns="0">
            <a:normAutofit/>
          </a:bodyPr>
          <a:lstStyle>
            <a:lvl1pPr marL="0" indent="0" algn="l">
              <a:lnSpc>
                <a:spcPts val="1600"/>
              </a:lnSpc>
              <a:spcBef>
                <a:spcPts val="1500"/>
              </a:spcBef>
              <a:buNone/>
              <a:defRPr sz="1000">
                <a:solidFill>
                  <a:schemeClr val="tx1">
                    <a:lumMod val="65000"/>
                    <a:lumOff val="35000"/>
                  </a:schemeClr>
                </a:solidFill>
                <a:latin typeface="Source Sans Pro Light"/>
              </a:defRPr>
            </a:lvl1pPr>
          </a:lstStyle>
          <a:p>
            <a:pPr lvl="0"/>
            <a:endParaRPr lang="en-US" dirty="0"/>
          </a:p>
        </p:txBody>
      </p:sp>
      <p:sp>
        <p:nvSpPr>
          <p:cNvPr id="57" name="Picture Placeholder 2"/>
          <p:cNvSpPr>
            <a:spLocks noGrp="1"/>
          </p:cNvSpPr>
          <p:nvPr>
            <p:ph type="pic" sz="quarter" idx="23"/>
          </p:nvPr>
        </p:nvSpPr>
        <p:spPr>
          <a:xfrm>
            <a:off x="6932237" y="2362200"/>
            <a:ext cx="3352800" cy="2150559"/>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Tree>
    <p:extLst>
      <p:ext uri="{BB962C8B-B14F-4D97-AF65-F5344CB8AC3E}">
        <p14:creationId xmlns:p14="http://schemas.microsoft.com/office/powerpoint/2010/main" val="2140588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down)">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9" presetClass="entr" presetSubtype="0" fill="hold" grpId="0" nodeType="afterEffect" nodePh="1">
                                  <p:stCondLst>
                                    <p:cond delay="0"/>
                                  </p:stCondLst>
                                  <p:endCondLst>
                                    <p:cond evt="begin" delay="0">
                                      <p:tn val="21"/>
                                    </p:cond>
                                  </p:end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dissolve">
                                      <p:cBhvr>
                                        <p:cTn id="23" dur="500"/>
                                        <p:tgtEl>
                                          <p:spTgt spid="9">
                                            <p:txEl>
                                              <p:pRg st="0" end="0"/>
                                            </p:txEl>
                                          </p:spTgt>
                                        </p:tgtEl>
                                      </p:cBhvr>
                                    </p:animEffect>
                                  </p:childTnLst>
                                </p:cTn>
                              </p:par>
                            </p:childTnLst>
                          </p:cTn>
                        </p:par>
                        <p:par>
                          <p:cTn id="24" fill="hold">
                            <p:stCondLst>
                              <p:cond delay="2500"/>
                            </p:stCondLst>
                            <p:childTnLst>
                              <p:par>
                                <p:cTn id="25" presetID="9"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dissolve">
                                      <p:cBhvr>
                                        <p:cTn id="2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8" name="macbook-pro.png"/>
          <p:cNvPicPr/>
          <p:nvPr userDrawn="1"/>
        </p:nvPicPr>
        <p:blipFill>
          <a:blip r:embed="rId2" cstate="print">
            <a:extLst/>
          </a:blip>
          <a:stretch>
            <a:fillRect/>
          </a:stretch>
        </p:blipFill>
        <p:spPr>
          <a:xfrm>
            <a:off x="8151812" y="3595799"/>
            <a:ext cx="2801325" cy="1597372"/>
          </a:xfrm>
          <a:prstGeom prst="rect">
            <a:avLst/>
          </a:prstGeom>
          <a:ln w="12700">
            <a:miter lim="400000"/>
          </a:ln>
        </p:spPr>
      </p:pic>
      <p:pic>
        <p:nvPicPr>
          <p:cNvPr id="12" name="imac.png"/>
          <p:cNvPicPr/>
          <p:nvPr userDrawn="1"/>
        </p:nvPicPr>
        <p:blipFill>
          <a:blip r:embed="rId3" cstate="print">
            <a:extLst/>
          </a:blip>
          <a:stretch>
            <a:fillRect/>
          </a:stretch>
        </p:blipFill>
        <p:spPr>
          <a:xfrm>
            <a:off x="3934298" y="1870157"/>
            <a:ext cx="4320230" cy="3451284"/>
          </a:xfrm>
          <a:prstGeom prst="rect">
            <a:avLst/>
          </a:prstGeom>
          <a:ln w="12700">
            <a:miter lim="400000"/>
          </a:ln>
        </p:spPr>
      </p:pic>
      <p:pic>
        <p:nvPicPr>
          <p:cNvPr id="14" name="tablet-black.png"/>
          <p:cNvPicPr/>
          <p:nvPr userDrawn="1"/>
        </p:nvPicPr>
        <p:blipFill>
          <a:blip r:embed="rId4" cstate="print">
            <a:extLst/>
          </a:blip>
          <a:stretch>
            <a:fillRect/>
          </a:stretch>
        </p:blipFill>
        <p:spPr>
          <a:xfrm rot="5400000">
            <a:off x="1695779" y="3806509"/>
            <a:ext cx="1039680" cy="1467263"/>
          </a:xfrm>
          <a:prstGeom prst="rect">
            <a:avLst/>
          </a:prstGeom>
          <a:ln w="12700">
            <a:miter lim="400000"/>
          </a:ln>
        </p:spPr>
      </p:pic>
      <p:pic>
        <p:nvPicPr>
          <p:cNvPr id="18" name="tablet-white.png"/>
          <p:cNvPicPr/>
          <p:nvPr userDrawn="1"/>
        </p:nvPicPr>
        <p:blipFill>
          <a:blip r:embed="rId5" cstate="print">
            <a:extLst/>
          </a:blip>
          <a:stretch>
            <a:fillRect/>
          </a:stretch>
        </p:blipFill>
        <p:spPr>
          <a:xfrm>
            <a:off x="1480447" y="2505431"/>
            <a:ext cx="1040076" cy="1468587"/>
          </a:xfrm>
          <a:prstGeom prst="rect">
            <a:avLst/>
          </a:prstGeom>
          <a:ln w="12700">
            <a:miter lim="400000"/>
          </a:ln>
        </p:spPr>
      </p:pic>
      <p:pic>
        <p:nvPicPr>
          <p:cNvPr id="20" name="phone-black.png"/>
          <p:cNvPicPr/>
          <p:nvPr userDrawn="1"/>
        </p:nvPicPr>
        <p:blipFill>
          <a:blip r:embed="rId6" cstate="print">
            <a:extLst/>
          </a:blip>
          <a:srcRect/>
          <a:stretch>
            <a:fillRect/>
          </a:stretch>
        </p:blipFill>
        <p:spPr>
          <a:xfrm rot="16200000">
            <a:off x="2881949" y="3036823"/>
            <a:ext cx="622287" cy="1230639"/>
          </a:xfrm>
          <a:prstGeom prst="rect">
            <a:avLst/>
          </a:prstGeom>
          <a:ln w="12700">
            <a:miter lim="400000"/>
          </a:ln>
        </p:spPr>
      </p:pic>
      <p:pic>
        <p:nvPicPr>
          <p:cNvPr id="22" name="phone-white.png"/>
          <p:cNvPicPr/>
          <p:nvPr userDrawn="1"/>
        </p:nvPicPr>
        <p:blipFill>
          <a:blip r:embed="rId7" cstate="print">
            <a:extLst/>
          </a:blip>
          <a:stretch>
            <a:fillRect/>
          </a:stretch>
        </p:blipFill>
        <p:spPr>
          <a:xfrm>
            <a:off x="3032285" y="4026840"/>
            <a:ext cx="622124" cy="1230960"/>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57" name="Picture Placeholder 2"/>
          <p:cNvSpPr>
            <a:spLocks noGrp="1"/>
          </p:cNvSpPr>
          <p:nvPr>
            <p:ph type="pic" sz="quarter" idx="23"/>
          </p:nvPr>
        </p:nvSpPr>
        <p:spPr>
          <a:xfrm>
            <a:off x="4127004" y="2048131"/>
            <a:ext cx="3934818" cy="224417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5" name="Picture Placeholder 2"/>
          <p:cNvSpPr>
            <a:spLocks noGrp="1"/>
          </p:cNvSpPr>
          <p:nvPr>
            <p:ph type="pic" sz="quarter" idx="24"/>
          </p:nvPr>
        </p:nvSpPr>
        <p:spPr>
          <a:xfrm>
            <a:off x="8599974" y="3715450"/>
            <a:ext cx="1905000" cy="1237549"/>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6" name="Picture Placeholder 2"/>
          <p:cNvSpPr>
            <a:spLocks noGrp="1"/>
          </p:cNvSpPr>
          <p:nvPr>
            <p:ph type="pic" sz="quarter" idx="25"/>
          </p:nvPr>
        </p:nvSpPr>
        <p:spPr>
          <a:xfrm>
            <a:off x="1571391" y="2659219"/>
            <a:ext cx="858188" cy="1161011"/>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7" name="Picture Placeholder 2"/>
          <p:cNvSpPr>
            <a:spLocks noGrp="1"/>
          </p:cNvSpPr>
          <p:nvPr>
            <p:ph type="pic" sz="quarter" idx="26"/>
          </p:nvPr>
        </p:nvSpPr>
        <p:spPr>
          <a:xfrm>
            <a:off x="1628707" y="4102417"/>
            <a:ext cx="1173825" cy="875446"/>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8" name="Picture Placeholder 2"/>
          <p:cNvSpPr>
            <a:spLocks noGrp="1"/>
          </p:cNvSpPr>
          <p:nvPr>
            <p:ph type="pic" sz="quarter" idx="27"/>
          </p:nvPr>
        </p:nvSpPr>
        <p:spPr>
          <a:xfrm>
            <a:off x="2767387" y="3411196"/>
            <a:ext cx="851410" cy="481893"/>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9" name="Picture Placeholder 2"/>
          <p:cNvSpPr>
            <a:spLocks noGrp="1"/>
          </p:cNvSpPr>
          <p:nvPr>
            <p:ph type="pic" sz="quarter" idx="28"/>
          </p:nvPr>
        </p:nvSpPr>
        <p:spPr>
          <a:xfrm>
            <a:off x="3105997" y="4217447"/>
            <a:ext cx="474700" cy="849746"/>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Tree>
    <p:extLst>
      <p:ext uri="{BB962C8B-B14F-4D97-AF65-F5344CB8AC3E}">
        <p14:creationId xmlns:p14="http://schemas.microsoft.com/office/powerpoint/2010/main" val="2906736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fade">
                                      <p:cBhvr>
                                        <p:cTn id="11" dur="500"/>
                                        <p:tgtEl>
                                          <p:spTgt spid="23">
                                            <p:txEl>
                                              <p:pRg st="0" end="0"/>
                                            </p:txEl>
                                          </p:spTgt>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down)">
                                      <p:cBhvr>
                                        <p:cTn id="31" dur="500"/>
                                        <p:tgtEl>
                                          <p:spTgt spid="18"/>
                                        </p:tgtEl>
                                      </p:cBhvr>
                                    </p:animEffect>
                                  </p:childTnLst>
                                </p:cTn>
                              </p:par>
                            </p:childTnLst>
                          </p:cTn>
                        </p:par>
                        <p:par>
                          <p:cTn id="32" fill="hold">
                            <p:stCondLst>
                              <p:cond delay="35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wipe(down)">
                                      <p:cBhvr>
                                        <p:cTn id="39" dur="500"/>
                                        <p:tgtEl>
                                          <p:spTgt spid="14"/>
                                        </p:tgtEl>
                                      </p:cBhvr>
                                    </p:animEffect>
                                  </p:childTnLst>
                                </p:cTn>
                              </p:par>
                            </p:childTnLst>
                          </p:cTn>
                        </p:par>
                        <p:par>
                          <p:cTn id="40" fill="hold">
                            <p:stCondLst>
                              <p:cond delay="45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childTnLst>
                          </p:cTn>
                        </p:par>
                        <p:par>
                          <p:cTn id="44" fill="hold">
                            <p:stCondLst>
                              <p:cond delay="5000"/>
                            </p:stCondLst>
                            <p:childTnLst>
                              <p:par>
                                <p:cTn id="45" presetID="22" presetClass="entr" presetSubtype="4"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wipe(down)">
                                      <p:cBhvr>
                                        <p:cTn id="47" dur="500"/>
                                        <p:tgtEl>
                                          <p:spTgt spid="22"/>
                                        </p:tgtEl>
                                      </p:cBhvr>
                                    </p:animEffect>
                                  </p:childTnLst>
                                </p:cTn>
                              </p:par>
                            </p:childTnLst>
                          </p:cTn>
                        </p:par>
                        <p:par>
                          <p:cTn id="48" fill="hold">
                            <p:stCondLst>
                              <p:cond delay="55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22" presetClass="entr" presetSubtype="4" fill="hold"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down)">
                                      <p:cBhvr>
                                        <p:cTn id="55" dur="500"/>
                                        <p:tgtEl>
                                          <p:spTgt spid="20"/>
                                        </p:tgtEl>
                                      </p:cBhvr>
                                    </p:animEffect>
                                  </p:childTnLst>
                                </p:cTn>
                              </p:par>
                            </p:childTnLst>
                          </p:cTn>
                        </p:par>
                        <p:par>
                          <p:cTn id="56" fill="hold">
                            <p:stCondLst>
                              <p:cond delay="65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28"/>
                                        </p:tgtEl>
                                        <p:attrNameLst>
                                          <p:attrName>style.visibility</p:attrName>
                                        </p:attrNameLst>
                                      </p:cBhvr>
                                      <p:to>
                                        <p:strVal val="visible"/>
                                      </p:to>
                                    </p:set>
                                    <p:animEffect transition="in" filter="fade">
                                      <p:cBhvr>
                                        <p:cTn id="5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3" grpId="0" build="p">
        <p:tmplLst>
          <p:tmpl lvl="1">
            <p:tnLst>
              <p:par>
                <p:cTn presetID="10"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P spid="57" grpId="0"/>
      <p:bldP spid="25" grpId="0"/>
      <p:bldP spid="26" grpId="0"/>
      <p:bldP spid="27" grpId="0"/>
      <p:bldP spid="28" grpId="0"/>
      <p:bldP spid="29"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42" name="Text Placeholder 17"/>
          <p:cNvSpPr>
            <a:spLocks noGrp="1"/>
          </p:cNvSpPr>
          <p:nvPr>
            <p:ph type="body" sz="quarter" idx="27"/>
          </p:nvPr>
        </p:nvSpPr>
        <p:spPr>
          <a:xfrm>
            <a:off x="1238782" y="4981299"/>
            <a:ext cx="1263639"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43" name="Text Placeholder 17"/>
          <p:cNvSpPr>
            <a:spLocks noGrp="1"/>
          </p:cNvSpPr>
          <p:nvPr>
            <p:ph type="body" sz="quarter" idx="28"/>
          </p:nvPr>
        </p:nvSpPr>
        <p:spPr>
          <a:xfrm>
            <a:off x="1238782" y="5310884"/>
            <a:ext cx="1263639"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40" name="Text Placeholder 17"/>
          <p:cNvSpPr>
            <a:spLocks noGrp="1"/>
          </p:cNvSpPr>
          <p:nvPr>
            <p:ph type="body" sz="quarter" idx="25"/>
          </p:nvPr>
        </p:nvSpPr>
        <p:spPr>
          <a:xfrm>
            <a:off x="1249373" y="4291605"/>
            <a:ext cx="1263639"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41" name="Text Placeholder 17"/>
          <p:cNvSpPr>
            <a:spLocks noGrp="1"/>
          </p:cNvSpPr>
          <p:nvPr>
            <p:ph type="body" sz="quarter" idx="26"/>
          </p:nvPr>
        </p:nvSpPr>
        <p:spPr>
          <a:xfrm>
            <a:off x="1249373" y="4638621"/>
            <a:ext cx="1263639"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pic>
        <p:nvPicPr>
          <p:cNvPr id="8" name="imac.png"/>
          <p:cNvPicPr/>
          <p:nvPr userDrawn="1"/>
        </p:nvPicPr>
        <p:blipFill>
          <a:blip r:embed="rId2" cstate="print">
            <a:extLst/>
          </a:blip>
          <a:stretch>
            <a:fillRect/>
          </a:stretch>
        </p:blipFill>
        <p:spPr>
          <a:xfrm>
            <a:off x="6709037" y="2630220"/>
            <a:ext cx="4338375" cy="3465780"/>
          </a:xfrm>
          <a:prstGeom prst="rect">
            <a:avLst/>
          </a:prstGeom>
          <a:ln w="12700">
            <a:miter lim="400000"/>
          </a:ln>
        </p:spPr>
      </p:pic>
      <p:sp>
        <p:nvSpPr>
          <p:cNvPr id="16" name="Title 15"/>
          <p:cNvSpPr>
            <a:spLocks noGrp="1"/>
          </p:cNvSpPr>
          <p:nvPr>
            <p:ph type="title"/>
          </p:nvPr>
        </p:nvSpPr>
        <p:spPr>
          <a:xfrm>
            <a:off x="1523603" y="381000"/>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2"/>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p:nvPr>
        </p:nvSpPr>
        <p:spPr>
          <a:xfrm>
            <a:off x="1217612" y="2639244"/>
            <a:ext cx="2971800" cy="228600"/>
          </a:xfrm>
        </p:spPr>
        <p:txBody>
          <a:bodyPr lIns="0" tIns="0" rIns="0" bIns="0" anchor="ctr">
            <a:normAutofit/>
          </a:bodyPr>
          <a:lstStyle>
            <a:lvl1pPr marL="0" indent="0" algn="l">
              <a:buNone/>
              <a:defRPr sz="1200" b="1">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GB" dirty="0"/>
          </a:p>
        </p:txBody>
      </p:sp>
      <p:sp>
        <p:nvSpPr>
          <p:cNvPr id="10" name="Text Placeholder 17"/>
          <p:cNvSpPr>
            <a:spLocks noGrp="1"/>
          </p:cNvSpPr>
          <p:nvPr>
            <p:ph type="body" sz="quarter" idx="21"/>
          </p:nvPr>
        </p:nvSpPr>
        <p:spPr>
          <a:xfrm>
            <a:off x="1217612" y="2983041"/>
            <a:ext cx="4661641" cy="651444"/>
          </a:xfrm>
        </p:spPr>
        <p:txBody>
          <a:bodyPr lIns="0" tIns="0" rIns="0" bIns="0">
            <a:normAutofit/>
          </a:bodyPr>
          <a:lstStyle>
            <a:lvl1pPr marL="0" indent="0" algn="l">
              <a:lnSpc>
                <a:spcPts val="1600"/>
              </a:lnSpc>
              <a:spcBef>
                <a:spcPts val="1500"/>
              </a:spcBef>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57" name="Picture Placeholder 2"/>
          <p:cNvSpPr>
            <a:spLocks noGrp="1"/>
          </p:cNvSpPr>
          <p:nvPr>
            <p:ph type="pic" sz="quarter" idx="23"/>
          </p:nvPr>
        </p:nvSpPr>
        <p:spPr>
          <a:xfrm>
            <a:off x="6897024" y="2796284"/>
            <a:ext cx="3962400" cy="2267895"/>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9" name="Content Placeholder 20"/>
          <p:cNvSpPr>
            <a:spLocks noGrp="1"/>
          </p:cNvSpPr>
          <p:nvPr>
            <p:ph sz="quarter" idx="24"/>
          </p:nvPr>
        </p:nvSpPr>
        <p:spPr>
          <a:xfrm>
            <a:off x="1227202" y="3913331"/>
            <a:ext cx="2971800" cy="228600"/>
          </a:xfrm>
        </p:spPr>
        <p:txBody>
          <a:bodyPr lIns="0" tIns="0" rIns="0" bIns="0" anchor="ctr">
            <a:normAutofit/>
          </a:bodyPr>
          <a:lstStyle>
            <a:lvl1pPr marL="0" indent="0" algn="l">
              <a:buNone/>
              <a:defRPr sz="1200" b="1">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GB" dirty="0"/>
          </a:p>
        </p:txBody>
      </p:sp>
      <p:sp>
        <p:nvSpPr>
          <p:cNvPr id="44" name="Shape 882"/>
          <p:cNvSpPr/>
          <p:nvPr userDrawn="1"/>
        </p:nvSpPr>
        <p:spPr>
          <a:xfrm>
            <a:off x="2754411" y="5401727"/>
            <a:ext cx="2434130" cy="62726"/>
          </a:xfrm>
          <a:prstGeom prst="rect">
            <a:avLst/>
          </a:prstGeom>
          <a:solidFill>
            <a:srgbClr val="F39C26">
              <a:alpha val="25000"/>
            </a:srgbClr>
          </a:solidFill>
          <a:ln w="12700" cap="flat">
            <a:noFill/>
            <a:miter lim="400000"/>
          </a:ln>
          <a:effectLst/>
        </p:spPr>
        <p:txBody>
          <a:bodyPr wrap="square" lIns="0" tIns="0" rIns="0" bIns="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45" name="Shape 885"/>
          <p:cNvSpPr/>
          <p:nvPr userDrawn="1"/>
        </p:nvSpPr>
        <p:spPr>
          <a:xfrm>
            <a:off x="2754411" y="5064179"/>
            <a:ext cx="2433914" cy="62726"/>
          </a:xfrm>
          <a:prstGeom prst="rect">
            <a:avLst/>
          </a:prstGeom>
          <a:solidFill>
            <a:srgbClr val="2980B9">
              <a:alpha val="25000"/>
            </a:srgbClr>
          </a:solidFill>
          <a:ln w="12700" cap="flat">
            <a:noFill/>
            <a:miter lim="400000"/>
          </a:ln>
          <a:effectLst/>
        </p:spPr>
        <p:txBody>
          <a:bodyPr wrap="square" lIns="0" tIns="0" rIns="0" bIns="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46" name="Shape 888"/>
          <p:cNvSpPr/>
          <p:nvPr userDrawn="1"/>
        </p:nvSpPr>
        <p:spPr>
          <a:xfrm>
            <a:off x="2754410" y="4721558"/>
            <a:ext cx="2433798" cy="62726"/>
          </a:xfrm>
          <a:prstGeom prst="rect">
            <a:avLst/>
          </a:prstGeom>
          <a:solidFill>
            <a:srgbClr val="9BBB59">
              <a:alpha val="25000"/>
            </a:srgbClr>
          </a:solidFill>
          <a:ln w="12700" cap="flat">
            <a:noFill/>
            <a:miter lim="400000"/>
          </a:ln>
          <a:effectLst/>
        </p:spPr>
        <p:txBody>
          <a:bodyPr wrap="square" lIns="0" tIns="0" rIns="0" bIns="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47" name="Shape 891"/>
          <p:cNvSpPr/>
          <p:nvPr userDrawn="1"/>
        </p:nvSpPr>
        <p:spPr>
          <a:xfrm>
            <a:off x="2754411" y="4374542"/>
            <a:ext cx="2435840" cy="62726"/>
          </a:xfrm>
          <a:prstGeom prst="rect">
            <a:avLst/>
          </a:prstGeom>
          <a:solidFill>
            <a:srgbClr val="17A085">
              <a:alpha val="25000"/>
            </a:srgbClr>
          </a:solidFill>
          <a:ln w="12700" cap="flat">
            <a:noFill/>
            <a:miter lim="400000"/>
          </a:ln>
          <a:effectLst/>
        </p:spPr>
        <p:txBody>
          <a:bodyPr wrap="square" lIns="0" tIns="0" rIns="0" bIns="0" numCol="1" anchor="ctr">
            <a:noAutofit/>
          </a:bodyP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48" name="Shape 897"/>
          <p:cNvSpPr/>
          <p:nvPr userDrawn="1"/>
        </p:nvSpPr>
        <p:spPr>
          <a:xfrm>
            <a:off x="2748585" y="4374542"/>
            <a:ext cx="1880374" cy="62726"/>
          </a:xfrm>
          <a:prstGeom prst="rect">
            <a:avLst/>
          </a:prstGeom>
          <a:solidFill>
            <a:srgbClr val="17A085"/>
          </a:solidFill>
          <a:ln w="12700">
            <a:miter lim="400000"/>
          </a:ln>
        </p:spPr>
        <p:txBody>
          <a:bodyPr lIns="0" tIns="0" rIns="0" bIns="0"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49" name="Shape 898"/>
          <p:cNvSpPr/>
          <p:nvPr userDrawn="1"/>
        </p:nvSpPr>
        <p:spPr>
          <a:xfrm>
            <a:off x="2748585" y="4721558"/>
            <a:ext cx="1235918" cy="62726"/>
          </a:xfrm>
          <a:prstGeom prst="rect">
            <a:avLst/>
          </a:prstGeom>
          <a:solidFill>
            <a:srgbClr val="9BBB59"/>
          </a:solidFill>
          <a:ln w="12700">
            <a:miter lim="400000"/>
          </a:ln>
        </p:spPr>
        <p:txBody>
          <a:bodyPr lIns="0" tIns="0" rIns="0" bIns="0"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50" name="Shape 899"/>
          <p:cNvSpPr/>
          <p:nvPr userDrawn="1"/>
        </p:nvSpPr>
        <p:spPr>
          <a:xfrm>
            <a:off x="2748585" y="5064179"/>
            <a:ext cx="2272372" cy="62726"/>
          </a:xfrm>
          <a:prstGeom prst="rect">
            <a:avLst/>
          </a:prstGeom>
          <a:solidFill>
            <a:srgbClr val="2980B9"/>
          </a:solidFill>
          <a:ln w="12700">
            <a:miter lim="400000"/>
          </a:ln>
        </p:spPr>
        <p:txBody>
          <a:bodyPr lIns="0" tIns="0" rIns="0" bIns="0"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51" name="Shape 900"/>
          <p:cNvSpPr/>
          <p:nvPr userDrawn="1"/>
        </p:nvSpPr>
        <p:spPr>
          <a:xfrm>
            <a:off x="2748585" y="5401727"/>
            <a:ext cx="1716420" cy="62726"/>
          </a:xfrm>
          <a:prstGeom prst="rect">
            <a:avLst/>
          </a:prstGeom>
          <a:solidFill>
            <a:srgbClr val="F39C26"/>
          </a:solidFill>
          <a:ln w="12700">
            <a:miter lim="400000"/>
          </a:ln>
        </p:spPr>
        <p:txBody>
          <a:bodyPr lIns="0" tIns="0" rIns="0" bIns="0" anchor="ctr"/>
          <a:lstStyle/>
          <a:p>
            <a:pPr defTabSz="228554">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a:latin typeface="Open Sans Light" pitchFamily="34" charset="0"/>
              <a:ea typeface="Open Sans Light" pitchFamily="34" charset="0"/>
              <a:cs typeface="Open Sans Light" pitchFamily="34" charset="0"/>
            </a:endParaRPr>
          </a:p>
        </p:txBody>
      </p:sp>
      <p:sp>
        <p:nvSpPr>
          <p:cNvPr id="52" name="Text Placeholder 17"/>
          <p:cNvSpPr>
            <a:spLocks noGrp="1"/>
          </p:cNvSpPr>
          <p:nvPr>
            <p:ph type="body" sz="quarter" idx="29"/>
          </p:nvPr>
        </p:nvSpPr>
        <p:spPr>
          <a:xfrm>
            <a:off x="5540432" y="4981299"/>
            <a:ext cx="390990"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53" name="Text Placeholder 17"/>
          <p:cNvSpPr>
            <a:spLocks noGrp="1"/>
          </p:cNvSpPr>
          <p:nvPr>
            <p:ph type="body" sz="quarter" idx="30"/>
          </p:nvPr>
        </p:nvSpPr>
        <p:spPr>
          <a:xfrm>
            <a:off x="5540432" y="5310884"/>
            <a:ext cx="390990"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54" name="Text Placeholder 17"/>
          <p:cNvSpPr>
            <a:spLocks noGrp="1"/>
          </p:cNvSpPr>
          <p:nvPr>
            <p:ph type="body" sz="quarter" idx="31"/>
          </p:nvPr>
        </p:nvSpPr>
        <p:spPr>
          <a:xfrm>
            <a:off x="5551023" y="4291605"/>
            <a:ext cx="390990"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
        <p:nvSpPr>
          <p:cNvPr id="55" name="Text Placeholder 17"/>
          <p:cNvSpPr>
            <a:spLocks noGrp="1"/>
          </p:cNvSpPr>
          <p:nvPr>
            <p:ph type="body" sz="quarter" idx="32"/>
          </p:nvPr>
        </p:nvSpPr>
        <p:spPr>
          <a:xfrm>
            <a:off x="5551023" y="4638621"/>
            <a:ext cx="390990" cy="228600"/>
          </a:xfrm>
        </p:spPr>
        <p:txBody>
          <a:bodyPr lIns="0" tIns="0" rIns="0" bIns="0">
            <a:normAutofit/>
          </a:bodyPr>
          <a:lstStyle>
            <a:lvl1pPr marL="0" indent="0" algn="l">
              <a:lnSpc>
                <a:spcPts val="1600"/>
              </a:lnSpc>
              <a:buNone/>
              <a:defRPr sz="1000">
                <a:solidFill>
                  <a:schemeClr val="tx1">
                    <a:lumMod val="65000"/>
                    <a:lumOff val="35000"/>
                  </a:schemeClr>
                </a:solidFill>
                <a:latin typeface="Open Sans Light" pitchFamily="34" charset="0"/>
                <a:ea typeface="Open Sans Light" pitchFamily="34" charset="0"/>
                <a:cs typeface="Open Sans Light" pitchFamily="34" charset="0"/>
              </a:defRPr>
            </a:lvl1pPr>
          </a:lstStyle>
          <a:p>
            <a:pPr lvl="0"/>
            <a:endParaRPr lang="en-US" dirty="0"/>
          </a:p>
        </p:txBody>
      </p:sp>
    </p:spTree>
    <p:extLst>
      <p:ext uri="{BB962C8B-B14F-4D97-AF65-F5344CB8AC3E}">
        <p14:creationId xmlns:p14="http://schemas.microsoft.com/office/powerpoint/2010/main" val="4216992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9" presetClass="entr" presetSubtype="0" fill="hold" grpId="0" nodeType="afterEffect" nodePh="1">
                                  <p:stCondLst>
                                    <p:cond delay="0"/>
                                  </p:stCondLst>
                                  <p:endCondLst>
                                    <p:cond evt="begin" delay="0">
                                      <p:tn val="21"/>
                                    </p:cond>
                                  </p:end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dissolve">
                                      <p:cBhvr>
                                        <p:cTn id="23" dur="500"/>
                                        <p:tgtEl>
                                          <p:spTgt spid="9">
                                            <p:txEl>
                                              <p:pRg st="0" end="0"/>
                                            </p:txEl>
                                          </p:spTgt>
                                        </p:tgtEl>
                                      </p:cBhvr>
                                    </p:animEffect>
                                  </p:childTnLst>
                                </p:cTn>
                              </p:par>
                            </p:childTnLst>
                          </p:cTn>
                        </p:par>
                        <p:par>
                          <p:cTn id="24" fill="hold">
                            <p:stCondLst>
                              <p:cond delay="2500"/>
                            </p:stCondLst>
                            <p:childTnLst>
                              <p:par>
                                <p:cTn id="25" presetID="9"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dissolve">
                                      <p:cBhvr>
                                        <p:cTn id="27" dur="500"/>
                                        <p:tgtEl>
                                          <p:spTgt spid="10">
                                            <p:txEl>
                                              <p:pRg st="0" end="0"/>
                                            </p:txEl>
                                          </p:spTgt>
                                        </p:tgtEl>
                                      </p:cBhvr>
                                    </p:animEffect>
                                  </p:childTnLst>
                                </p:cTn>
                              </p:par>
                            </p:childTnLst>
                          </p:cTn>
                        </p:par>
                        <p:par>
                          <p:cTn id="28" fill="hold">
                            <p:stCondLst>
                              <p:cond delay="30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39">
                                            <p:txEl>
                                              <p:pRg st="0" end="0"/>
                                            </p:txEl>
                                          </p:spTgt>
                                        </p:tgtEl>
                                        <p:attrNameLst>
                                          <p:attrName>style.visibility</p:attrName>
                                        </p:attrNameLst>
                                      </p:cBhvr>
                                      <p:to>
                                        <p:strVal val="visible"/>
                                      </p:to>
                                    </p:set>
                                    <p:animEffect transition="in" filter="fade">
                                      <p:cBhvr>
                                        <p:cTn id="31" dur="500"/>
                                        <p:tgtEl>
                                          <p:spTgt spid="39">
                                            <p:txEl>
                                              <p:pRg st="0" end="0"/>
                                            </p:txEl>
                                          </p:spTgt>
                                        </p:tgtEl>
                                      </p:cBhvr>
                                    </p:animEffect>
                                  </p:childTnLst>
                                </p:cTn>
                              </p:par>
                            </p:childTnLst>
                          </p:cTn>
                        </p:par>
                        <p:par>
                          <p:cTn id="32" fill="hold">
                            <p:stCondLst>
                              <p:cond delay="35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40">
                                            <p:txEl>
                                              <p:pRg st="0" end="0"/>
                                            </p:txEl>
                                          </p:spTgt>
                                        </p:tgtEl>
                                        <p:attrNameLst>
                                          <p:attrName>style.visibility</p:attrName>
                                        </p:attrNameLst>
                                      </p:cBhvr>
                                      <p:to>
                                        <p:strVal val="visible"/>
                                      </p:to>
                                    </p:set>
                                    <p:animEffect transition="in" filter="fade">
                                      <p:cBhvr>
                                        <p:cTn id="35" dur="500"/>
                                        <p:tgtEl>
                                          <p:spTgt spid="40">
                                            <p:txEl>
                                              <p:pRg st="0" end="0"/>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wipe(left)">
                                      <p:cBhvr>
                                        <p:cTn id="42" dur="500"/>
                                        <p:tgtEl>
                                          <p:spTgt spid="48"/>
                                        </p:tgtEl>
                                      </p:cBhvr>
                                    </p:animEffect>
                                  </p:childTnLst>
                                </p:cTn>
                              </p:par>
                            </p:childTnLst>
                          </p:cTn>
                        </p:par>
                        <p:par>
                          <p:cTn id="43" fill="hold">
                            <p:stCondLst>
                              <p:cond delay="4500"/>
                            </p:stCondLst>
                            <p:childTnLst>
                              <p:par>
                                <p:cTn id="44" presetID="9" presetClass="entr" presetSubtype="0" fill="hold" grpId="0" nodeType="afterEffect" nodePh="1">
                                  <p:stCondLst>
                                    <p:cond delay="0"/>
                                  </p:stCondLst>
                                  <p:endCondLst>
                                    <p:cond evt="begin" delay="0">
                                      <p:tn val="44"/>
                                    </p:cond>
                                  </p:endCondLst>
                                  <p:childTnLst>
                                    <p:set>
                                      <p:cBhvr>
                                        <p:cTn id="45" dur="1" fill="hold">
                                          <p:stCondLst>
                                            <p:cond delay="0"/>
                                          </p:stCondLst>
                                        </p:cTn>
                                        <p:tgtEl>
                                          <p:spTgt spid="54">
                                            <p:txEl>
                                              <p:pRg st="0" end="0"/>
                                            </p:txEl>
                                          </p:spTgt>
                                        </p:tgtEl>
                                        <p:attrNameLst>
                                          <p:attrName>style.visibility</p:attrName>
                                        </p:attrNameLst>
                                      </p:cBhvr>
                                      <p:to>
                                        <p:strVal val="visible"/>
                                      </p:to>
                                    </p:set>
                                    <p:animEffect transition="in" filter="dissolve">
                                      <p:cBhvr>
                                        <p:cTn id="46" dur="500"/>
                                        <p:tgtEl>
                                          <p:spTgt spid="54">
                                            <p:txEl>
                                              <p:pRg st="0" end="0"/>
                                            </p:txEl>
                                          </p:spTgt>
                                        </p:tgtEl>
                                      </p:cBhvr>
                                    </p:animEffect>
                                  </p:childTnLst>
                                </p:cTn>
                              </p:par>
                            </p:childTnLst>
                          </p:cTn>
                        </p:par>
                        <p:par>
                          <p:cTn id="47" fill="hold">
                            <p:stCondLst>
                              <p:cond delay="5000"/>
                            </p:stCondLst>
                            <p:childTnLst>
                              <p:par>
                                <p:cTn id="48" presetID="10" presetClass="entr" presetSubtype="0" fill="hold" grpId="0" nodeType="afterEffect" nodePh="1">
                                  <p:stCondLst>
                                    <p:cond delay="0"/>
                                  </p:stCondLst>
                                  <p:endCondLst>
                                    <p:cond evt="begin" delay="0">
                                      <p:tn val="48"/>
                                    </p:cond>
                                  </p:endCondLst>
                                  <p:childTnLst>
                                    <p:set>
                                      <p:cBhvr>
                                        <p:cTn id="49" dur="1" fill="hold">
                                          <p:stCondLst>
                                            <p:cond delay="0"/>
                                          </p:stCondLst>
                                        </p:cTn>
                                        <p:tgtEl>
                                          <p:spTgt spid="41">
                                            <p:txEl>
                                              <p:pRg st="0" end="0"/>
                                            </p:txEl>
                                          </p:spTgt>
                                        </p:tgtEl>
                                        <p:attrNameLst>
                                          <p:attrName>style.visibility</p:attrName>
                                        </p:attrNameLst>
                                      </p:cBhvr>
                                      <p:to>
                                        <p:strVal val="visible"/>
                                      </p:to>
                                    </p:set>
                                    <p:animEffect transition="in" filter="fade">
                                      <p:cBhvr>
                                        <p:cTn id="50" dur="500"/>
                                        <p:tgtEl>
                                          <p:spTgt spid="41">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6"/>
                                        </p:tgtEl>
                                        <p:attrNameLst>
                                          <p:attrName>style.visibility</p:attrName>
                                        </p:attrNameLst>
                                      </p:cBhvr>
                                      <p:to>
                                        <p:strVal val="visible"/>
                                      </p:to>
                                    </p:set>
                                    <p:animEffect transition="in" filter="fade">
                                      <p:cBhvr>
                                        <p:cTn id="53" dur="500"/>
                                        <p:tgtEl>
                                          <p:spTgt spid="46"/>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wipe(left)">
                                      <p:cBhvr>
                                        <p:cTn id="57" dur="500"/>
                                        <p:tgtEl>
                                          <p:spTgt spid="49"/>
                                        </p:tgtEl>
                                      </p:cBhvr>
                                    </p:animEffect>
                                  </p:childTnLst>
                                </p:cTn>
                              </p:par>
                            </p:childTnLst>
                          </p:cTn>
                        </p:par>
                        <p:par>
                          <p:cTn id="58" fill="hold">
                            <p:stCondLst>
                              <p:cond delay="6000"/>
                            </p:stCondLst>
                            <p:childTnLst>
                              <p:par>
                                <p:cTn id="59" presetID="9" presetClass="entr" presetSubtype="0" fill="hold" grpId="0" nodeType="afterEffect" nodePh="1">
                                  <p:stCondLst>
                                    <p:cond delay="0"/>
                                  </p:stCondLst>
                                  <p:endCondLst>
                                    <p:cond evt="begin" delay="0">
                                      <p:tn val="59"/>
                                    </p:cond>
                                  </p:endCondLst>
                                  <p:childTnLst>
                                    <p:set>
                                      <p:cBhvr>
                                        <p:cTn id="60" dur="1" fill="hold">
                                          <p:stCondLst>
                                            <p:cond delay="0"/>
                                          </p:stCondLst>
                                        </p:cTn>
                                        <p:tgtEl>
                                          <p:spTgt spid="55">
                                            <p:txEl>
                                              <p:pRg st="0" end="0"/>
                                            </p:txEl>
                                          </p:spTgt>
                                        </p:tgtEl>
                                        <p:attrNameLst>
                                          <p:attrName>style.visibility</p:attrName>
                                        </p:attrNameLst>
                                      </p:cBhvr>
                                      <p:to>
                                        <p:strVal val="visible"/>
                                      </p:to>
                                    </p:set>
                                    <p:animEffect transition="in" filter="dissolve">
                                      <p:cBhvr>
                                        <p:cTn id="61" dur="500"/>
                                        <p:tgtEl>
                                          <p:spTgt spid="55">
                                            <p:txEl>
                                              <p:pRg st="0" end="0"/>
                                            </p:txEl>
                                          </p:spTgt>
                                        </p:tgtEl>
                                      </p:cBhvr>
                                    </p:animEffect>
                                  </p:childTnLst>
                                </p:cTn>
                              </p:par>
                            </p:childTnLst>
                          </p:cTn>
                        </p:par>
                        <p:par>
                          <p:cTn id="62" fill="hold">
                            <p:stCondLst>
                              <p:cond delay="6500"/>
                            </p:stCondLst>
                            <p:childTnLst>
                              <p:par>
                                <p:cTn id="63" presetID="10" presetClass="entr" presetSubtype="0" fill="hold" grpId="0" nodeType="afterEffect" nodePh="1">
                                  <p:stCondLst>
                                    <p:cond delay="0"/>
                                  </p:stCondLst>
                                  <p:endCondLst>
                                    <p:cond evt="begin" delay="0">
                                      <p:tn val="63"/>
                                    </p:cond>
                                  </p:endCondLst>
                                  <p:childTnLst>
                                    <p:set>
                                      <p:cBhvr>
                                        <p:cTn id="64" dur="1" fill="hold">
                                          <p:stCondLst>
                                            <p:cond delay="0"/>
                                          </p:stCondLst>
                                        </p:cTn>
                                        <p:tgtEl>
                                          <p:spTgt spid="42">
                                            <p:txEl>
                                              <p:pRg st="0" end="0"/>
                                            </p:txEl>
                                          </p:spTgt>
                                        </p:tgtEl>
                                        <p:attrNameLst>
                                          <p:attrName>style.visibility</p:attrName>
                                        </p:attrNameLst>
                                      </p:cBhvr>
                                      <p:to>
                                        <p:strVal val="visible"/>
                                      </p:to>
                                    </p:set>
                                    <p:animEffect transition="in" filter="fade">
                                      <p:cBhvr>
                                        <p:cTn id="65" dur="500"/>
                                        <p:tgtEl>
                                          <p:spTgt spid="42">
                                            <p:txEl>
                                              <p:pRg st="0" end="0"/>
                                            </p:tx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5"/>
                                        </p:tgtEl>
                                        <p:attrNameLst>
                                          <p:attrName>style.visibility</p:attrName>
                                        </p:attrNameLst>
                                      </p:cBhvr>
                                      <p:to>
                                        <p:strVal val="visible"/>
                                      </p:to>
                                    </p:set>
                                    <p:animEffect transition="in" filter="fade">
                                      <p:cBhvr>
                                        <p:cTn id="68" dur="500"/>
                                        <p:tgtEl>
                                          <p:spTgt spid="45"/>
                                        </p:tgtEl>
                                      </p:cBhvr>
                                    </p:animEffect>
                                  </p:childTnLst>
                                </p:cTn>
                              </p:par>
                            </p:childTnLst>
                          </p:cTn>
                        </p:par>
                        <p:par>
                          <p:cTn id="69" fill="hold">
                            <p:stCondLst>
                              <p:cond delay="7000"/>
                            </p:stCondLst>
                            <p:childTnLst>
                              <p:par>
                                <p:cTn id="70" presetID="22" presetClass="entr" presetSubtype="8"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wipe(left)">
                                      <p:cBhvr>
                                        <p:cTn id="72" dur="500"/>
                                        <p:tgtEl>
                                          <p:spTgt spid="50"/>
                                        </p:tgtEl>
                                      </p:cBhvr>
                                    </p:animEffect>
                                  </p:childTnLst>
                                </p:cTn>
                              </p:par>
                            </p:childTnLst>
                          </p:cTn>
                        </p:par>
                        <p:par>
                          <p:cTn id="73" fill="hold">
                            <p:stCondLst>
                              <p:cond delay="7500"/>
                            </p:stCondLst>
                            <p:childTnLst>
                              <p:par>
                                <p:cTn id="74" presetID="9" presetClass="entr" presetSubtype="0" fill="hold" grpId="0" nodeType="afterEffect" nodePh="1">
                                  <p:stCondLst>
                                    <p:cond delay="0"/>
                                  </p:stCondLst>
                                  <p:endCondLst>
                                    <p:cond evt="begin" delay="0">
                                      <p:tn val="74"/>
                                    </p:cond>
                                  </p:endCondLst>
                                  <p:childTnLst>
                                    <p:set>
                                      <p:cBhvr>
                                        <p:cTn id="75" dur="1" fill="hold">
                                          <p:stCondLst>
                                            <p:cond delay="0"/>
                                          </p:stCondLst>
                                        </p:cTn>
                                        <p:tgtEl>
                                          <p:spTgt spid="52">
                                            <p:txEl>
                                              <p:pRg st="0" end="0"/>
                                            </p:txEl>
                                          </p:spTgt>
                                        </p:tgtEl>
                                        <p:attrNameLst>
                                          <p:attrName>style.visibility</p:attrName>
                                        </p:attrNameLst>
                                      </p:cBhvr>
                                      <p:to>
                                        <p:strVal val="visible"/>
                                      </p:to>
                                    </p:set>
                                    <p:animEffect transition="in" filter="dissolve">
                                      <p:cBhvr>
                                        <p:cTn id="76" dur="500"/>
                                        <p:tgtEl>
                                          <p:spTgt spid="52">
                                            <p:txEl>
                                              <p:pRg st="0" end="0"/>
                                            </p:txEl>
                                          </p:spTgt>
                                        </p:tgtEl>
                                      </p:cBhvr>
                                    </p:animEffect>
                                  </p:childTnLst>
                                </p:cTn>
                              </p:par>
                            </p:childTnLst>
                          </p:cTn>
                        </p:par>
                        <p:par>
                          <p:cTn id="77" fill="hold">
                            <p:stCondLst>
                              <p:cond delay="8000"/>
                            </p:stCondLst>
                            <p:childTnLst>
                              <p:par>
                                <p:cTn id="78" presetID="10" presetClass="entr" presetSubtype="0" fill="hold" grpId="0" nodeType="afterEffect" nodePh="1">
                                  <p:stCondLst>
                                    <p:cond delay="0"/>
                                  </p:stCondLst>
                                  <p:endCondLst>
                                    <p:cond evt="begin" delay="0">
                                      <p:tn val="78"/>
                                    </p:cond>
                                  </p:endCondLst>
                                  <p:childTnLst>
                                    <p:set>
                                      <p:cBhvr>
                                        <p:cTn id="79" dur="1" fill="hold">
                                          <p:stCondLst>
                                            <p:cond delay="0"/>
                                          </p:stCondLst>
                                        </p:cTn>
                                        <p:tgtEl>
                                          <p:spTgt spid="43">
                                            <p:txEl>
                                              <p:pRg st="0" end="0"/>
                                            </p:txEl>
                                          </p:spTgt>
                                        </p:tgtEl>
                                        <p:attrNameLst>
                                          <p:attrName>style.visibility</p:attrName>
                                        </p:attrNameLst>
                                      </p:cBhvr>
                                      <p:to>
                                        <p:strVal val="visible"/>
                                      </p:to>
                                    </p:set>
                                    <p:animEffect transition="in" filter="fade">
                                      <p:cBhvr>
                                        <p:cTn id="80" dur="500"/>
                                        <p:tgtEl>
                                          <p:spTgt spid="43">
                                            <p:txEl>
                                              <p:pRg st="0" end="0"/>
                                            </p:tx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4"/>
                                        </p:tgtEl>
                                        <p:attrNameLst>
                                          <p:attrName>style.visibility</p:attrName>
                                        </p:attrNameLst>
                                      </p:cBhvr>
                                      <p:to>
                                        <p:strVal val="visible"/>
                                      </p:to>
                                    </p:set>
                                    <p:animEffect transition="in" filter="fade">
                                      <p:cBhvr>
                                        <p:cTn id="83" dur="500"/>
                                        <p:tgtEl>
                                          <p:spTgt spid="44"/>
                                        </p:tgtEl>
                                      </p:cBhvr>
                                    </p:animEffect>
                                  </p:childTnLst>
                                </p:cTn>
                              </p:par>
                            </p:childTnLst>
                          </p:cTn>
                        </p:par>
                        <p:par>
                          <p:cTn id="84" fill="hold">
                            <p:stCondLst>
                              <p:cond delay="8500"/>
                            </p:stCondLst>
                            <p:childTnLst>
                              <p:par>
                                <p:cTn id="85" presetID="22" presetClass="entr" presetSubtype="8" fill="hold" grpId="0" nodeType="afterEffect">
                                  <p:stCondLst>
                                    <p:cond delay="0"/>
                                  </p:stCondLst>
                                  <p:childTnLst>
                                    <p:set>
                                      <p:cBhvr>
                                        <p:cTn id="86" dur="1" fill="hold">
                                          <p:stCondLst>
                                            <p:cond delay="0"/>
                                          </p:stCondLst>
                                        </p:cTn>
                                        <p:tgtEl>
                                          <p:spTgt spid="51"/>
                                        </p:tgtEl>
                                        <p:attrNameLst>
                                          <p:attrName>style.visibility</p:attrName>
                                        </p:attrNameLst>
                                      </p:cBhvr>
                                      <p:to>
                                        <p:strVal val="visible"/>
                                      </p:to>
                                    </p:set>
                                    <p:animEffect transition="in" filter="wipe(left)">
                                      <p:cBhvr>
                                        <p:cTn id="87" dur="500"/>
                                        <p:tgtEl>
                                          <p:spTgt spid="51"/>
                                        </p:tgtEl>
                                      </p:cBhvr>
                                    </p:animEffect>
                                  </p:childTnLst>
                                </p:cTn>
                              </p:par>
                            </p:childTnLst>
                          </p:cTn>
                        </p:par>
                        <p:par>
                          <p:cTn id="88" fill="hold">
                            <p:stCondLst>
                              <p:cond delay="9000"/>
                            </p:stCondLst>
                            <p:childTnLst>
                              <p:par>
                                <p:cTn id="89" presetID="9" presetClass="entr" presetSubtype="0" fill="hold" grpId="0" nodeType="afterEffect" nodePh="1">
                                  <p:stCondLst>
                                    <p:cond delay="0"/>
                                  </p:stCondLst>
                                  <p:endCondLst>
                                    <p:cond evt="begin" delay="0">
                                      <p:tn val="89"/>
                                    </p:cond>
                                  </p:endCondLst>
                                  <p:childTnLst>
                                    <p:set>
                                      <p:cBhvr>
                                        <p:cTn id="90" dur="1" fill="hold">
                                          <p:stCondLst>
                                            <p:cond delay="0"/>
                                          </p:stCondLst>
                                        </p:cTn>
                                        <p:tgtEl>
                                          <p:spTgt spid="53">
                                            <p:txEl>
                                              <p:pRg st="0" end="0"/>
                                            </p:txEl>
                                          </p:spTgt>
                                        </p:tgtEl>
                                        <p:attrNameLst>
                                          <p:attrName>style.visibility</p:attrName>
                                        </p:attrNameLst>
                                      </p:cBhvr>
                                      <p:to>
                                        <p:strVal val="visible"/>
                                      </p:to>
                                    </p:set>
                                    <p:animEffect transition="in" filter="dissolve">
                                      <p:cBhvr>
                                        <p:cTn id="91"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0"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41"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childTnLst>
                </p:cTn>
              </p:par>
            </p:tnLst>
          </p:tmpl>
        </p:tmplLst>
      </p:bldP>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57" grpId="0"/>
      <p:bldP spid="39"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39"/>
                        </p:tgtEl>
                        <p:attrNameLst>
                          <p:attrName>style.visibility</p:attrName>
                        </p:attrNameLst>
                      </p:cBhvr>
                      <p:to>
                        <p:strVal val="visible"/>
                      </p:to>
                    </p:set>
                    <p:animEffect transition="in" filter="fade">
                      <p:cBhvr>
                        <p:cTn dur="500"/>
                        <p:tgtEl>
                          <p:spTgt spid="39"/>
                        </p:tgtEl>
                      </p:cBhvr>
                    </p:animEffect>
                  </p:childTnLst>
                </p:cTn>
              </p:par>
            </p:tnLst>
          </p:tmpl>
        </p:tmplLst>
      </p:bldP>
      <p:bldP spid="44" grpId="0" animBg="1"/>
      <p:bldP spid="45" grpId="0" animBg="1"/>
      <p:bldP spid="46" grpId="0" animBg="1"/>
      <p:bldP spid="47" grpId="0" animBg="1"/>
      <p:bldP spid="48" grpId="0" animBg="1"/>
      <p:bldP spid="49" grpId="0" animBg="1"/>
      <p:bldP spid="50" grpId="0" animBg="1"/>
      <p:bldP spid="51" grpId="0" animBg="1"/>
      <p:bldP spid="52"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52"/>
                        </p:tgtEl>
                        <p:attrNameLst>
                          <p:attrName>style.visibility</p:attrName>
                        </p:attrNameLst>
                      </p:cBhvr>
                      <p:to>
                        <p:strVal val="visible"/>
                      </p:to>
                    </p:set>
                    <p:animEffect transition="in" filter="dissolve">
                      <p:cBhvr>
                        <p:cTn dur="500"/>
                        <p:tgtEl>
                          <p:spTgt spid="52"/>
                        </p:tgtEl>
                      </p:cBhvr>
                    </p:animEffect>
                  </p:childTnLst>
                </p:cTn>
              </p:par>
            </p:tnLst>
          </p:tmpl>
        </p:tmplLst>
      </p:bldP>
      <p:bldP spid="53"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53"/>
                        </p:tgtEl>
                        <p:attrNameLst>
                          <p:attrName>style.visibility</p:attrName>
                        </p:attrNameLst>
                      </p:cBhvr>
                      <p:to>
                        <p:strVal val="visible"/>
                      </p:to>
                    </p:set>
                    <p:animEffect transition="in" filter="dissolve">
                      <p:cBhvr>
                        <p:cTn dur="500"/>
                        <p:tgtEl>
                          <p:spTgt spid="53"/>
                        </p:tgtEl>
                      </p:cBhvr>
                    </p:animEffect>
                  </p:childTnLst>
                </p:cTn>
              </p:par>
            </p:tnLst>
          </p:tmpl>
        </p:tmplLst>
      </p:bldP>
      <p:bldP spid="54"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54"/>
                        </p:tgtEl>
                        <p:attrNameLst>
                          <p:attrName>style.visibility</p:attrName>
                        </p:attrNameLst>
                      </p:cBhvr>
                      <p:to>
                        <p:strVal val="visible"/>
                      </p:to>
                    </p:set>
                    <p:animEffect transition="in" filter="dissolve">
                      <p:cBhvr>
                        <p:cTn dur="500"/>
                        <p:tgtEl>
                          <p:spTgt spid="54"/>
                        </p:tgtEl>
                      </p:cBhvr>
                    </p:animEffect>
                  </p:childTnLst>
                </p:cTn>
              </p:par>
            </p:tnLst>
          </p:tmpl>
        </p:tmplLst>
      </p:bldP>
      <p:bldP spid="55"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55"/>
                        </p:tgtEl>
                        <p:attrNameLst>
                          <p:attrName>style.visibility</p:attrName>
                        </p:attrNameLst>
                      </p:cBhvr>
                      <p:to>
                        <p:strVal val="visible"/>
                      </p:to>
                    </p:set>
                    <p:animEffect transition="in" filter="dissolve">
                      <p:cBhvr>
                        <p:cTn dur="500"/>
                        <p:tgtEl>
                          <p:spTgt spid="55"/>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92188-E481-47C3-BDFE-C1BBCA8D8B5A}" type="datetime1">
              <a:rPr lang="id-ID" smtClean="0"/>
              <a:t>07/0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F52289-4012-4053-9770-FE82CEB9514F}" type="slidenum">
              <a:rPr lang="en-US" smtClean="0"/>
              <a:pPr/>
              <a:t>‹N°›</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1532645" y="2844003"/>
            <a:ext cx="2118535" cy="297544"/>
          </a:xfrm>
        </p:spPr>
        <p:txBody>
          <a:bodyPr lIns="0" tIns="0" rIns="0" bIns="0">
            <a:normAutofit/>
          </a:bodyPr>
          <a:lstStyle>
            <a:lvl1pPr marL="0" indent="0">
              <a:buNone/>
              <a:defRPr sz="1500">
                <a:solidFill>
                  <a:schemeClr val="accent1"/>
                </a:solidFill>
              </a:defRPr>
            </a:lvl1pPr>
          </a:lstStyle>
          <a:p>
            <a:pPr lvl="0"/>
            <a:r>
              <a:rPr lang="en-US" dirty="0"/>
              <a:t>Graphic Designer</a:t>
            </a:r>
          </a:p>
        </p:txBody>
      </p:sp>
      <p:sp>
        <p:nvSpPr>
          <p:cNvPr id="6" name="Text Placeholder 5"/>
          <p:cNvSpPr>
            <a:spLocks noGrp="1"/>
          </p:cNvSpPr>
          <p:nvPr>
            <p:ph type="body" sz="quarter" idx="11" hasCustomPrompt="1"/>
          </p:nvPr>
        </p:nvSpPr>
        <p:spPr>
          <a:xfrm>
            <a:off x="1532643" y="3309267"/>
            <a:ext cx="2782465" cy="1689974"/>
          </a:xfrm>
        </p:spPr>
        <p:txBody>
          <a:bodyPr lIns="0" tIns="0" rIns="0" bIns="0">
            <a:normAutofit/>
          </a:bodyPr>
          <a:lstStyle>
            <a:lvl1pPr marL="0" indent="0">
              <a:lnSpc>
                <a:spcPts val="1400"/>
              </a:lnSpc>
              <a:buNone/>
              <a:defRPr sz="1000">
                <a:solidFill>
                  <a:schemeClr val="bg1">
                    <a:lumMod val="95000"/>
                  </a:schemeClr>
                </a:solidFill>
              </a:defRPr>
            </a:lvl1pPr>
          </a:lstStyle>
          <a:p>
            <a:pPr lvl="0"/>
            <a:r>
              <a:rPr lang="en-US" dirty="0" err="1"/>
              <a:t>conse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t>
            </a:r>
            <a:r>
              <a:rPr lang="en-US" dirty="0" err="1"/>
              <a:t>conse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ue</a:t>
            </a:r>
            <a:r>
              <a:rPr lang="en-US" dirty="0"/>
              <a:t> </a:t>
            </a:r>
            <a:r>
              <a:rPr lang="en-US" dirty="0" err="1"/>
              <a:t>laudan</a:t>
            </a:r>
            <a:endParaRPr lang="en-US" dirty="0"/>
          </a:p>
          <a:p>
            <a:pPr lvl="0"/>
            <a:r>
              <a:rPr lang="en-US" dirty="0" err="1"/>
              <a:t>conse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t>
            </a:r>
          </a:p>
        </p:txBody>
      </p:sp>
      <p:sp>
        <p:nvSpPr>
          <p:cNvPr id="12" name="Text Placeholder 4"/>
          <p:cNvSpPr>
            <a:spLocks noGrp="1"/>
          </p:cNvSpPr>
          <p:nvPr>
            <p:ph type="body" sz="quarter" idx="15" hasCustomPrompt="1"/>
          </p:nvPr>
        </p:nvSpPr>
        <p:spPr>
          <a:xfrm>
            <a:off x="4933542" y="2874080"/>
            <a:ext cx="1247904" cy="202294"/>
          </a:xfrm>
        </p:spPr>
        <p:txBody>
          <a:bodyPr lIns="0" tIns="0" rIns="0" bIns="0">
            <a:normAutofit/>
          </a:bodyPr>
          <a:lstStyle>
            <a:lvl1pPr marL="0" indent="0">
              <a:buNone/>
              <a:defRPr sz="1500">
                <a:solidFill>
                  <a:schemeClr val="accent1"/>
                </a:solidFill>
              </a:defRPr>
            </a:lvl1pPr>
          </a:lstStyle>
          <a:p>
            <a:pPr lvl="0"/>
            <a:r>
              <a:rPr lang="en-US" dirty="0"/>
              <a:t>Skills</a:t>
            </a:r>
          </a:p>
        </p:txBody>
      </p:sp>
      <p:sp>
        <p:nvSpPr>
          <p:cNvPr id="14" name="Shape 486"/>
          <p:cNvSpPr/>
          <p:nvPr/>
        </p:nvSpPr>
        <p:spPr>
          <a:xfrm>
            <a:off x="1571088" y="5793908"/>
            <a:ext cx="238191" cy="240442"/>
          </a:xfrm>
          <a:prstGeom prst="ellipse">
            <a:avLst/>
          </a:prstGeom>
          <a:solidFill>
            <a:srgbClr val="00B050"/>
          </a:solidFill>
          <a:ln w="12700" cap="flat">
            <a:noFill/>
            <a:miter lim="400000"/>
          </a:ln>
          <a:effectLst/>
        </p:spPr>
        <p:txBody>
          <a:bodyPr wrap="square" lIns="50800" tIns="50800" rIns="50800" bIns="508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15" name="Shape 487"/>
          <p:cNvSpPr/>
          <p:nvPr/>
        </p:nvSpPr>
        <p:spPr>
          <a:xfrm>
            <a:off x="1658891" y="5859127"/>
            <a:ext cx="58516" cy="105376"/>
          </a:xfrm>
          <a:custGeom>
            <a:avLst/>
            <a:gdLst/>
            <a:ahLst/>
            <a:cxnLst>
              <a:cxn ang="0">
                <a:pos x="wd2" y="hd2"/>
              </a:cxn>
              <a:cxn ang="5400000">
                <a:pos x="wd2" y="hd2"/>
              </a:cxn>
              <a:cxn ang="10800000">
                <a:pos x="wd2" y="hd2"/>
              </a:cxn>
              <a:cxn ang="16200000">
                <a:pos x="wd2" y="hd2"/>
              </a:cxn>
            </a:cxnLst>
            <a:rect l="0" t="0" r="r" b="b"/>
            <a:pathLst>
              <a:path w="21600" h="21600" extrusionOk="0">
                <a:moveTo>
                  <a:pt x="21600" y="3757"/>
                </a:moveTo>
                <a:lnTo>
                  <a:pt x="15430" y="3757"/>
                </a:lnTo>
                <a:cubicBezTo>
                  <a:pt x="14702" y="3757"/>
                  <a:pt x="13885" y="4288"/>
                  <a:pt x="13885" y="5002"/>
                </a:cubicBezTo>
                <a:lnTo>
                  <a:pt x="13885" y="7478"/>
                </a:lnTo>
                <a:lnTo>
                  <a:pt x="21600" y="7478"/>
                </a:lnTo>
                <a:lnTo>
                  <a:pt x="21600" y="11004"/>
                </a:lnTo>
                <a:lnTo>
                  <a:pt x="13885" y="11004"/>
                </a:lnTo>
                <a:lnTo>
                  <a:pt x="13885" y="21600"/>
                </a:lnTo>
                <a:lnTo>
                  <a:pt x="6602" y="21600"/>
                </a:lnTo>
                <a:lnTo>
                  <a:pt x="6602" y="11004"/>
                </a:lnTo>
                <a:lnTo>
                  <a:pt x="0" y="11004"/>
                </a:lnTo>
                <a:lnTo>
                  <a:pt x="0" y="7478"/>
                </a:lnTo>
                <a:lnTo>
                  <a:pt x="6602" y="7478"/>
                </a:lnTo>
                <a:lnTo>
                  <a:pt x="6602" y="5401"/>
                </a:lnTo>
                <a:cubicBezTo>
                  <a:pt x="6602" y="2424"/>
                  <a:pt x="10324" y="0"/>
                  <a:pt x="15430" y="0"/>
                </a:cubicBezTo>
                <a:lnTo>
                  <a:pt x="21600" y="0"/>
                </a:lnTo>
                <a:cubicBezTo>
                  <a:pt x="21600" y="0"/>
                  <a:pt x="21600" y="3757"/>
                  <a:pt x="21600" y="3757"/>
                </a:cubicBezTo>
                <a:close/>
              </a:path>
            </a:pathLst>
          </a:custGeom>
          <a:solidFill>
            <a:srgbClr val="FFFFFF"/>
          </a:solidFill>
          <a:ln w="12700" cap="flat">
            <a:noFill/>
            <a:miter lim="400000"/>
          </a:ln>
          <a:effectLst/>
        </p:spPr>
        <p:txBody>
          <a:bodyPr wrap="square" lIns="38100" tIns="38100" rIns="38100" bIns="381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17" name="Shape 490"/>
          <p:cNvSpPr/>
          <p:nvPr/>
        </p:nvSpPr>
        <p:spPr>
          <a:xfrm>
            <a:off x="1571088" y="6138071"/>
            <a:ext cx="238191" cy="240442"/>
          </a:xfrm>
          <a:prstGeom prst="ellipse">
            <a:avLst/>
          </a:prstGeom>
          <a:solidFill>
            <a:srgbClr val="00B050"/>
          </a:solidFill>
          <a:ln w="12700" cap="flat">
            <a:noFill/>
            <a:miter lim="400000"/>
          </a:ln>
          <a:effectLst/>
        </p:spPr>
        <p:txBody>
          <a:bodyPr wrap="square" lIns="50800" tIns="50800" rIns="50800" bIns="508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21" name="Shape 491"/>
          <p:cNvSpPr/>
          <p:nvPr/>
        </p:nvSpPr>
        <p:spPr>
          <a:xfrm>
            <a:off x="1640815" y="6209743"/>
            <a:ext cx="108950" cy="88560"/>
          </a:xfrm>
          <a:custGeom>
            <a:avLst/>
            <a:gdLst/>
            <a:ahLst/>
            <a:cxnLst>
              <a:cxn ang="0">
                <a:pos x="wd2" y="hd2"/>
              </a:cxn>
              <a:cxn ang="5400000">
                <a:pos x="wd2" y="hd2"/>
              </a:cxn>
              <a:cxn ang="10800000">
                <a:pos x="wd2" y="hd2"/>
              </a:cxn>
              <a:cxn ang="16200000">
                <a:pos x="wd2" y="hd2"/>
              </a:cxn>
            </a:cxnLst>
            <a:rect l="0" t="0" r="r" b="b"/>
            <a:pathLst>
              <a:path w="21600" h="21600" extrusionOk="0">
                <a:moveTo>
                  <a:pt x="21600" y="2557"/>
                </a:moveTo>
                <a:cubicBezTo>
                  <a:pt x="20804" y="2992"/>
                  <a:pt x="19950" y="3284"/>
                  <a:pt x="19054" y="3416"/>
                </a:cubicBezTo>
                <a:cubicBezTo>
                  <a:pt x="19970" y="2741"/>
                  <a:pt x="20673" y="1673"/>
                  <a:pt x="21003" y="400"/>
                </a:cubicBezTo>
                <a:cubicBezTo>
                  <a:pt x="20147" y="1023"/>
                  <a:pt x="19198" y="1478"/>
                  <a:pt x="18189" y="1722"/>
                </a:cubicBezTo>
                <a:cubicBezTo>
                  <a:pt x="17381" y="661"/>
                  <a:pt x="16229" y="0"/>
                  <a:pt x="14955" y="0"/>
                </a:cubicBezTo>
                <a:cubicBezTo>
                  <a:pt x="12507" y="0"/>
                  <a:pt x="10524" y="2442"/>
                  <a:pt x="10524" y="5451"/>
                </a:cubicBezTo>
                <a:cubicBezTo>
                  <a:pt x="10524" y="5879"/>
                  <a:pt x="10562" y="6297"/>
                  <a:pt x="10638" y="6697"/>
                </a:cubicBezTo>
                <a:cubicBezTo>
                  <a:pt x="6956" y="6467"/>
                  <a:pt x="3689" y="4296"/>
                  <a:pt x="1504" y="998"/>
                </a:cubicBezTo>
                <a:cubicBezTo>
                  <a:pt x="1122" y="1802"/>
                  <a:pt x="903" y="2741"/>
                  <a:pt x="903" y="3740"/>
                </a:cubicBezTo>
                <a:cubicBezTo>
                  <a:pt x="903" y="5632"/>
                  <a:pt x="1686" y="7299"/>
                  <a:pt x="2875" y="8280"/>
                </a:cubicBezTo>
                <a:cubicBezTo>
                  <a:pt x="2150" y="8248"/>
                  <a:pt x="1466" y="8005"/>
                  <a:pt x="868" y="7598"/>
                </a:cubicBezTo>
                <a:cubicBezTo>
                  <a:pt x="868" y="7619"/>
                  <a:pt x="868" y="7643"/>
                  <a:pt x="868" y="7664"/>
                </a:cubicBezTo>
                <a:cubicBezTo>
                  <a:pt x="868" y="10308"/>
                  <a:pt x="2396" y="12510"/>
                  <a:pt x="4423" y="13011"/>
                </a:cubicBezTo>
                <a:cubicBezTo>
                  <a:pt x="4051" y="13136"/>
                  <a:pt x="3660" y="13202"/>
                  <a:pt x="3255" y="13202"/>
                </a:cubicBezTo>
                <a:cubicBezTo>
                  <a:pt x="2970" y="13202"/>
                  <a:pt x="2693" y="13167"/>
                  <a:pt x="2421" y="13105"/>
                </a:cubicBezTo>
                <a:cubicBezTo>
                  <a:pt x="2985" y="15272"/>
                  <a:pt x="4622" y="16848"/>
                  <a:pt x="6560" y="16893"/>
                </a:cubicBezTo>
                <a:cubicBezTo>
                  <a:pt x="5043" y="18354"/>
                  <a:pt x="3134" y="19227"/>
                  <a:pt x="1057" y="19227"/>
                </a:cubicBezTo>
                <a:cubicBezTo>
                  <a:pt x="700" y="19227"/>
                  <a:pt x="348" y="19200"/>
                  <a:pt x="0" y="19151"/>
                </a:cubicBezTo>
                <a:cubicBezTo>
                  <a:pt x="1961" y="20699"/>
                  <a:pt x="4290" y="21600"/>
                  <a:pt x="6793" y="21600"/>
                </a:cubicBezTo>
                <a:cubicBezTo>
                  <a:pt x="14944" y="21600"/>
                  <a:pt x="19402" y="13293"/>
                  <a:pt x="19402" y="6084"/>
                </a:cubicBezTo>
                <a:cubicBezTo>
                  <a:pt x="19402" y="5848"/>
                  <a:pt x="19398" y="5615"/>
                  <a:pt x="19389" y="5378"/>
                </a:cubicBezTo>
                <a:cubicBezTo>
                  <a:pt x="20254" y="4609"/>
                  <a:pt x="21005" y="3649"/>
                  <a:pt x="21600" y="2557"/>
                </a:cubicBezTo>
                <a:close/>
              </a:path>
            </a:pathLst>
          </a:custGeom>
          <a:solidFill>
            <a:srgbClr val="FFFFFF"/>
          </a:solidFill>
          <a:ln w="12700" cap="flat">
            <a:noFill/>
            <a:miter lim="400000"/>
          </a:ln>
          <a:effectLst/>
        </p:spPr>
        <p:txBody>
          <a:bodyPr wrap="square" lIns="38100" tIns="38100" rIns="38100" bIns="381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8" name="Picture Placeholder 7"/>
          <p:cNvSpPr>
            <a:spLocks noGrp="1"/>
          </p:cNvSpPr>
          <p:nvPr userDrawn="1">
            <p:ph type="pic" sz="quarter" idx="14"/>
          </p:nvPr>
        </p:nvSpPr>
        <p:spPr>
          <a:xfrm>
            <a:off x="7611921" y="2808724"/>
            <a:ext cx="3053301" cy="3056425"/>
          </a:xfrm>
          <a:prstGeom prst="rect">
            <a:avLst/>
          </a:prstGeom>
          <a:solidFill>
            <a:schemeClr val="bg1">
              <a:lumMod val="65000"/>
            </a:schemeClr>
          </a:solidFill>
          <a:ln w="38100">
            <a:solidFill>
              <a:srgbClr val="00B050"/>
            </a:solidFill>
          </a:ln>
        </p:spPr>
        <p:txBody>
          <a:bodyPr>
            <a:normAutofit/>
          </a:bodyPr>
          <a:lstStyle>
            <a:lvl1pPr>
              <a:defRPr sz="1400"/>
            </a:lvl1pPr>
          </a:lstStyle>
          <a:p>
            <a:endParaRPr lang="en-GB" dirty="0"/>
          </a:p>
        </p:txBody>
      </p:sp>
      <p:sp>
        <p:nvSpPr>
          <p:cNvPr id="35" name="Text Placeholder 5"/>
          <p:cNvSpPr>
            <a:spLocks noGrp="1"/>
          </p:cNvSpPr>
          <p:nvPr userDrawn="1">
            <p:ph type="body" sz="quarter" idx="16" hasCustomPrompt="1"/>
          </p:nvPr>
        </p:nvSpPr>
        <p:spPr>
          <a:xfrm>
            <a:off x="4907503" y="3313156"/>
            <a:ext cx="1299981" cy="211548"/>
          </a:xfrm>
        </p:spPr>
        <p:txBody>
          <a:bodyPr lIns="0" tIns="0" rIns="0" bIns="0">
            <a:normAutofit/>
          </a:bodyPr>
          <a:lstStyle>
            <a:lvl1pPr marL="0" indent="0" algn="l">
              <a:lnSpc>
                <a:spcPct val="100000"/>
              </a:lnSpc>
              <a:spcBef>
                <a:spcPts val="200"/>
              </a:spcBef>
              <a:buNone/>
              <a:defRPr sz="1000" baseline="0">
                <a:solidFill>
                  <a:schemeClr val="bg1">
                    <a:lumMod val="95000"/>
                  </a:schemeClr>
                </a:solidFill>
              </a:defRPr>
            </a:lvl1pPr>
          </a:lstStyle>
          <a:p>
            <a:pPr lvl="0"/>
            <a:r>
              <a:rPr lang="en-US" dirty="0"/>
              <a:t>Adobe Photoshop</a:t>
            </a:r>
          </a:p>
        </p:txBody>
      </p:sp>
      <p:sp>
        <p:nvSpPr>
          <p:cNvPr id="36" name="Text Placeholder 5"/>
          <p:cNvSpPr>
            <a:spLocks noGrp="1"/>
          </p:cNvSpPr>
          <p:nvPr userDrawn="1">
            <p:ph type="body" sz="quarter" idx="17" hasCustomPrompt="1"/>
          </p:nvPr>
        </p:nvSpPr>
        <p:spPr>
          <a:xfrm>
            <a:off x="6329637" y="3693782"/>
            <a:ext cx="425256" cy="165538"/>
          </a:xfrm>
        </p:spPr>
        <p:txBody>
          <a:bodyPr lIns="0" tIns="0" rIns="0" bIns="0">
            <a:noAutofit/>
          </a:bodyPr>
          <a:lstStyle>
            <a:lvl1pPr marL="0" indent="0" algn="ctr">
              <a:lnSpc>
                <a:spcPts val="1400"/>
              </a:lnSpc>
              <a:buNone/>
              <a:defRPr sz="1000">
                <a:solidFill>
                  <a:schemeClr val="bg1">
                    <a:lumMod val="95000"/>
                  </a:schemeClr>
                </a:solidFill>
              </a:defRPr>
            </a:lvl1pPr>
          </a:lstStyle>
          <a:p>
            <a:pPr lvl="0"/>
            <a:r>
              <a:rPr lang="en-US" dirty="0"/>
              <a:t>62%</a:t>
            </a:r>
          </a:p>
        </p:txBody>
      </p:sp>
      <p:sp>
        <p:nvSpPr>
          <p:cNvPr id="43" name="Text Placeholder 5"/>
          <p:cNvSpPr>
            <a:spLocks noGrp="1"/>
          </p:cNvSpPr>
          <p:nvPr userDrawn="1">
            <p:ph type="body" sz="quarter" idx="24" hasCustomPrompt="1"/>
          </p:nvPr>
        </p:nvSpPr>
        <p:spPr>
          <a:xfrm>
            <a:off x="1967335" y="5810541"/>
            <a:ext cx="1186558" cy="197056"/>
          </a:xfrm>
        </p:spPr>
        <p:txBody>
          <a:bodyPr lIns="0" tIns="0" rIns="0" bIns="0">
            <a:normAutofit/>
          </a:bodyPr>
          <a:lstStyle>
            <a:lvl1pPr marL="0" indent="0">
              <a:lnSpc>
                <a:spcPts val="1400"/>
              </a:lnSpc>
              <a:buNone/>
              <a:defRPr sz="1000">
                <a:solidFill>
                  <a:schemeClr val="bg1">
                    <a:lumMod val="95000"/>
                  </a:schemeClr>
                </a:solidFill>
              </a:defRPr>
            </a:lvl1pPr>
          </a:lstStyle>
          <a:p>
            <a:pPr lvl="0"/>
            <a:r>
              <a:rPr lang="en-US" dirty="0"/>
              <a:t>agam_banda90</a:t>
            </a:r>
          </a:p>
        </p:txBody>
      </p:sp>
      <p:sp>
        <p:nvSpPr>
          <p:cNvPr id="44" name="Text Placeholder 5"/>
          <p:cNvSpPr>
            <a:spLocks noGrp="1"/>
          </p:cNvSpPr>
          <p:nvPr userDrawn="1">
            <p:ph type="body" sz="quarter" idx="25" hasCustomPrompt="1"/>
          </p:nvPr>
        </p:nvSpPr>
        <p:spPr>
          <a:xfrm>
            <a:off x="1967336" y="6163676"/>
            <a:ext cx="1415098" cy="197056"/>
          </a:xfrm>
        </p:spPr>
        <p:txBody>
          <a:bodyPr lIns="0" tIns="0" rIns="0" bIns="0">
            <a:normAutofit/>
          </a:bodyPr>
          <a:lstStyle>
            <a:lvl1pPr marL="0" indent="0">
              <a:lnSpc>
                <a:spcPts val="1400"/>
              </a:lnSpc>
              <a:buNone/>
              <a:defRPr sz="1000">
                <a:solidFill>
                  <a:schemeClr val="bg1">
                    <a:lumMod val="95000"/>
                  </a:schemeClr>
                </a:solidFill>
              </a:defRPr>
            </a:lvl1pPr>
          </a:lstStyle>
          <a:p>
            <a:pPr lvl="0"/>
            <a:r>
              <a:rPr lang="en-US" dirty="0"/>
              <a:t>banda_keren1990</a:t>
            </a:r>
          </a:p>
        </p:txBody>
      </p:sp>
      <p:sp>
        <p:nvSpPr>
          <p:cNvPr id="25" name="Rectangle 24"/>
          <p:cNvSpPr/>
          <p:nvPr userDrawn="1"/>
        </p:nvSpPr>
        <p:spPr>
          <a:xfrm>
            <a:off x="4901776" y="3539543"/>
            <a:ext cx="2182982" cy="65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26" name="Rectangle 25"/>
          <p:cNvSpPr/>
          <p:nvPr userDrawn="1"/>
        </p:nvSpPr>
        <p:spPr>
          <a:xfrm>
            <a:off x="4901776" y="3538571"/>
            <a:ext cx="1628540" cy="65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77" name="Text Placeholder 5"/>
          <p:cNvSpPr>
            <a:spLocks noGrp="1"/>
          </p:cNvSpPr>
          <p:nvPr userDrawn="1">
            <p:ph type="body" sz="quarter" idx="27" hasCustomPrompt="1"/>
          </p:nvPr>
        </p:nvSpPr>
        <p:spPr>
          <a:xfrm>
            <a:off x="4907503" y="3980285"/>
            <a:ext cx="1299981" cy="211548"/>
          </a:xfrm>
        </p:spPr>
        <p:txBody>
          <a:bodyPr lIns="0" tIns="0" rIns="0" bIns="0">
            <a:normAutofit/>
          </a:bodyPr>
          <a:lstStyle>
            <a:lvl1pPr marL="0" indent="0" algn="l">
              <a:lnSpc>
                <a:spcPct val="100000"/>
              </a:lnSpc>
              <a:spcBef>
                <a:spcPts val="200"/>
              </a:spcBef>
              <a:buNone/>
              <a:defRPr sz="1000" baseline="0">
                <a:solidFill>
                  <a:schemeClr val="bg1">
                    <a:lumMod val="95000"/>
                  </a:schemeClr>
                </a:solidFill>
              </a:defRPr>
            </a:lvl1pPr>
          </a:lstStyle>
          <a:p>
            <a:pPr lvl="0"/>
            <a:r>
              <a:rPr lang="en-US" dirty="0"/>
              <a:t>Adobe Photoshop</a:t>
            </a:r>
          </a:p>
        </p:txBody>
      </p:sp>
      <p:sp>
        <p:nvSpPr>
          <p:cNvPr id="78" name="Text Placeholder 5"/>
          <p:cNvSpPr>
            <a:spLocks noGrp="1"/>
          </p:cNvSpPr>
          <p:nvPr userDrawn="1">
            <p:ph type="body" sz="quarter" idx="28" hasCustomPrompt="1"/>
          </p:nvPr>
        </p:nvSpPr>
        <p:spPr>
          <a:xfrm>
            <a:off x="5886834" y="4360913"/>
            <a:ext cx="425256" cy="165538"/>
          </a:xfrm>
        </p:spPr>
        <p:txBody>
          <a:bodyPr lIns="0" tIns="0" rIns="0" bIns="0">
            <a:noAutofit/>
          </a:bodyPr>
          <a:lstStyle>
            <a:lvl1pPr marL="0" indent="0" algn="ctr">
              <a:lnSpc>
                <a:spcPts val="1400"/>
              </a:lnSpc>
              <a:buNone/>
              <a:defRPr sz="1000">
                <a:solidFill>
                  <a:schemeClr val="bg1">
                    <a:lumMod val="95000"/>
                  </a:schemeClr>
                </a:solidFill>
              </a:defRPr>
            </a:lvl1pPr>
          </a:lstStyle>
          <a:p>
            <a:pPr lvl="0"/>
            <a:r>
              <a:rPr lang="en-US" dirty="0"/>
              <a:t>50%</a:t>
            </a:r>
          </a:p>
        </p:txBody>
      </p:sp>
      <p:sp>
        <p:nvSpPr>
          <p:cNvPr id="80" name="Rectangle 79"/>
          <p:cNvSpPr/>
          <p:nvPr userDrawn="1"/>
        </p:nvSpPr>
        <p:spPr>
          <a:xfrm>
            <a:off x="4901776" y="4206671"/>
            <a:ext cx="2182982" cy="65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81" name="Rectangle 80"/>
          <p:cNvSpPr/>
          <p:nvPr userDrawn="1"/>
        </p:nvSpPr>
        <p:spPr>
          <a:xfrm>
            <a:off x="4901772" y="4205699"/>
            <a:ext cx="1197403" cy="65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82" name="Text Placeholder 5"/>
          <p:cNvSpPr>
            <a:spLocks noGrp="1"/>
          </p:cNvSpPr>
          <p:nvPr userDrawn="1">
            <p:ph type="body" sz="quarter" idx="29" hasCustomPrompt="1"/>
          </p:nvPr>
        </p:nvSpPr>
        <p:spPr>
          <a:xfrm>
            <a:off x="4907503" y="4637570"/>
            <a:ext cx="1299981" cy="211548"/>
          </a:xfrm>
        </p:spPr>
        <p:txBody>
          <a:bodyPr lIns="0" tIns="0" rIns="0" bIns="0">
            <a:normAutofit/>
          </a:bodyPr>
          <a:lstStyle>
            <a:lvl1pPr marL="0" indent="0" algn="l">
              <a:lnSpc>
                <a:spcPct val="100000"/>
              </a:lnSpc>
              <a:spcBef>
                <a:spcPts val="200"/>
              </a:spcBef>
              <a:buNone/>
              <a:defRPr sz="1000" baseline="0">
                <a:solidFill>
                  <a:schemeClr val="bg1">
                    <a:lumMod val="95000"/>
                  </a:schemeClr>
                </a:solidFill>
              </a:defRPr>
            </a:lvl1pPr>
          </a:lstStyle>
          <a:p>
            <a:pPr lvl="0"/>
            <a:r>
              <a:rPr lang="en-US" dirty="0"/>
              <a:t>Adobe Photoshop</a:t>
            </a:r>
          </a:p>
        </p:txBody>
      </p:sp>
      <p:sp>
        <p:nvSpPr>
          <p:cNvPr id="83" name="Text Placeholder 5"/>
          <p:cNvSpPr>
            <a:spLocks noGrp="1"/>
          </p:cNvSpPr>
          <p:nvPr userDrawn="1">
            <p:ph type="body" sz="quarter" idx="30" hasCustomPrompt="1"/>
          </p:nvPr>
        </p:nvSpPr>
        <p:spPr>
          <a:xfrm>
            <a:off x="6698636" y="5018196"/>
            <a:ext cx="425256" cy="165538"/>
          </a:xfrm>
        </p:spPr>
        <p:txBody>
          <a:bodyPr lIns="0" tIns="0" rIns="0" bIns="0">
            <a:noAutofit/>
          </a:bodyPr>
          <a:lstStyle>
            <a:lvl1pPr marL="0" indent="0" algn="ctr">
              <a:lnSpc>
                <a:spcPts val="1400"/>
              </a:lnSpc>
              <a:buNone/>
              <a:defRPr sz="1000">
                <a:solidFill>
                  <a:schemeClr val="bg1">
                    <a:lumMod val="95000"/>
                  </a:schemeClr>
                </a:solidFill>
              </a:defRPr>
            </a:lvl1pPr>
          </a:lstStyle>
          <a:p>
            <a:pPr lvl="0"/>
            <a:r>
              <a:rPr lang="en-US" dirty="0"/>
              <a:t>90%</a:t>
            </a:r>
          </a:p>
        </p:txBody>
      </p:sp>
      <p:sp>
        <p:nvSpPr>
          <p:cNvPr id="85" name="Rectangle 84"/>
          <p:cNvSpPr/>
          <p:nvPr userDrawn="1"/>
        </p:nvSpPr>
        <p:spPr>
          <a:xfrm>
            <a:off x="4901776" y="4863958"/>
            <a:ext cx="2182982" cy="65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86" name="Rectangle 85"/>
          <p:cNvSpPr/>
          <p:nvPr userDrawn="1"/>
        </p:nvSpPr>
        <p:spPr>
          <a:xfrm>
            <a:off x="4901772" y="4862986"/>
            <a:ext cx="2016339" cy="65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ctr"/>
          <a:lstStyle/>
          <a:p>
            <a:pPr algn="ctr"/>
            <a:endParaRPr lang="en-GB"/>
          </a:p>
        </p:txBody>
      </p:sp>
      <p:sp>
        <p:nvSpPr>
          <p:cNvPr id="34" name="Text Placeholder 5"/>
          <p:cNvSpPr>
            <a:spLocks noGrp="1"/>
          </p:cNvSpPr>
          <p:nvPr userDrawn="1">
            <p:ph type="body" sz="quarter" idx="31" hasCustomPrompt="1"/>
          </p:nvPr>
        </p:nvSpPr>
        <p:spPr>
          <a:xfrm>
            <a:off x="5264150" y="5810541"/>
            <a:ext cx="1186558" cy="197056"/>
          </a:xfrm>
        </p:spPr>
        <p:txBody>
          <a:bodyPr lIns="0" tIns="0" rIns="0" bIns="0">
            <a:normAutofit/>
          </a:bodyPr>
          <a:lstStyle>
            <a:lvl1pPr marL="0" indent="0">
              <a:lnSpc>
                <a:spcPts val="1400"/>
              </a:lnSpc>
              <a:buNone/>
              <a:defRPr sz="1000">
                <a:solidFill>
                  <a:schemeClr val="bg1">
                    <a:lumMod val="95000"/>
                  </a:schemeClr>
                </a:solidFill>
              </a:defRPr>
            </a:lvl1pPr>
          </a:lstStyle>
          <a:p>
            <a:pPr lvl="0"/>
            <a:r>
              <a:rPr lang="en-US" dirty="0"/>
              <a:t>agam_banda90</a:t>
            </a:r>
          </a:p>
        </p:txBody>
      </p:sp>
      <p:sp>
        <p:nvSpPr>
          <p:cNvPr id="37" name="Text Placeholder 5"/>
          <p:cNvSpPr>
            <a:spLocks noGrp="1"/>
          </p:cNvSpPr>
          <p:nvPr userDrawn="1">
            <p:ph type="body" sz="quarter" idx="32" hasCustomPrompt="1"/>
          </p:nvPr>
        </p:nvSpPr>
        <p:spPr>
          <a:xfrm>
            <a:off x="5264150" y="6163676"/>
            <a:ext cx="1415098" cy="197056"/>
          </a:xfrm>
        </p:spPr>
        <p:txBody>
          <a:bodyPr lIns="0" tIns="0" rIns="0" bIns="0">
            <a:normAutofit/>
          </a:bodyPr>
          <a:lstStyle>
            <a:lvl1pPr marL="0" indent="0">
              <a:lnSpc>
                <a:spcPts val="1400"/>
              </a:lnSpc>
              <a:buNone/>
              <a:defRPr sz="1000">
                <a:solidFill>
                  <a:schemeClr val="bg1">
                    <a:lumMod val="95000"/>
                  </a:schemeClr>
                </a:solidFill>
              </a:defRPr>
            </a:lvl1pPr>
          </a:lstStyle>
          <a:p>
            <a:pPr lvl="0"/>
            <a:r>
              <a:rPr lang="en-US" dirty="0"/>
              <a:t>banda_keren1990</a:t>
            </a:r>
          </a:p>
        </p:txBody>
      </p:sp>
      <p:sp>
        <p:nvSpPr>
          <p:cNvPr id="29" name="Shape 486"/>
          <p:cNvSpPr/>
          <p:nvPr/>
        </p:nvSpPr>
        <p:spPr>
          <a:xfrm>
            <a:off x="4867903" y="5793908"/>
            <a:ext cx="238191" cy="240442"/>
          </a:xfrm>
          <a:prstGeom prst="ellipse">
            <a:avLst/>
          </a:prstGeom>
          <a:solidFill>
            <a:srgbClr val="00B050"/>
          </a:solidFill>
          <a:ln w="12700" cap="flat">
            <a:noFill/>
            <a:miter lim="400000"/>
          </a:ln>
          <a:effectLst/>
        </p:spPr>
        <p:txBody>
          <a:bodyPr wrap="square" lIns="50800" tIns="50800" rIns="50800" bIns="508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38" name="Shape 1186"/>
          <p:cNvSpPr/>
          <p:nvPr userDrawn="1"/>
        </p:nvSpPr>
        <p:spPr>
          <a:xfrm>
            <a:off x="4921641" y="5843354"/>
            <a:ext cx="137633" cy="121149"/>
          </a:xfrm>
          <a:custGeom>
            <a:avLst/>
            <a:gdLst/>
            <a:ahLst/>
            <a:cxnLst>
              <a:cxn ang="0">
                <a:pos x="wd2" y="hd2"/>
              </a:cxn>
              <a:cxn ang="5400000">
                <a:pos x="wd2" y="hd2"/>
              </a:cxn>
              <a:cxn ang="10800000">
                <a:pos x="wd2" y="hd2"/>
              </a:cxn>
              <a:cxn ang="16200000">
                <a:pos x="wd2" y="hd2"/>
              </a:cxn>
            </a:cxnLst>
            <a:rect l="0" t="0" r="r" b="b"/>
            <a:pathLst>
              <a:path w="21600" h="21600" extrusionOk="0">
                <a:moveTo>
                  <a:pt x="11041" y="15188"/>
                </a:moveTo>
                <a:cubicBezTo>
                  <a:pt x="8905" y="14174"/>
                  <a:pt x="8222" y="13317"/>
                  <a:pt x="8222" y="11485"/>
                </a:cubicBezTo>
                <a:cubicBezTo>
                  <a:pt x="8222" y="10385"/>
                  <a:pt x="8875" y="10744"/>
                  <a:pt x="9161" y="8730"/>
                </a:cubicBezTo>
                <a:cubicBezTo>
                  <a:pt x="9279" y="7894"/>
                  <a:pt x="9855" y="8716"/>
                  <a:pt x="9966" y="6808"/>
                </a:cubicBezTo>
                <a:cubicBezTo>
                  <a:pt x="9966" y="6047"/>
                  <a:pt x="9651" y="5858"/>
                  <a:pt x="9651" y="5858"/>
                </a:cubicBezTo>
                <a:cubicBezTo>
                  <a:pt x="9651" y="5858"/>
                  <a:pt x="9811" y="4733"/>
                  <a:pt x="9873" y="3867"/>
                </a:cubicBezTo>
                <a:cubicBezTo>
                  <a:pt x="9951" y="2788"/>
                  <a:pt x="9396" y="0"/>
                  <a:pt x="6431" y="0"/>
                </a:cubicBezTo>
                <a:cubicBezTo>
                  <a:pt x="3466" y="0"/>
                  <a:pt x="2909" y="2788"/>
                  <a:pt x="2987" y="3867"/>
                </a:cubicBezTo>
                <a:cubicBezTo>
                  <a:pt x="3050" y="4733"/>
                  <a:pt x="3210" y="5858"/>
                  <a:pt x="3210" y="5858"/>
                </a:cubicBezTo>
                <a:cubicBezTo>
                  <a:pt x="3210" y="5858"/>
                  <a:pt x="2895" y="6047"/>
                  <a:pt x="2895" y="6808"/>
                </a:cubicBezTo>
                <a:cubicBezTo>
                  <a:pt x="3005" y="8716"/>
                  <a:pt x="3582" y="7894"/>
                  <a:pt x="3700" y="8730"/>
                </a:cubicBezTo>
                <a:cubicBezTo>
                  <a:pt x="3987" y="10744"/>
                  <a:pt x="4639" y="10385"/>
                  <a:pt x="4639" y="11485"/>
                </a:cubicBezTo>
                <a:cubicBezTo>
                  <a:pt x="4639" y="13317"/>
                  <a:pt x="3956" y="14174"/>
                  <a:pt x="1819" y="15188"/>
                </a:cubicBezTo>
                <a:cubicBezTo>
                  <a:pt x="1169" y="15497"/>
                  <a:pt x="0" y="15976"/>
                  <a:pt x="0" y="17129"/>
                </a:cubicBezTo>
                <a:lnTo>
                  <a:pt x="0" y="21600"/>
                </a:lnTo>
                <a:lnTo>
                  <a:pt x="15005" y="21600"/>
                </a:lnTo>
                <a:cubicBezTo>
                  <a:pt x="15005" y="21600"/>
                  <a:pt x="15005" y="18955"/>
                  <a:pt x="15005" y="18248"/>
                </a:cubicBezTo>
                <a:cubicBezTo>
                  <a:pt x="15005" y="17196"/>
                  <a:pt x="13184" y="16207"/>
                  <a:pt x="11041" y="15188"/>
                </a:cubicBezTo>
                <a:close/>
                <a:moveTo>
                  <a:pt x="21600" y="21600"/>
                </a:moveTo>
                <a:cubicBezTo>
                  <a:pt x="21600" y="21600"/>
                  <a:pt x="21557" y="16953"/>
                  <a:pt x="21307" y="16471"/>
                </a:cubicBezTo>
                <a:cubicBezTo>
                  <a:pt x="20935" y="15754"/>
                  <a:pt x="20071" y="15261"/>
                  <a:pt x="18463" y="14498"/>
                </a:cubicBezTo>
                <a:cubicBezTo>
                  <a:pt x="16861" y="13736"/>
                  <a:pt x="16349" y="13094"/>
                  <a:pt x="16349" y="11720"/>
                </a:cubicBezTo>
                <a:cubicBezTo>
                  <a:pt x="16349" y="10894"/>
                  <a:pt x="16838" y="11164"/>
                  <a:pt x="17053" y="9653"/>
                </a:cubicBezTo>
                <a:cubicBezTo>
                  <a:pt x="17142" y="9026"/>
                  <a:pt x="17574" y="9643"/>
                  <a:pt x="17657" y="8212"/>
                </a:cubicBezTo>
                <a:cubicBezTo>
                  <a:pt x="17657" y="7642"/>
                  <a:pt x="17420" y="7499"/>
                  <a:pt x="17420" y="7499"/>
                </a:cubicBezTo>
                <a:cubicBezTo>
                  <a:pt x="17420" y="7499"/>
                  <a:pt x="17541" y="6656"/>
                  <a:pt x="17588" y="6006"/>
                </a:cubicBezTo>
                <a:cubicBezTo>
                  <a:pt x="17646" y="5197"/>
                  <a:pt x="17229" y="3106"/>
                  <a:pt x="15005" y="3106"/>
                </a:cubicBezTo>
                <a:cubicBezTo>
                  <a:pt x="12781" y="3106"/>
                  <a:pt x="12365" y="5197"/>
                  <a:pt x="12422" y="6006"/>
                </a:cubicBezTo>
                <a:cubicBezTo>
                  <a:pt x="12469" y="6656"/>
                  <a:pt x="12589" y="7499"/>
                  <a:pt x="12589" y="7499"/>
                </a:cubicBezTo>
                <a:cubicBezTo>
                  <a:pt x="12589" y="7499"/>
                  <a:pt x="12353" y="7642"/>
                  <a:pt x="12353" y="8212"/>
                </a:cubicBezTo>
                <a:cubicBezTo>
                  <a:pt x="12437" y="9643"/>
                  <a:pt x="12868" y="9026"/>
                  <a:pt x="12957" y="9653"/>
                </a:cubicBezTo>
                <a:cubicBezTo>
                  <a:pt x="13173" y="11164"/>
                  <a:pt x="13662" y="10894"/>
                  <a:pt x="13662" y="11720"/>
                </a:cubicBezTo>
                <a:cubicBezTo>
                  <a:pt x="13662" y="12655"/>
                  <a:pt x="13424" y="13250"/>
                  <a:pt x="12768" y="13776"/>
                </a:cubicBezTo>
                <a:cubicBezTo>
                  <a:pt x="16268" y="15766"/>
                  <a:pt x="16737" y="16172"/>
                  <a:pt x="16737" y="17952"/>
                </a:cubicBezTo>
                <a:lnTo>
                  <a:pt x="16737" y="21600"/>
                </a:lnTo>
                <a:cubicBezTo>
                  <a:pt x="16737" y="21600"/>
                  <a:pt x="21600" y="21600"/>
                  <a:pt x="21600" y="21600"/>
                </a:cubicBezTo>
                <a:close/>
              </a:path>
            </a:pathLst>
          </a:custGeom>
          <a:solidFill>
            <a:schemeClr val="bg1"/>
          </a:solidFill>
          <a:ln w="12700" cap="flat">
            <a:noFill/>
            <a:miter lim="400000"/>
          </a:ln>
          <a:effectLst/>
        </p:spPr>
        <p:txBody>
          <a:bodyPr wrap="square" lIns="38100" tIns="38100" rIns="38100" bIns="38100" numCol="1" anchor="ctr">
            <a:noAutofit/>
          </a:bodyPr>
          <a:lstStyle/>
          <a:p>
            <a:pPr lvl="0" algn="l">
              <a:lnSpc>
                <a:spcPct val="100000"/>
              </a:lnSpc>
              <a:spcBef>
                <a:spcPts val="4499"/>
              </a:spcBef>
              <a:defRPr sz="2500">
                <a:latin typeface="Aleo Light"/>
                <a:ea typeface="Aleo Light"/>
                <a:cs typeface="Aleo Light"/>
                <a:sym typeface="Aleo Light"/>
              </a:defRPr>
            </a:pPr>
            <a:endParaRPr dirty="0">
              <a:solidFill>
                <a:schemeClr val="bg1">
                  <a:lumMod val="95000"/>
                </a:schemeClr>
              </a:solidFill>
            </a:endParaRPr>
          </a:p>
        </p:txBody>
      </p:sp>
      <p:sp>
        <p:nvSpPr>
          <p:cNvPr id="32" name="Shape 490"/>
          <p:cNvSpPr/>
          <p:nvPr/>
        </p:nvSpPr>
        <p:spPr>
          <a:xfrm>
            <a:off x="4867903" y="6138071"/>
            <a:ext cx="238191" cy="240442"/>
          </a:xfrm>
          <a:prstGeom prst="ellipse">
            <a:avLst/>
          </a:prstGeom>
          <a:solidFill>
            <a:srgbClr val="00B050"/>
          </a:solidFill>
          <a:ln w="12700" cap="flat">
            <a:noFill/>
            <a:miter lim="400000"/>
          </a:ln>
          <a:effectLst/>
        </p:spPr>
        <p:txBody>
          <a:bodyPr wrap="square" lIns="50800" tIns="50800" rIns="50800" bIns="508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
        <p:nvSpPr>
          <p:cNvPr id="39" name="Shape 384"/>
          <p:cNvSpPr/>
          <p:nvPr userDrawn="1"/>
        </p:nvSpPr>
        <p:spPr>
          <a:xfrm>
            <a:off x="4940684" y="6212124"/>
            <a:ext cx="95264" cy="97412"/>
          </a:xfrm>
          <a:custGeom>
            <a:avLst/>
            <a:gdLst/>
            <a:ahLst/>
            <a:cxnLst>
              <a:cxn ang="0">
                <a:pos x="wd2" y="hd2"/>
              </a:cxn>
              <a:cxn ang="5400000">
                <a:pos x="wd2" y="hd2"/>
              </a:cxn>
              <a:cxn ang="10800000">
                <a:pos x="wd2" y="hd2"/>
              </a:cxn>
              <a:cxn ang="16200000">
                <a:pos x="wd2" y="hd2"/>
              </a:cxn>
            </a:cxnLst>
            <a:rect l="0" t="0" r="r" b="b"/>
            <a:pathLst>
              <a:path w="21600" h="21600" extrusionOk="0">
                <a:moveTo>
                  <a:pt x="1735" y="3821"/>
                </a:moveTo>
                <a:lnTo>
                  <a:pt x="4745" y="3821"/>
                </a:lnTo>
                <a:cubicBezTo>
                  <a:pt x="4832" y="6659"/>
                  <a:pt x="5371" y="8569"/>
                  <a:pt x="6052" y="9978"/>
                </a:cubicBezTo>
                <a:cubicBezTo>
                  <a:pt x="3968" y="8590"/>
                  <a:pt x="2022" y="6988"/>
                  <a:pt x="1735" y="3821"/>
                </a:cubicBezTo>
                <a:close/>
                <a:moveTo>
                  <a:pt x="10800" y="1439"/>
                </a:moveTo>
                <a:cubicBezTo>
                  <a:pt x="14079" y="1438"/>
                  <a:pt x="15359" y="2749"/>
                  <a:pt x="15358" y="3236"/>
                </a:cubicBezTo>
                <a:cubicBezTo>
                  <a:pt x="15358" y="3725"/>
                  <a:pt x="14080" y="5035"/>
                  <a:pt x="10800" y="5038"/>
                </a:cubicBezTo>
                <a:cubicBezTo>
                  <a:pt x="7521" y="5035"/>
                  <a:pt x="6242" y="3725"/>
                  <a:pt x="6242" y="3236"/>
                </a:cubicBezTo>
                <a:cubicBezTo>
                  <a:pt x="6241" y="2749"/>
                  <a:pt x="7521" y="1438"/>
                  <a:pt x="10800" y="1439"/>
                </a:cubicBezTo>
                <a:close/>
                <a:moveTo>
                  <a:pt x="15548" y="9978"/>
                </a:moveTo>
                <a:cubicBezTo>
                  <a:pt x="16230" y="8569"/>
                  <a:pt x="16768" y="6659"/>
                  <a:pt x="16855" y="3821"/>
                </a:cubicBezTo>
                <a:lnTo>
                  <a:pt x="19866" y="3821"/>
                </a:lnTo>
                <a:cubicBezTo>
                  <a:pt x="19580" y="6988"/>
                  <a:pt x="17632" y="8590"/>
                  <a:pt x="15548" y="9978"/>
                </a:cubicBezTo>
                <a:close/>
                <a:moveTo>
                  <a:pt x="12216" y="15911"/>
                </a:moveTo>
                <a:cubicBezTo>
                  <a:pt x="12216" y="14207"/>
                  <a:pt x="13537" y="13266"/>
                  <a:pt x="15690" y="11871"/>
                </a:cubicBezTo>
                <a:cubicBezTo>
                  <a:pt x="18323" y="10163"/>
                  <a:pt x="21600" y="8040"/>
                  <a:pt x="21600" y="2998"/>
                </a:cubicBezTo>
                <a:cubicBezTo>
                  <a:pt x="21600" y="2544"/>
                  <a:pt x="21220" y="2177"/>
                  <a:pt x="20750" y="2177"/>
                </a:cubicBezTo>
                <a:lnTo>
                  <a:pt x="16635" y="2177"/>
                </a:lnTo>
                <a:cubicBezTo>
                  <a:pt x="16053" y="1125"/>
                  <a:pt x="14320" y="0"/>
                  <a:pt x="10800" y="0"/>
                </a:cubicBezTo>
                <a:cubicBezTo>
                  <a:pt x="7281" y="0"/>
                  <a:pt x="5547" y="1125"/>
                  <a:pt x="4966" y="2177"/>
                </a:cubicBezTo>
                <a:lnTo>
                  <a:pt x="850" y="2177"/>
                </a:lnTo>
                <a:cubicBezTo>
                  <a:pt x="380" y="2177"/>
                  <a:pt x="0" y="2544"/>
                  <a:pt x="0" y="2998"/>
                </a:cubicBezTo>
                <a:cubicBezTo>
                  <a:pt x="0" y="8040"/>
                  <a:pt x="3277" y="10163"/>
                  <a:pt x="5912" y="11871"/>
                </a:cubicBezTo>
                <a:cubicBezTo>
                  <a:pt x="8065" y="13266"/>
                  <a:pt x="9384" y="14207"/>
                  <a:pt x="9384" y="15911"/>
                </a:cubicBezTo>
                <a:lnTo>
                  <a:pt x="9384" y="17450"/>
                </a:lnTo>
                <a:cubicBezTo>
                  <a:pt x="7122" y="17696"/>
                  <a:pt x="5461" y="18514"/>
                  <a:pt x="5461" y="19487"/>
                </a:cubicBezTo>
                <a:cubicBezTo>
                  <a:pt x="5461" y="20654"/>
                  <a:pt x="7851" y="21600"/>
                  <a:pt x="10800" y="21600"/>
                </a:cubicBezTo>
                <a:cubicBezTo>
                  <a:pt x="13749" y="21600"/>
                  <a:pt x="16139" y="20654"/>
                  <a:pt x="16139" y="19487"/>
                </a:cubicBezTo>
                <a:cubicBezTo>
                  <a:pt x="16139" y="18514"/>
                  <a:pt x="14478" y="17696"/>
                  <a:pt x="12216" y="17450"/>
                </a:cubicBezTo>
                <a:cubicBezTo>
                  <a:pt x="12216" y="17450"/>
                  <a:pt x="12216" y="15911"/>
                  <a:pt x="12216" y="15911"/>
                </a:cubicBezTo>
                <a:close/>
              </a:path>
            </a:pathLst>
          </a:custGeom>
          <a:solidFill>
            <a:schemeClr val="bg1"/>
          </a:solidFill>
          <a:ln w="12700" cap="flat">
            <a:noFill/>
            <a:miter lim="400000"/>
          </a:ln>
          <a:effectLst/>
        </p:spPr>
        <p:txBody>
          <a:bodyPr wrap="square" lIns="38100" tIns="38100" rIns="38100" bIns="38100" numCol="1" anchor="ctr">
            <a:noAutofit/>
          </a:bodyPr>
          <a:lstStyle/>
          <a:p>
            <a:pPr lvl="0">
              <a:lnSpc>
                <a:spcPct val="100000"/>
              </a:lnSpc>
              <a:defRPr sz="3200">
                <a:solidFill>
                  <a:srgbClr val="FFFFFF"/>
                </a:solidFill>
                <a:latin typeface="+mn-lt"/>
                <a:ea typeface="+mn-ea"/>
                <a:cs typeface="+mn-cs"/>
                <a:sym typeface="Helvetica Light"/>
              </a:defRPr>
            </a:pPr>
            <a:endParaRPr>
              <a:solidFill>
                <a:schemeClr val="bg1">
                  <a:lumMod val="95000"/>
                </a:schemeClr>
              </a:solidFill>
            </a:endParaRPr>
          </a:p>
        </p:txBody>
      </p:sp>
    </p:spTree>
    <p:extLst>
      <p:ext uri="{BB962C8B-B14F-4D97-AF65-F5344CB8AC3E}">
        <p14:creationId xmlns:p14="http://schemas.microsoft.com/office/powerpoint/2010/main" val="4144074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500"/>
                                        <p:tgtEl>
                                          <p:spTgt spid="6">
                                            <p:txEl>
                                              <p:pRg st="1" end="1"/>
                                            </p:txEl>
                                          </p:spTgt>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43">
                                            <p:txEl>
                                              <p:pRg st="0" end="0"/>
                                            </p:txEl>
                                          </p:spTgt>
                                        </p:tgtEl>
                                        <p:attrNameLst>
                                          <p:attrName>style.visibility</p:attrName>
                                        </p:attrNameLst>
                                      </p:cBhvr>
                                      <p:to>
                                        <p:strVal val="visible"/>
                                      </p:to>
                                    </p:set>
                                    <p:animEffect transition="in" filter="wipe(left)">
                                      <p:cBhvr>
                                        <p:cTn id="18" dur="500"/>
                                        <p:tgtEl>
                                          <p:spTgt spid="43">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44">
                                            <p:txEl>
                                              <p:pRg st="0" end="0"/>
                                            </p:txEl>
                                          </p:spTgt>
                                        </p:tgtEl>
                                        <p:attrNameLst>
                                          <p:attrName>style.visibility</p:attrName>
                                        </p:attrNameLst>
                                      </p:cBhvr>
                                      <p:to>
                                        <p:strVal val="visible"/>
                                      </p:to>
                                    </p:set>
                                    <p:animEffect transition="in" filter="wipe(left)">
                                      <p:cBhvr>
                                        <p:cTn id="22" dur="500"/>
                                        <p:tgtEl>
                                          <p:spTgt spid="44">
                                            <p:txEl>
                                              <p:pRg st="0" end="0"/>
                                            </p:txEl>
                                          </p:spTgt>
                                        </p:tgtEl>
                                      </p:cBhvr>
                                    </p:animEffect>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1+#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12">
                                            <p:txEl>
                                              <p:pRg st="0" end="0"/>
                                            </p:txEl>
                                          </p:spTgt>
                                        </p:tgtEl>
                                        <p:attrNameLst>
                                          <p:attrName>style.visibility</p:attrName>
                                        </p:attrNameLst>
                                      </p:cBhvr>
                                      <p:to>
                                        <p:strVal val="visible"/>
                                      </p:to>
                                    </p:set>
                                    <p:animEffect transition="in" filter="wipe(left)">
                                      <p:cBhvr>
                                        <p:cTn id="31" dur="500"/>
                                        <p:tgtEl>
                                          <p:spTgt spid="12">
                                            <p:txEl>
                                              <p:pRg st="0" end="0"/>
                                            </p:txEl>
                                          </p:spTgt>
                                        </p:tgtEl>
                                      </p:cBhvr>
                                    </p:animEffect>
                                  </p:childTnLst>
                                </p:cTn>
                              </p:par>
                            </p:childTnLst>
                          </p:cTn>
                        </p:par>
                        <p:par>
                          <p:cTn id="32" fill="hold">
                            <p:stCondLst>
                              <p:cond delay="3000"/>
                            </p:stCondLst>
                            <p:childTnLst>
                              <p:par>
                                <p:cTn id="33" presetID="10" presetClass="entr" presetSubtype="0" fill="hold" grpId="0" nodeType="afterEffect">
                                  <p:stCondLst>
                                    <p:cond delay="0"/>
                                  </p:stCondLst>
                                  <p:childTnLst>
                                    <p:set>
                                      <p:cBhvr>
                                        <p:cTn id="34" dur="1" fill="hold">
                                          <p:stCondLst>
                                            <p:cond delay="0"/>
                                          </p:stCondLst>
                                        </p:cTn>
                                        <p:tgtEl>
                                          <p:spTgt spid="35">
                                            <p:txEl>
                                              <p:pRg st="0" end="0"/>
                                            </p:txEl>
                                          </p:spTgt>
                                        </p:tgtEl>
                                        <p:attrNameLst>
                                          <p:attrName>style.visibility</p:attrName>
                                        </p:attrNameLst>
                                      </p:cBhvr>
                                      <p:to>
                                        <p:strVal val="visible"/>
                                      </p:to>
                                    </p:set>
                                    <p:animEffect transition="in" filter="fade">
                                      <p:cBhvr>
                                        <p:cTn id="35" dur="500"/>
                                        <p:tgtEl>
                                          <p:spTgt spid="35">
                                            <p:txEl>
                                              <p:pRg st="0" end="0"/>
                                            </p:txEl>
                                          </p:spTgt>
                                        </p:tgtEl>
                                      </p:cBhvr>
                                    </p:animEffect>
                                  </p:childTnLst>
                                </p:cTn>
                              </p:par>
                            </p:childTnLst>
                          </p:cTn>
                        </p:par>
                        <p:par>
                          <p:cTn id="36" fill="hold">
                            <p:stCondLst>
                              <p:cond delay="3500"/>
                            </p:stCondLst>
                            <p:childTnLst>
                              <p:par>
                                <p:cTn id="37" presetID="22" presetClass="entr" presetSubtype="8" fill="hold" grpId="0"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wipe(left)">
                                      <p:cBhvr>
                                        <p:cTn id="39" dur="500"/>
                                        <p:tgtEl>
                                          <p:spTgt spid="25"/>
                                        </p:tgtEl>
                                      </p:cBhvr>
                                    </p:animEffect>
                                  </p:childTnLst>
                                </p:cTn>
                              </p:par>
                            </p:childTnLst>
                          </p:cTn>
                        </p:par>
                        <p:par>
                          <p:cTn id="40" fill="hold">
                            <p:stCondLst>
                              <p:cond delay="4000"/>
                            </p:stCondLst>
                            <p:childTnLst>
                              <p:par>
                                <p:cTn id="41" presetID="22" presetClass="entr" presetSubtype="8" fill="hold" grpId="0"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wipe(left)">
                                      <p:cBhvr>
                                        <p:cTn id="43" dur="500"/>
                                        <p:tgtEl>
                                          <p:spTgt spid="26"/>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36">
                                            <p:txEl>
                                              <p:pRg st="0" end="0"/>
                                            </p:txEl>
                                          </p:spTgt>
                                        </p:tgtEl>
                                        <p:attrNameLst>
                                          <p:attrName>style.visibility</p:attrName>
                                        </p:attrNameLst>
                                      </p:cBhvr>
                                      <p:to>
                                        <p:strVal val="visible"/>
                                      </p:to>
                                    </p:set>
                                    <p:animEffect transition="in" filter="fade">
                                      <p:cBhvr>
                                        <p:cTn id="47" dur="500"/>
                                        <p:tgtEl>
                                          <p:spTgt spid="36">
                                            <p:txEl>
                                              <p:pRg st="0" end="0"/>
                                            </p:txEl>
                                          </p:spTgt>
                                        </p:tgtEl>
                                      </p:cBhvr>
                                    </p:animEffect>
                                  </p:childTnLst>
                                </p:cTn>
                              </p:par>
                            </p:childTnLst>
                          </p:cTn>
                        </p:par>
                        <p:par>
                          <p:cTn id="48" fill="hold">
                            <p:stCondLst>
                              <p:cond delay="5000"/>
                            </p:stCondLst>
                            <p:childTnLst>
                              <p:par>
                                <p:cTn id="49" presetID="10" presetClass="entr" presetSubtype="0" fill="hold" grpId="0" nodeType="afterEffect">
                                  <p:stCondLst>
                                    <p:cond delay="0"/>
                                  </p:stCondLst>
                                  <p:childTnLst>
                                    <p:set>
                                      <p:cBhvr>
                                        <p:cTn id="50" dur="1" fill="hold">
                                          <p:stCondLst>
                                            <p:cond delay="0"/>
                                          </p:stCondLst>
                                        </p:cTn>
                                        <p:tgtEl>
                                          <p:spTgt spid="77">
                                            <p:txEl>
                                              <p:pRg st="0" end="0"/>
                                            </p:txEl>
                                          </p:spTgt>
                                        </p:tgtEl>
                                        <p:attrNameLst>
                                          <p:attrName>style.visibility</p:attrName>
                                        </p:attrNameLst>
                                      </p:cBhvr>
                                      <p:to>
                                        <p:strVal val="visible"/>
                                      </p:to>
                                    </p:set>
                                    <p:animEffect transition="in" filter="fade">
                                      <p:cBhvr>
                                        <p:cTn id="51" dur="500"/>
                                        <p:tgtEl>
                                          <p:spTgt spid="77">
                                            <p:txEl>
                                              <p:pRg st="0" end="0"/>
                                            </p:txEl>
                                          </p:spTgt>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80"/>
                                        </p:tgtEl>
                                        <p:attrNameLst>
                                          <p:attrName>style.visibility</p:attrName>
                                        </p:attrNameLst>
                                      </p:cBhvr>
                                      <p:to>
                                        <p:strVal val="visible"/>
                                      </p:to>
                                    </p:set>
                                    <p:animEffect transition="in" filter="wipe(left)">
                                      <p:cBhvr>
                                        <p:cTn id="55" dur="500"/>
                                        <p:tgtEl>
                                          <p:spTgt spid="80"/>
                                        </p:tgtEl>
                                      </p:cBhvr>
                                    </p:animEffect>
                                  </p:childTnLst>
                                </p:cTn>
                              </p:par>
                            </p:childTnLst>
                          </p:cTn>
                        </p:par>
                        <p:par>
                          <p:cTn id="56" fill="hold">
                            <p:stCondLst>
                              <p:cond delay="6000"/>
                            </p:stCondLst>
                            <p:childTnLst>
                              <p:par>
                                <p:cTn id="57" presetID="22" presetClass="entr" presetSubtype="8" fill="hold" grpId="0" nodeType="afterEffect">
                                  <p:stCondLst>
                                    <p:cond delay="0"/>
                                  </p:stCondLst>
                                  <p:childTnLst>
                                    <p:set>
                                      <p:cBhvr>
                                        <p:cTn id="58" dur="1" fill="hold">
                                          <p:stCondLst>
                                            <p:cond delay="0"/>
                                          </p:stCondLst>
                                        </p:cTn>
                                        <p:tgtEl>
                                          <p:spTgt spid="81"/>
                                        </p:tgtEl>
                                        <p:attrNameLst>
                                          <p:attrName>style.visibility</p:attrName>
                                        </p:attrNameLst>
                                      </p:cBhvr>
                                      <p:to>
                                        <p:strVal val="visible"/>
                                      </p:to>
                                    </p:set>
                                    <p:animEffect transition="in" filter="wipe(left)">
                                      <p:cBhvr>
                                        <p:cTn id="59" dur="500"/>
                                        <p:tgtEl>
                                          <p:spTgt spid="81"/>
                                        </p:tgtEl>
                                      </p:cBhvr>
                                    </p:animEffect>
                                  </p:childTnLst>
                                </p:cTn>
                              </p:par>
                            </p:childTnLst>
                          </p:cTn>
                        </p:par>
                        <p:par>
                          <p:cTn id="60" fill="hold">
                            <p:stCondLst>
                              <p:cond delay="6500"/>
                            </p:stCondLst>
                            <p:childTnLst>
                              <p:par>
                                <p:cTn id="61" presetID="10" presetClass="entr" presetSubtype="0" fill="hold" grpId="0" nodeType="afterEffect">
                                  <p:stCondLst>
                                    <p:cond delay="0"/>
                                  </p:stCondLst>
                                  <p:childTnLst>
                                    <p:set>
                                      <p:cBhvr>
                                        <p:cTn id="62" dur="1" fill="hold">
                                          <p:stCondLst>
                                            <p:cond delay="0"/>
                                          </p:stCondLst>
                                        </p:cTn>
                                        <p:tgtEl>
                                          <p:spTgt spid="78">
                                            <p:txEl>
                                              <p:pRg st="0" end="0"/>
                                            </p:txEl>
                                          </p:spTgt>
                                        </p:tgtEl>
                                        <p:attrNameLst>
                                          <p:attrName>style.visibility</p:attrName>
                                        </p:attrNameLst>
                                      </p:cBhvr>
                                      <p:to>
                                        <p:strVal val="visible"/>
                                      </p:to>
                                    </p:set>
                                    <p:animEffect transition="in" filter="fade">
                                      <p:cBhvr>
                                        <p:cTn id="63" dur="500"/>
                                        <p:tgtEl>
                                          <p:spTgt spid="78">
                                            <p:txEl>
                                              <p:pRg st="0" end="0"/>
                                            </p:txEl>
                                          </p:spTgt>
                                        </p:tgtEl>
                                      </p:cBhvr>
                                    </p:animEffect>
                                  </p:childTnLst>
                                </p:cTn>
                              </p:par>
                            </p:childTnLst>
                          </p:cTn>
                        </p:par>
                        <p:par>
                          <p:cTn id="64" fill="hold">
                            <p:stCondLst>
                              <p:cond delay="7000"/>
                            </p:stCondLst>
                            <p:childTnLst>
                              <p:par>
                                <p:cTn id="65" presetID="10" presetClass="entr" presetSubtype="0" fill="hold" grpId="0" nodeType="afterEffect">
                                  <p:stCondLst>
                                    <p:cond delay="0"/>
                                  </p:stCondLst>
                                  <p:childTnLst>
                                    <p:set>
                                      <p:cBhvr>
                                        <p:cTn id="66" dur="1" fill="hold">
                                          <p:stCondLst>
                                            <p:cond delay="0"/>
                                          </p:stCondLst>
                                        </p:cTn>
                                        <p:tgtEl>
                                          <p:spTgt spid="82">
                                            <p:txEl>
                                              <p:pRg st="0" end="0"/>
                                            </p:txEl>
                                          </p:spTgt>
                                        </p:tgtEl>
                                        <p:attrNameLst>
                                          <p:attrName>style.visibility</p:attrName>
                                        </p:attrNameLst>
                                      </p:cBhvr>
                                      <p:to>
                                        <p:strVal val="visible"/>
                                      </p:to>
                                    </p:set>
                                    <p:animEffect transition="in" filter="fade">
                                      <p:cBhvr>
                                        <p:cTn id="67" dur="500"/>
                                        <p:tgtEl>
                                          <p:spTgt spid="82">
                                            <p:txEl>
                                              <p:pRg st="0" end="0"/>
                                            </p:txEl>
                                          </p:spTgt>
                                        </p:tgtEl>
                                      </p:cBhvr>
                                    </p:animEffect>
                                  </p:childTnLst>
                                </p:cTn>
                              </p:par>
                            </p:childTnLst>
                          </p:cTn>
                        </p:par>
                        <p:par>
                          <p:cTn id="68" fill="hold">
                            <p:stCondLst>
                              <p:cond delay="7500"/>
                            </p:stCondLst>
                            <p:childTnLst>
                              <p:par>
                                <p:cTn id="69" presetID="22" presetClass="entr" presetSubtype="8" fill="hold" grpId="0" nodeType="afterEffect">
                                  <p:stCondLst>
                                    <p:cond delay="0"/>
                                  </p:stCondLst>
                                  <p:childTnLst>
                                    <p:set>
                                      <p:cBhvr>
                                        <p:cTn id="70" dur="1" fill="hold">
                                          <p:stCondLst>
                                            <p:cond delay="0"/>
                                          </p:stCondLst>
                                        </p:cTn>
                                        <p:tgtEl>
                                          <p:spTgt spid="85"/>
                                        </p:tgtEl>
                                        <p:attrNameLst>
                                          <p:attrName>style.visibility</p:attrName>
                                        </p:attrNameLst>
                                      </p:cBhvr>
                                      <p:to>
                                        <p:strVal val="visible"/>
                                      </p:to>
                                    </p:set>
                                    <p:animEffect transition="in" filter="wipe(left)">
                                      <p:cBhvr>
                                        <p:cTn id="71" dur="500"/>
                                        <p:tgtEl>
                                          <p:spTgt spid="85"/>
                                        </p:tgtEl>
                                      </p:cBhvr>
                                    </p:animEffect>
                                  </p:childTnLst>
                                </p:cTn>
                              </p:par>
                            </p:childTnLst>
                          </p:cTn>
                        </p:par>
                        <p:par>
                          <p:cTn id="72" fill="hold">
                            <p:stCondLst>
                              <p:cond delay="8000"/>
                            </p:stCondLst>
                            <p:childTnLst>
                              <p:par>
                                <p:cTn id="73" presetID="22" presetClass="entr" presetSubtype="8" fill="hold" grpId="0"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wipe(left)">
                                      <p:cBhvr>
                                        <p:cTn id="75" dur="500"/>
                                        <p:tgtEl>
                                          <p:spTgt spid="86"/>
                                        </p:tgtEl>
                                      </p:cBhvr>
                                    </p:animEffect>
                                  </p:childTnLst>
                                </p:cTn>
                              </p:par>
                            </p:childTnLst>
                          </p:cTn>
                        </p:par>
                        <p:par>
                          <p:cTn id="76" fill="hold">
                            <p:stCondLst>
                              <p:cond delay="8500"/>
                            </p:stCondLst>
                            <p:childTnLst>
                              <p:par>
                                <p:cTn id="77" presetID="10" presetClass="entr" presetSubtype="0" fill="hold" grpId="0" nodeType="afterEffect">
                                  <p:stCondLst>
                                    <p:cond delay="0"/>
                                  </p:stCondLst>
                                  <p:childTnLst>
                                    <p:set>
                                      <p:cBhvr>
                                        <p:cTn id="78" dur="1" fill="hold">
                                          <p:stCondLst>
                                            <p:cond delay="0"/>
                                          </p:stCondLst>
                                        </p:cTn>
                                        <p:tgtEl>
                                          <p:spTgt spid="83">
                                            <p:txEl>
                                              <p:pRg st="0" end="0"/>
                                            </p:txEl>
                                          </p:spTgt>
                                        </p:tgtEl>
                                        <p:attrNameLst>
                                          <p:attrName>style.visibility</p:attrName>
                                        </p:attrNameLst>
                                      </p:cBhvr>
                                      <p:to>
                                        <p:strVal val="visible"/>
                                      </p:to>
                                    </p:set>
                                    <p:animEffect transition="in" filter="fade">
                                      <p:cBhvr>
                                        <p:cTn id="79" dur="500"/>
                                        <p:tgtEl>
                                          <p:spTgt spid="83">
                                            <p:txEl>
                                              <p:pRg st="0" end="0"/>
                                            </p:txEl>
                                          </p:spTgt>
                                        </p:tgtEl>
                                      </p:cBhvr>
                                    </p:animEffect>
                                  </p:childTnLst>
                                </p:cTn>
                              </p:par>
                            </p:childTnLst>
                          </p:cTn>
                        </p:par>
                        <p:par>
                          <p:cTn id="80" fill="hold">
                            <p:stCondLst>
                              <p:cond delay="9000"/>
                            </p:stCondLst>
                            <p:childTnLst>
                              <p:par>
                                <p:cTn id="81" presetID="22" presetClass="entr" presetSubtype="8" fill="hold" grpId="0" nodeType="afterEffect">
                                  <p:stCondLst>
                                    <p:cond delay="0"/>
                                  </p:stCondLst>
                                  <p:childTnLst>
                                    <p:set>
                                      <p:cBhvr>
                                        <p:cTn id="82" dur="1" fill="hold">
                                          <p:stCondLst>
                                            <p:cond delay="0"/>
                                          </p:stCondLst>
                                        </p:cTn>
                                        <p:tgtEl>
                                          <p:spTgt spid="34">
                                            <p:txEl>
                                              <p:pRg st="0" end="0"/>
                                            </p:txEl>
                                          </p:spTgt>
                                        </p:tgtEl>
                                        <p:attrNameLst>
                                          <p:attrName>style.visibility</p:attrName>
                                        </p:attrNameLst>
                                      </p:cBhvr>
                                      <p:to>
                                        <p:strVal val="visible"/>
                                      </p:to>
                                    </p:set>
                                    <p:animEffect transition="in" filter="wipe(left)">
                                      <p:cBhvr>
                                        <p:cTn id="83" dur="500"/>
                                        <p:tgtEl>
                                          <p:spTgt spid="34">
                                            <p:txEl>
                                              <p:pRg st="0" end="0"/>
                                            </p:txEl>
                                          </p:spTgt>
                                        </p:tgtEl>
                                      </p:cBhvr>
                                    </p:animEffect>
                                  </p:childTnLst>
                                </p:cTn>
                              </p:par>
                            </p:childTnLst>
                          </p:cTn>
                        </p:par>
                        <p:par>
                          <p:cTn id="84" fill="hold">
                            <p:stCondLst>
                              <p:cond delay="9500"/>
                            </p:stCondLst>
                            <p:childTnLst>
                              <p:par>
                                <p:cTn id="85" presetID="22" presetClass="entr" presetSubtype="8" fill="hold" grpId="0" nodeType="afterEffect">
                                  <p:stCondLst>
                                    <p:cond delay="0"/>
                                  </p:stCondLst>
                                  <p:childTnLst>
                                    <p:set>
                                      <p:cBhvr>
                                        <p:cTn id="86" dur="1" fill="hold">
                                          <p:stCondLst>
                                            <p:cond delay="0"/>
                                          </p:stCondLst>
                                        </p:cTn>
                                        <p:tgtEl>
                                          <p:spTgt spid="37">
                                            <p:txEl>
                                              <p:pRg st="0" end="0"/>
                                            </p:txEl>
                                          </p:spTgt>
                                        </p:tgtEl>
                                        <p:attrNameLst>
                                          <p:attrName>style.visibility</p:attrName>
                                        </p:attrNameLst>
                                      </p:cBhvr>
                                      <p:to>
                                        <p:strVal val="visible"/>
                                      </p:to>
                                    </p:set>
                                    <p:animEffect transition="in" filter="wipe(left)">
                                      <p:cBhvr>
                                        <p:cTn id="87" dur="500"/>
                                        <p:tgtEl>
                                          <p:spTgt spid="3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22" presetClass="entr" presetSubtype="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wipe(left)">
                      <p:cBhvr>
                        <p:cTn dur="500"/>
                        <p:tgtEl>
                          <p:spTgt spid="5"/>
                        </p:tgtEl>
                      </p:cBhvr>
                    </p:animEffect>
                  </p:childTnLst>
                </p:cTn>
              </p:par>
            </p:tnLst>
          </p:tmpl>
        </p:tmplLst>
      </p:bldP>
      <p:bldP spid="6" grpId="0" build="p">
        <p:tmplLst>
          <p:tmpl lvl="1">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12" grpId="0" build="p">
        <p:tmplLst>
          <p:tmpl lvl="1">
            <p:tnLst>
              <p:par>
                <p:cTn presetID="22" presetClass="entr" presetSubtype="8"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wipe(left)">
                      <p:cBhvr>
                        <p:cTn dur="500"/>
                        <p:tgtEl>
                          <p:spTgt spid="12"/>
                        </p:tgtEl>
                      </p:cBhvr>
                    </p:animEffect>
                  </p:childTnLst>
                </p:cTn>
              </p:par>
            </p:tnLst>
          </p:tmpl>
        </p:tmplLst>
      </p:bldP>
      <p:bldP spid="8" grpId="0" animBg="1"/>
      <p:bldP spid="35" grpId="0" build="p">
        <p:tmplLst>
          <p:tmpl lvl="1">
            <p:tnLst>
              <p:par>
                <p:cTn presetID="10" presetClass="entr" presetSubtype="0" fill="hold" nodeType="afterEffect">
                  <p:stCondLst>
                    <p:cond delay="0"/>
                  </p:stCondLst>
                  <p:childTnLst>
                    <p:set>
                      <p:cBhvr>
                        <p:cTn dur="1" fill="hold">
                          <p:stCondLst>
                            <p:cond delay="0"/>
                          </p:stCondLst>
                        </p:cTn>
                        <p:tgtEl>
                          <p:spTgt spid="35"/>
                        </p:tgtEl>
                        <p:attrNameLst>
                          <p:attrName>style.visibility</p:attrName>
                        </p:attrNameLst>
                      </p:cBhvr>
                      <p:to>
                        <p:strVal val="visible"/>
                      </p:to>
                    </p:set>
                    <p:animEffect transition="in" filter="fade">
                      <p:cBhvr>
                        <p:cTn dur="500"/>
                        <p:tgtEl>
                          <p:spTgt spid="35"/>
                        </p:tgtEl>
                      </p:cBhvr>
                    </p:animEffect>
                  </p:childTnLst>
                </p:cTn>
              </p:par>
            </p:tnLst>
          </p:tmpl>
        </p:tmplLst>
      </p:bldP>
      <p:bldP spid="36" grpId="0" build="p">
        <p:tmplLst>
          <p:tmpl lvl="1">
            <p:tnLst>
              <p:par>
                <p:cTn presetID="10" presetClass="entr" presetSubtype="0"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Lst>
      </p:bldP>
      <p:bldP spid="43" grpId="0" build="p">
        <p:tmplLst>
          <p:tmpl lvl="1">
            <p:tnLst>
              <p:par>
                <p:cTn presetID="22" presetClass="entr" presetSubtype="8"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wipe(left)">
                      <p:cBhvr>
                        <p:cTn dur="500"/>
                        <p:tgtEl>
                          <p:spTgt spid="43"/>
                        </p:tgtEl>
                      </p:cBhvr>
                    </p:animEffect>
                  </p:childTnLst>
                </p:cTn>
              </p:par>
            </p:tnLst>
          </p:tmpl>
        </p:tmplLst>
      </p:bldP>
      <p:bldP spid="44" grpId="0" build="p">
        <p:tmplLst>
          <p:tmpl lvl="1">
            <p:tnLst>
              <p:par>
                <p:cTn presetID="22" presetClass="entr" presetSubtype="8"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wipe(left)">
                      <p:cBhvr>
                        <p:cTn dur="500"/>
                        <p:tgtEl>
                          <p:spTgt spid="44"/>
                        </p:tgtEl>
                      </p:cBhvr>
                    </p:animEffect>
                  </p:childTnLst>
                </p:cTn>
              </p:par>
            </p:tnLst>
          </p:tmpl>
        </p:tmplLst>
      </p:bldP>
      <p:bldP spid="25" grpId="0" animBg="1"/>
      <p:bldP spid="26" grpId="0" animBg="1"/>
      <p:bldP spid="77" grpId="0" build="p">
        <p:tmplLst>
          <p:tmpl lvl="1">
            <p:tnLst>
              <p:par>
                <p:cTn presetID="10" presetClass="entr" presetSubtype="0"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Effect transition="in" filter="fade">
                      <p:cBhvr>
                        <p:cTn dur="500"/>
                        <p:tgtEl>
                          <p:spTgt spid="77"/>
                        </p:tgtEl>
                      </p:cBhvr>
                    </p:animEffect>
                  </p:childTnLst>
                </p:cTn>
              </p:par>
            </p:tnLst>
          </p:tmpl>
        </p:tmplLst>
      </p:bldP>
      <p:bldP spid="78" grpId="0" build="p">
        <p:tmplLst>
          <p:tmpl lvl="1">
            <p:tnLst>
              <p:par>
                <p:cTn presetID="10" presetClass="entr" presetSubtype="0" fill="hold" nodeType="afterEffect">
                  <p:stCondLst>
                    <p:cond delay="0"/>
                  </p:stCondLst>
                  <p:childTnLst>
                    <p:set>
                      <p:cBhvr>
                        <p:cTn dur="1" fill="hold">
                          <p:stCondLst>
                            <p:cond delay="0"/>
                          </p:stCondLst>
                        </p:cTn>
                        <p:tgtEl>
                          <p:spTgt spid="78"/>
                        </p:tgtEl>
                        <p:attrNameLst>
                          <p:attrName>style.visibility</p:attrName>
                        </p:attrNameLst>
                      </p:cBhvr>
                      <p:to>
                        <p:strVal val="visible"/>
                      </p:to>
                    </p:set>
                    <p:animEffect transition="in" filter="fade">
                      <p:cBhvr>
                        <p:cTn dur="500"/>
                        <p:tgtEl>
                          <p:spTgt spid="78"/>
                        </p:tgtEl>
                      </p:cBhvr>
                    </p:animEffect>
                  </p:childTnLst>
                </p:cTn>
              </p:par>
            </p:tnLst>
          </p:tmpl>
        </p:tmplLst>
      </p:bldP>
      <p:bldP spid="80" grpId="0" animBg="1"/>
      <p:bldP spid="81" grpId="0" animBg="1"/>
      <p:bldP spid="82" grpId="0" build="p">
        <p:tmplLst>
          <p:tmpl lvl="1">
            <p:tnLst>
              <p:par>
                <p:cTn presetID="10" presetClass="entr" presetSubtype="0" fill="hold" nodeType="afterEffect">
                  <p:stCondLst>
                    <p:cond delay="0"/>
                  </p:stCondLst>
                  <p:childTnLst>
                    <p:set>
                      <p:cBhvr>
                        <p:cTn dur="1" fill="hold">
                          <p:stCondLst>
                            <p:cond delay="0"/>
                          </p:stCondLst>
                        </p:cTn>
                        <p:tgtEl>
                          <p:spTgt spid="82"/>
                        </p:tgtEl>
                        <p:attrNameLst>
                          <p:attrName>style.visibility</p:attrName>
                        </p:attrNameLst>
                      </p:cBhvr>
                      <p:to>
                        <p:strVal val="visible"/>
                      </p:to>
                    </p:set>
                    <p:animEffect transition="in" filter="fade">
                      <p:cBhvr>
                        <p:cTn dur="500"/>
                        <p:tgtEl>
                          <p:spTgt spid="82"/>
                        </p:tgtEl>
                      </p:cBhvr>
                    </p:animEffect>
                  </p:childTnLst>
                </p:cTn>
              </p:par>
            </p:tnLst>
          </p:tmpl>
        </p:tmplLst>
      </p:bldP>
      <p:bldP spid="83" grpId="0" build="p">
        <p:tmplLst>
          <p:tmpl lvl="1">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85" grpId="0" animBg="1"/>
      <p:bldP spid="86" grpId="0" animBg="1"/>
      <p:bldP spid="34" grpId="0" build="p">
        <p:tmplLst>
          <p:tmpl lvl="1">
            <p:tnLst>
              <p:par>
                <p:cTn presetID="22" presetClass="entr" presetSubtype="8" fill="hold" nodeType="afterEffect">
                  <p:stCondLst>
                    <p:cond delay="0"/>
                  </p:stCondLst>
                  <p:childTnLst>
                    <p:set>
                      <p:cBhvr>
                        <p:cTn dur="1" fill="hold">
                          <p:stCondLst>
                            <p:cond delay="0"/>
                          </p:stCondLst>
                        </p:cTn>
                        <p:tgtEl>
                          <p:spTgt spid="34"/>
                        </p:tgtEl>
                        <p:attrNameLst>
                          <p:attrName>style.visibility</p:attrName>
                        </p:attrNameLst>
                      </p:cBhvr>
                      <p:to>
                        <p:strVal val="visible"/>
                      </p:to>
                    </p:set>
                    <p:animEffect transition="in" filter="wipe(left)">
                      <p:cBhvr>
                        <p:cTn dur="500"/>
                        <p:tgtEl>
                          <p:spTgt spid="34"/>
                        </p:tgtEl>
                      </p:cBhvr>
                    </p:animEffect>
                  </p:childTnLst>
                </p:cTn>
              </p:par>
            </p:tnLst>
          </p:tmpl>
        </p:tmplLst>
      </p:bldP>
      <p:bldP spid="37" grpId="0" build="p">
        <p:tmplLst>
          <p:tmpl lvl="1">
            <p:tnLst>
              <p:par>
                <p:cTn presetID="22" presetClass="entr" presetSubtype="8" fill="hold" nodeType="afterEffect">
                  <p:stCondLst>
                    <p:cond delay="0"/>
                  </p:stCondLst>
                  <p:childTnLst>
                    <p:set>
                      <p:cBhvr>
                        <p:cTn dur="1" fill="hold">
                          <p:stCondLst>
                            <p:cond delay="0"/>
                          </p:stCondLst>
                        </p:cTn>
                        <p:tgtEl>
                          <p:spTgt spid="37"/>
                        </p:tgtEl>
                        <p:attrNameLst>
                          <p:attrName>style.visibility</p:attrName>
                        </p:attrNameLst>
                      </p:cBhvr>
                      <p:to>
                        <p:strVal val="visible"/>
                      </p:to>
                    </p:set>
                    <p:animEffect transition="in" filter="wipe(left)">
                      <p:cBhvr>
                        <p:cTn dur="500"/>
                        <p:tgtEl>
                          <p:spTgt spid="37"/>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Meet_the_team1">
    <p:spTree>
      <p:nvGrpSpPr>
        <p:cNvPr id="1" name=""/>
        <p:cNvGrpSpPr/>
        <p:nvPr/>
      </p:nvGrpSpPr>
      <p:grpSpPr>
        <a:xfrm>
          <a:off x="0" y="0"/>
          <a:ext cx="0" cy="0"/>
          <a:chOff x="0" y="0"/>
          <a:chExt cx="0" cy="0"/>
        </a:xfrm>
      </p:grpSpPr>
      <p:sp>
        <p:nvSpPr>
          <p:cNvPr id="5" name="Picture Placeholder 22"/>
          <p:cNvSpPr>
            <a:spLocks noGrp="1"/>
          </p:cNvSpPr>
          <p:nvPr>
            <p:ph type="pic" sz="quarter" idx="14"/>
          </p:nvPr>
        </p:nvSpPr>
        <p:spPr>
          <a:xfrm>
            <a:off x="1289958" y="2061634"/>
            <a:ext cx="1821975"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
        <p:nvSpPr>
          <p:cNvPr id="18" name="Picture Placeholder 22"/>
          <p:cNvSpPr>
            <a:spLocks noGrp="1"/>
          </p:cNvSpPr>
          <p:nvPr>
            <p:ph type="pic" sz="quarter" idx="15"/>
          </p:nvPr>
        </p:nvSpPr>
        <p:spPr>
          <a:xfrm>
            <a:off x="3895736" y="2061634"/>
            <a:ext cx="1821975"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
        <p:nvSpPr>
          <p:cNvPr id="19" name="Picture Placeholder 22"/>
          <p:cNvSpPr>
            <a:spLocks noGrp="1"/>
          </p:cNvSpPr>
          <p:nvPr>
            <p:ph type="pic" sz="quarter" idx="16"/>
          </p:nvPr>
        </p:nvSpPr>
        <p:spPr>
          <a:xfrm>
            <a:off x="6548158" y="2061634"/>
            <a:ext cx="1821975"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
        <p:nvSpPr>
          <p:cNvPr id="20" name="Picture Placeholder 22"/>
          <p:cNvSpPr>
            <a:spLocks noGrp="1"/>
          </p:cNvSpPr>
          <p:nvPr>
            <p:ph type="pic" sz="quarter" idx="17"/>
          </p:nvPr>
        </p:nvSpPr>
        <p:spPr>
          <a:xfrm>
            <a:off x="9132696" y="2061634"/>
            <a:ext cx="1821975"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Tree>
    <p:extLst>
      <p:ext uri="{BB962C8B-B14F-4D97-AF65-F5344CB8AC3E}">
        <p14:creationId xmlns:p14="http://schemas.microsoft.com/office/powerpoint/2010/main" val="2080264972"/>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spd="slow" advClick="0" advTm="3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Meet_the_team">
    <p:spTree>
      <p:nvGrpSpPr>
        <p:cNvPr id="1" name=""/>
        <p:cNvGrpSpPr/>
        <p:nvPr/>
      </p:nvGrpSpPr>
      <p:grpSpPr>
        <a:xfrm>
          <a:off x="0" y="0"/>
          <a:ext cx="0" cy="0"/>
          <a:chOff x="0" y="0"/>
          <a:chExt cx="0" cy="0"/>
        </a:xfrm>
      </p:grpSpPr>
      <p:sp>
        <p:nvSpPr>
          <p:cNvPr id="5" name="Picture Placeholder 22"/>
          <p:cNvSpPr>
            <a:spLocks noGrp="1"/>
          </p:cNvSpPr>
          <p:nvPr>
            <p:ph type="pic" sz="quarter" idx="14"/>
          </p:nvPr>
        </p:nvSpPr>
        <p:spPr>
          <a:xfrm>
            <a:off x="988228" y="1821006"/>
            <a:ext cx="1821975"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Tree>
    <p:extLst>
      <p:ext uri="{BB962C8B-B14F-4D97-AF65-F5344CB8AC3E}">
        <p14:creationId xmlns:p14="http://schemas.microsoft.com/office/powerpoint/2010/main" val="4209183355"/>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spd="slow" advClick="0" advTm="300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eet_the_team">
    <p:spTree>
      <p:nvGrpSpPr>
        <p:cNvPr id="1" name=""/>
        <p:cNvGrpSpPr/>
        <p:nvPr/>
      </p:nvGrpSpPr>
      <p:grpSpPr>
        <a:xfrm>
          <a:off x="0" y="0"/>
          <a:ext cx="0" cy="0"/>
          <a:chOff x="0" y="0"/>
          <a:chExt cx="0" cy="0"/>
        </a:xfrm>
      </p:grpSpPr>
      <p:sp>
        <p:nvSpPr>
          <p:cNvPr id="5" name="Picture Placeholder 22"/>
          <p:cNvSpPr>
            <a:spLocks noGrp="1"/>
          </p:cNvSpPr>
          <p:nvPr>
            <p:ph type="pic" sz="quarter" idx="14"/>
          </p:nvPr>
        </p:nvSpPr>
        <p:spPr>
          <a:xfrm>
            <a:off x="912812" y="3733800"/>
            <a:ext cx="6706384" cy="1824566"/>
          </a:xfrm>
        </p:spPr>
        <p:txBody>
          <a:bodyPr>
            <a:normAutofit/>
          </a:bodyPr>
          <a:lstStyle>
            <a:lvl1pPr marL="0" indent="0">
              <a:buNone/>
              <a:defRPr sz="1500">
                <a:solidFill>
                  <a:schemeClr val="bg1"/>
                </a:solidFill>
                <a:latin typeface="Calibri Light"/>
                <a:cs typeface="Calibri Light"/>
              </a:defRPr>
            </a:lvl1pPr>
          </a:lstStyle>
          <a:p>
            <a:endParaRPr lang="id-ID" dirty="0"/>
          </a:p>
        </p:txBody>
      </p:sp>
    </p:spTree>
    <p:extLst>
      <p:ext uri="{BB962C8B-B14F-4D97-AF65-F5344CB8AC3E}">
        <p14:creationId xmlns:p14="http://schemas.microsoft.com/office/powerpoint/2010/main" val="4209183355"/>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spd="slow" advClick="0" advTm="300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209652" y="2743200"/>
            <a:ext cx="2843043" cy="3108960"/>
          </a:xfrm>
        </p:spPr>
        <p:txBody>
          <a:bodyPr/>
          <a:lstStyle/>
          <a:p>
            <a:endParaRPr lang="en-US" dirty="0"/>
          </a:p>
        </p:txBody>
      </p:sp>
    </p:spTree>
    <p:extLst>
      <p:ext uri="{BB962C8B-B14F-4D97-AF65-F5344CB8AC3E}">
        <p14:creationId xmlns:p14="http://schemas.microsoft.com/office/powerpoint/2010/main" val="22020590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6" name="Rectangle 5"/>
          <p:cNvSpPr/>
          <p:nvPr userDrawn="1"/>
        </p:nvSpPr>
        <p:spPr>
          <a:xfrm flipH="1">
            <a:off x="0" y="-1"/>
            <a:ext cx="12188825" cy="50452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99" dirty="0"/>
          </a:p>
        </p:txBody>
      </p:sp>
      <p:sp>
        <p:nvSpPr>
          <p:cNvPr id="7" name="Rectangle 6"/>
          <p:cNvSpPr/>
          <p:nvPr userDrawn="1"/>
        </p:nvSpPr>
        <p:spPr>
          <a:xfrm>
            <a:off x="1" y="0"/>
            <a:ext cx="12188824" cy="5045294"/>
          </a:xfrm>
          <a:prstGeom prst="rect">
            <a:avLst/>
          </a:prstGeom>
          <a:solidFill>
            <a:schemeClr val="tx2">
              <a:lumMod val="50000"/>
              <a:alpha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2299" dirty="0"/>
          </a:p>
        </p:txBody>
      </p:sp>
      <p:pic>
        <p:nvPicPr>
          <p:cNvPr id="33" name="Picture 32"/>
          <p:cNvPicPr>
            <a:picLocks noChangeAspect="1"/>
          </p:cNvPicPr>
          <p:nvPr userDrawn="1"/>
        </p:nvPicPr>
        <p:blipFill rotWithShape="1">
          <a:blip r:embed="rId2" cstate="print">
            <a:extLst>
              <a:ext uri="{28A0092B-C50C-407E-A947-70E740481C1C}">
                <a14:useLocalDpi xmlns:a14="http://schemas.microsoft.com/office/drawing/2010/main" val="0"/>
              </a:ext>
            </a:extLst>
          </a:blip>
          <a:srcRect l="19221" t="29398" r="17922" b="13718"/>
          <a:stretch/>
        </p:blipFill>
        <p:spPr>
          <a:xfrm>
            <a:off x="509581" y="1572550"/>
            <a:ext cx="5616111" cy="3389114"/>
          </a:xfrm>
          <a:prstGeom prst="rect">
            <a:avLst/>
          </a:prstGeom>
        </p:spPr>
      </p:pic>
      <p:sp>
        <p:nvSpPr>
          <p:cNvPr id="34" name="Rectangle 33"/>
          <p:cNvSpPr/>
          <p:nvPr userDrawn="1"/>
        </p:nvSpPr>
        <p:spPr>
          <a:xfrm>
            <a:off x="1328293" y="1971593"/>
            <a:ext cx="3891628" cy="24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99"/>
          </a:p>
        </p:txBody>
      </p:sp>
      <p:sp>
        <p:nvSpPr>
          <p:cNvPr id="44" name="Picture Placeholder 43"/>
          <p:cNvSpPr>
            <a:spLocks noGrp="1"/>
          </p:cNvSpPr>
          <p:nvPr>
            <p:ph type="pic" sz="quarter" idx="10"/>
          </p:nvPr>
        </p:nvSpPr>
        <p:spPr>
          <a:xfrm>
            <a:off x="1328292" y="1959007"/>
            <a:ext cx="3891629" cy="2460586"/>
          </a:xfrm>
        </p:spPr>
        <p:txBody>
          <a:bodyPr/>
          <a:lstStyle/>
          <a:p>
            <a:endParaRPr lang="en-US"/>
          </a:p>
        </p:txBody>
      </p:sp>
    </p:spTree>
    <p:extLst>
      <p:ext uri="{BB962C8B-B14F-4D97-AF65-F5344CB8AC3E}">
        <p14:creationId xmlns:p14="http://schemas.microsoft.com/office/powerpoint/2010/main" val="1182590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86" name="Picture Placeholder 2"/>
          <p:cNvSpPr>
            <a:spLocks noGrp="1"/>
          </p:cNvSpPr>
          <p:nvPr>
            <p:ph type="pic" sz="quarter" idx="36"/>
          </p:nvPr>
        </p:nvSpPr>
        <p:spPr>
          <a:xfrm>
            <a:off x="6303202" y="2286000"/>
            <a:ext cx="853218" cy="850392"/>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87" name="Picture Placeholder 2"/>
          <p:cNvSpPr>
            <a:spLocks noGrp="1"/>
          </p:cNvSpPr>
          <p:nvPr>
            <p:ph type="pic" sz="quarter" idx="37"/>
          </p:nvPr>
        </p:nvSpPr>
        <p:spPr>
          <a:xfrm>
            <a:off x="6300715" y="4214532"/>
            <a:ext cx="853218" cy="850392"/>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2" name="Shape 700"/>
          <p:cNvSpPr/>
          <p:nvPr userDrawn="1"/>
        </p:nvSpPr>
        <p:spPr>
          <a:xfrm>
            <a:off x="1903129" y="2420438"/>
            <a:ext cx="310504" cy="480934"/>
          </a:xfrm>
          <a:prstGeom prst="rect">
            <a:avLst/>
          </a:prstGeom>
          <a:solidFill>
            <a:schemeClr val="accent1"/>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64" name="Picture Placeholder 2"/>
          <p:cNvSpPr>
            <a:spLocks noGrp="1"/>
          </p:cNvSpPr>
          <p:nvPr>
            <p:ph type="pic" sz="quarter" idx="29"/>
          </p:nvPr>
        </p:nvSpPr>
        <p:spPr>
          <a:xfrm>
            <a:off x="1248303" y="2286000"/>
            <a:ext cx="853218" cy="850392"/>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28" name="Shape 697"/>
          <p:cNvSpPr/>
          <p:nvPr userDrawn="1"/>
        </p:nvSpPr>
        <p:spPr>
          <a:xfrm>
            <a:off x="1906864" y="4347383"/>
            <a:ext cx="306769" cy="480934"/>
          </a:xfrm>
          <a:prstGeom prst="rect">
            <a:avLst/>
          </a:prstGeom>
          <a:solidFill>
            <a:schemeClr val="accent3"/>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6" name="Picture Placeholder 2"/>
          <p:cNvSpPr>
            <a:spLocks noGrp="1"/>
          </p:cNvSpPr>
          <p:nvPr>
            <p:ph type="pic" sz="quarter" idx="24"/>
          </p:nvPr>
        </p:nvSpPr>
        <p:spPr>
          <a:xfrm>
            <a:off x="1245815" y="4212945"/>
            <a:ext cx="853218" cy="850392"/>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1"/>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3" name="Text Placeholder 17"/>
          <p:cNvSpPr>
            <a:spLocks noGrp="1"/>
          </p:cNvSpPr>
          <p:nvPr>
            <p:ph type="body" sz="quarter" idx="18" hasCustomPrompt="1"/>
          </p:nvPr>
        </p:nvSpPr>
        <p:spPr>
          <a:xfrm>
            <a:off x="1523603" y="996517"/>
            <a:ext cx="9141619" cy="248083"/>
          </a:xfrm>
        </p:spPr>
        <p:txBody>
          <a:bodyPr lIns="0" tIns="0" rIns="0" bIns="0">
            <a:normAutofit/>
          </a:bodyPr>
          <a:lstStyle>
            <a:lvl1pPr marL="0" indent="0" algn="ctr">
              <a:lnSpc>
                <a:spcPts val="1400"/>
              </a:lnSpc>
              <a:buNone/>
              <a:defRPr sz="1000">
                <a:solidFill>
                  <a:schemeClr val="bg1">
                    <a:lumMod val="50000"/>
                  </a:schemeClr>
                </a:solidFill>
                <a:latin typeface="Source Sans Pro Light"/>
              </a:defRPr>
            </a:lvl1pPr>
          </a:lstStyle>
          <a:p>
            <a:pPr lvl="0"/>
            <a:r>
              <a:rPr lang="en-GB" dirty="0"/>
              <a:t>write your relevant text here</a:t>
            </a:r>
          </a:p>
        </p:txBody>
      </p:sp>
      <p:sp>
        <p:nvSpPr>
          <p:cNvPr id="9" name="Content Placeholder 20"/>
          <p:cNvSpPr>
            <a:spLocks noGrp="1"/>
          </p:cNvSpPr>
          <p:nvPr>
            <p:ph sz="quarter" idx="16" hasCustomPrompt="1"/>
          </p:nvPr>
        </p:nvSpPr>
        <p:spPr>
          <a:xfrm>
            <a:off x="2458089" y="5144455"/>
            <a:ext cx="16002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Agem</a:t>
            </a:r>
            <a:endParaRPr lang="en-GB" dirty="0"/>
          </a:p>
        </p:txBody>
      </p:sp>
      <p:sp>
        <p:nvSpPr>
          <p:cNvPr id="10" name="Text Placeholder 17"/>
          <p:cNvSpPr>
            <a:spLocks noGrp="1"/>
          </p:cNvSpPr>
          <p:nvPr>
            <p:ph type="body" sz="quarter" idx="21" hasCustomPrompt="1"/>
          </p:nvPr>
        </p:nvSpPr>
        <p:spPr>
          <a:xfrm>
            <a:off x="2473491" y="4280128"/>
            <a:ext cx="3561590" cy="685800"/>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a:t>“ Body text here or </a:t>
            </a:r>
            <a:r>
              <a:rPr lang="en-US" dirty="0" err="1"/>
              <a:t>pokok</a:t>
            </a:r>
            <a:r>
              <a:rPr lang="en-US" dirty="0"/>
              <a:t> </a:t>
            </a:r>
            <a:r>
              <a:rPr lang="en-US" dirty="0" err="1"/>
              <a:t>jih</a:t>
            </a:r>
            <a:r>
              <a:rPr lang="en-US" dirty="0"/>
              <a:t> </a:t>
            </a:r>
            <a:r>
              <a:rPr lang="en-US" dirty="0" err="1"/>
              <a:t>lon</a:t>
            </a:r>
            <a:r>
              <a:rPr lang="en-US" dirty="0"/>
              <a:t> </a:t>
            </a:r>
            <a:r>
              <a:rPr lang="en-US" dirty="0" err="1"/>
              <a:t>puas</a:t>
            </a:r>
            <a:r>
              <a:rPr lang="en-US" dirty="0"/>
              <a:t> kali </a:t>
            </a:r>
            <a:r>
              <a:rPr lang="en-US" dirty="0" err="1"/>
              <a:t>nyo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tamah</a:t>
            </a:r>
            <a:r>
              <a:rPr lang="en-US" dirty="0"/>
              <a:t> </a:t>
            </a:r>
            <a:r>
              <a:rPr lang="en-US" dirty="0" err="1"/>
              <a:t>ata</a:t>
            </a:r>
            <a:r>
              <a:rPr lang="en-US" dirty="0"/>
              <a:t> </a:t>
            </a:r>
            <a:r>
              <a:rPr lang="en-US" dirty="0" err="1"/>
              <a:t>si</a:t>
            </a:r>
            <a:r>
              <a:rPr lang="en-US" dirty="0"/>
              <a:t> </a:t>
            </a:r>
            <a:r>
              <a:rPr lang="en-US" dirty="0" err="1"/>
              <a:t>memet</a:t>
            </a:r>
            <a:r>
              <a:rPr lang="en-US" dirty="0"/>
              <a:t> </a:t>
            </a:r>
            <a:r>
              <a:rPr lang="en-US" dirty="0" err="1"/>
              <a:t>bacut</a:t>
            </a:r>
            <a:r>
              <a:rPr lang="en-US" dirty="0"/>
              <a:t> </a:t>
            </a:r>
            <a:r>
              <a:rPr lang="en-US" dirty="0" err="1"/>
              <a:t>nyang</a:t>
            </a:r>
            <a:r>
              <a:rPr lang="en-US" dirty="0"/>
              <a:t> </a:t>
            </a:r>
            <a:r>
              <a:rPr lang="en-US" dirty="0" err="1"/>
              <a:t>peunting</a:t>
            </a:r>
            <a:r>
              <a:rPr lang="en-US" dirty="0"/>
              <a:t> </a:t>
            </a:r>
            <a:r>
              <a:rPr lang="en-US" dirty="0" err="1"/>
              <a:t>olah</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9" name="Shape 698"/>
          <p:cNvSpPr/>
          <p:nvPr userDrawn="1"/>
        </p:nvSpPr>
        <p:spPr>
          <a:xfrm>
            <a:off x="6950754" y="2420438"/>
            <a:ext cx="310504" cy="480934"/>
          </a:xfrm>
          <a:prstGeom prst="rect">
            <a:avLst/>
          </a:prstGeom>
          <a:solidFill>
            <a:schemeClr val="accent2"/>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30" name="Shape 699"/>
          <p:cNvSpPr/>
          <p:nvPr userDrawn="1"/>
        </p:nvSpPr>
        <p:spPr>
          <a:xfrm>
            <a:off x="6954487" y="4348970"/>
            <a:ext cx="306769" cy="480934"/>
          </a:xfrm>
          <a:prstGeom prst="rect">
            <a:avLst/>
          </a:prstGeom>
          <a:solidFill>
            <a:schemeClr val="accent4"/>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60" name="Text Placeholder 17"/>
          <p:cNvSpPr>
            <a:spLocks noGrp="1"/>
          </p:cNvSpPr>
          <p:nvPr>
            <p:ph type="body" sz="quarter" idx="25" hasCustomPrompt="1"/>
          </p:nvPr>
        </p:nvSpPr>
        <p:spPr>
          <a:xfrm>
            <a:off x="2458086" y="5412125"/>
            <a:ext cx="1583670" cy="228600"/>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Sales Promotion</a:t>
            </a:r>
          </a:p>
        </p:txBody>
      </p:sp>
      <p:sp>
        <p:nvSpPr>
          <p:cNvPr id="61" name="Content Placeholder 20"/>
          <p:cNvSpPr>
            <a:spLocks noGrp="1"/>
          </p:cNvSpPr>
          <p:nvPr>
            <p:ph sz="quarter" idx="26" hasCustomPrompt="1"/>
          </p:nvPr>
        </p:nvSpPr>
        <p:spPr>
          <a:xfrm>
            <a:off x="2473495" y="3224214"/>
            <a:ext cx="16002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Agem</a:t>
            </a:r>
            <a:endParaRPr lang="en-GB" dirty="0"/>
          </a:p>
        </p:txBody>
      </p:sp>
      <p:sp>
        <p:nvSpPr>
          <p:cNvPr id="62" name="Text Placeholder 17"/>
          <p:cNvSpPr>
            <a:spLocks noGrp="1"/>
          </p:cNvSpPr>
          <p:nvPr>
            <p:ph type="body" sz="quarter" idx="27" hasCustomPrompt="1"/>
          </p:nvPr>
        </p:nvSpPr>
        <p:spPr>
          <a:xfrm>
            <a:off x="2473491" y="2359888"/>
            <a:ext cx="3561590" cy="685800"/>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a:t>“ Body text here or </a:t>
            </a:r>
            <a:r>
              <a:rPr lang="en-US" dirty="0" err="1"/>
              <a:t>pokok</a:t>
            </a:r>
            <a:r>
              <a:rPr lang="en-US" dirty="0"/>
              <a:t> </a:t>
            </a:r>
            <a:r>
              <a:rPr lang="en-US" dirty="0" err="1"/>
              <a:t>jih</a:t>
            </a:r>
            <a:r>
              <a:rPr lang="en-US" dirty="0"/>
              <a:t> </a:t>
            </a:r>
            <a:r>
              <a:rPr lang="en-US" dirty="0" err="1"/>
              <a:t>lon</a:t>
            </a:r>
            <a:r>
              <a:rPr lang="en-US" dirty="0"/>
              <a:t> </a:t>
            </a:r>
            <a:r>
              <a:rPr lang="en-US" dirty="0" err="1"/>
              <a:t>puas</a:t>
            </a:r>
            <a:r>
              <a:rPr lang="en-US" dirty="0"/>
              <a:t> kali </a:t>
            </a:r>
            <a:r>
              <a:rPr lang="en-US" dirty="0" err="1"/>
              <a:t>nyo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tamah</a:t>
            </a:r>
            <a:r>
              <a:rPr lang="en-US" dirty="0"/>
              <a:t> </a:t>
            </a:r>
            <a:r>
              <a:rPr lang="en-US" dirty="0" err="1"/>
              <a:t>ata</a:t>
            </a:r>
            <a:r>
              <a:rPr lang="en-US" dirty="0"/>
              <a:t> </a:t>
            </a:r>
            <a:r>
              <a:rPr lang="en-US" dirty="0" err="1"/>
              <a:t>si</a:t>
            </a:r>
            <a:r>
              <a:rPr lang="en-US" dirty="0"/>
              <a:t> </a:t>
            </a:r>
            <a:r>
              <a:rPr lang="en-US" dirty="0" err="1"/>
              <a:t>memet</a:t>
            </a:r>
            <a:r>
              <a:rPr lang="en-US" dirty="0"/>
              <a:t> </a:t>
            </a:r>
            <a:r>
              <a:rPr lang="en-US" dirty="0" err="1"/>
              <a:t>bacut</a:t>
            </a:r>
            <a:r>
              <a:rPr lang="en-US" dirty="0"/>
              <a:t> </a:t>
            </a:r>
            <a:r>
              <a:rPr lang="en-US" dirty="0" err="1"/>
              <a:t>nyang</a:t>
            </a:r>
            <a:r>
              <a:rPr lang="en-US" dirty="0"/>
              <a:t> </a:t>
            </a:r>
            <a:r>
              <a:rPr lang="en-US" dirty="0" err="1"/>
              <a:t>peunting</a:t>
            </a:r>
            <a:r>
              <a:rPr lang="en-US" dirty="0"/>
              <a:t> </a:t>
            </a:r>
            <a:r>
              <a:rPr lang="en-US" dirty="0" err="1"/>
              <a:t>olah</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63" name="Text Placeholder 17"/>
          <p:cNvSpPr>
            <a:spLocks noGrp="1"/>
          </p:cNvSpPr>
          <p:nvPr>
            <p:ph type="body" sz="quarter" idx="28" hasCustomPrompt="1"/>
          </p:nvPr>
        </p:nvSpPr>
        <p:spPr>
          <a:xfrm>
            <a:off x="2473492" y="3491885"/>
            <a:ext cx="1583670" cy="228600"/>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Sales Promotion</a:t>
            </a:r>
          </a:p>
        </p:txBody>
      </p:sp>
      <p:sp>
        <p:nvSpPr>
          <p:cNvPr id="65" name="Content Placeholder 20"/>
          <p:cNvSpPr>
            <a:spLocks noGrp="1"/>
          </p:cNvSpPr>
          <p:nvPr>
            <p:ph sz="quarter" idx="30" hasCustomPrompt="1"/>
          </p:nvPr>
        </p:nvSpPr>
        <p:spPr>
          <a:xfrm>
            <a:off x="7497583" y="5144455"/>
            <a:ext cx="16002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Agem</a:t>
            </a:r>
            <a:endParaRPr lang="en-GB" dirty="0"/>
          </a:p>
        </p:txBody>
      </p:sp>
      <p:sp>
        <p:nvSpPr>
          <p:cNvPr id="66" name="Text Placeholder 17"/>
          <p:cNvSpPr>
            <a:spLocks noGrp="1"/>
          </p:cNvSpPr>
          <p:nvPr>
            <p:ph type="body" sz="quarter" idx="31" hasCustomPrompt="1"/>
          </p:nvPr>
        </p:nvSpPr>
        <p:spPr>
          <a:xfrm>
            <a:off x="7512985" y="4280128"/>
            <a:ext cx="3561590" cy="685800"/>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a:t>“ Body text here or </a:t>
            </a:r>
            <a:r>
              <a:rPr lang="en-US" dirty="0" err="1"/>
              <a:t>pokok</a:t>
            </a:r>
            <a:r>
              <a:rPr lang="en-US" dirty="0"/>
              <a:t> </a:t>
            </a:r>
            <a:r>
              <a:rPr lang="en-US" dirty="0" err="1"/>
              <a:t>jih</a:t>
            </a:r>
            <a:r>
              <a:rPr lang="en-US" dirty="0"/>
              <a:t> </a:t>
            </a:r>
            <a:r>
              <a:rPr lang="en-US" dirty="0" err="1"/>
              <a:t>lon</a:t>
            </a:r>
            <a:r>
              <a:rPr lang="en-US" dirty="0"/>
              <a:t> </a:t>
            </a:r>
            <a:r>
              <a:rPr lang="en-US" dirty="0" err="1"/>
              <a:t>puas</a:t>
            </a:r>
            <a:r>
              <a:rPr lang="en-US" dirty="0"/>
              <a:t> kali </a:t>
            </a:r>
            <a:r>
              <a:rPr lang="en-US" dirty="0" err="1"/>
              <a:t>nyo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tamah</a:t>
            </a:r>
            <a:r>
              <a:rPr lang="en-US" dirty="0"/>
              <a:t> </a:t>
            </a:r>
            <a:r>
              <a:rPr lang="en-US" dirty="0" err="1"/>
              <a:t>ata</a:t>
            </a:r>
            <a:r>
              <a:rPr lang="en-US" dirty="0"/>
              <a:t> </a:t>
            </a:r>
            <a:r>
              <a:rPr lang="en-US" dirty="0" err="1"/>
              <a:t>si</a:t>
            </a:r>
            <a:r>
              <a:rPr lang="en-US" dirty="0"/>
              <a:t> </a:t>
            </a:r>
            <a:r>
              <a:rPr lang="en-US" dirty="0" err="1"/>
              <a:t>memet</a:t>
            </a:r>
            <a:r>
              <a:rPr lang="en-US" dirty="0"/>
              <a:t> </a:t>
            </a:r>
            <a:r>
              <a:rPr lang="en-US" dirty="0" err="1"/>
              <a:t>bacut</a:t>
            </a:r>
            <a:r>
              <a:rPr lang="en-US" dirty="0"/>
              <a:t> </a:t>
            </a:r>
            <a:r>
              <a:rPr lang="en-US" dirty="0" err="1"/>
              <a:t>nyang</a:t>
            </a:r>
            <a:r>
              <a:rPr lang="en-US" dirty="0"/>
              <a:t> </a:t>
            </a:r>
            <a:r>
              <a:rPr lang="en-US" dirty="0" err="1"/>
              <a:t>peunting</a:t>
            </a:r>
            <a:r>
              <a:rPr lang="en-US" dirty="0"/>
              <a:t> </a:t>
            </a:r>
            <a:r>
              <a:rPr lang="en-US" dirty="0" err="1"/>
              <a:t>olah</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67" name="Text Placeholder 17"/>
          <p:cNvSpPr>
            <a:spLocks noGrp="1"/>
          </p:cNvSpPr>
          <p:nvPr>
            <p:ph type="body" sz="quarter" idx="32" hasCustomPrompt="1"/>
          </p:nvPr>
        </p:nvSpPr>
        <p:spPr>
          <a:xfrm>
            <a:off x="7497580" y="5412125"/>
            <a:ext cx="1583670" cy="228600"/>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Sales Promotion</a:t>
            </a:r>
          </a:p>
        </p:txBody>
      </p:sp>
      <p:sp>
        <p:nvSpPr>
          <p:cNvPr id="68" name="Content Placeholder 20"/>
          <p:cNvSpPr>
            <a:spLocks noGrp="1"/>
          </p:cNvSpPr>
          <p:nvPr>
            <p:ph sz="quarter" idx="33" hasCustomPrompt="1"/>
          </p:nvPr>
        </p:nvSpPr>
        <p:spPr>
          <a:xfrm>
            <a:off x="7512989" y="3224214"/>
            <a:ext cx="16002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err="1"/>
              <a:t>Mr.</a:t>
            </a:r>
            <a:r>
              <a:rPr lang="en-GB" dirty="0"/>
              <a:t> </a:t>
            </a:r>
            <a:r>
              <a:rPr lang="en-GB" dirty="0" err="1"/>
              <a:t>Agem</a:t>
            </a:r>
            <a:endParaRPr lang="en-GB" dirty="0"/>
          </a:p>
        </p:txBody>
      </p:sp>
      <p:sp>
        <p:nvSpPr>
          <p:cNvPr id="69" name="Text Placeholder 17"/>
          <p:cNvSpPr>
            <a:spLocks noGrp="1"/>
          </p:cNvSpPr>
          <p:nvPr>
            <p:ph type="body" sz="quarter" idx="34" hasCustomPrompt="1"/>
          </p:nvPr>
        </p:nvSpPr>
        <p:spPr>
          <a:xfrm>
            <a:off x="7512985" y="2359888"/>
            <a:ext cx="3561590" cy="685800"/>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a:t>“ Body text here or </a:t>
            </a:r>
            <a:r>
              <a:rPr lang="en-US" dirty="0" err="1"/>
              <a:t>pokok</a:t>
            </a:r>
            <a:r>
              <a:rPr lang="en-US" dirty="0"/>
              <a:t> </a:t>
            </a:r>
            <a:r>
              <a:rPr lang="en-US" dirty="0" err="1"/>
              <a:t>jih</a:t>
            </a:r>
            <a:r>
              <a:rPr lang="en-US" dirty="0"/>
              <a:t> </a:t>
            </a:r>
            <a:r>
              <a:rPr lang="en-US" dirty="0" err="1"/>
              <a:t>lon</a:t>
            </a:r>
            <a:r>
              <a:rPr lang="en-US" dirty="0"/>
              <a:t> </a:t>
            </a:r>
            <a:r>
              <a:rPr lang="en-US" dirty="0" err="1"/>
              <a:t>puas</a:t>
            </a:r>
            <a:r>
              <a:rPr lang="en-US" dirty="0"/>
              <a:t> kali </a:t>
            </a:r>
            <a:r>
              <a:rPr lang="en-US" dirty="0" err="1"/>
              <a:t>nyo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tamah</a:t>
            </a:r>
            <a:r>
              <a:rPr lang="en-US" dirty="0"/>
              <a:t> </a:t>
            </a:r>
            <a:r>
              <a:rPr lang="en-US" dirty="0" err="1"/>
              <a:t>ata</a:t>
            </a:r>
            <a:r>
              <a:rPr lang="en-US" dirty="0"/>
              <a:t> </a:t>
            </a:r>
            <a:r>
              <a:rPr lang="en-US" dirty="0" err="1"/>
              <a:t>si</a:t>
            </a:r>
            <a:r>
              <a:rPr lang="en-US" dirty="0"/>
              <a:t> </a:t>
            </a:r>
            <a:r>
              <a:rPr lang="en-US" dirty="0" err="1"/>
              <a:t>memet</a:t>
            </a:r>
            <a:r>
              <a:rPr lang="en-US" dirty="0"/>
              <a:t> </a:t>
            </a:r>
            <a:r>
              <a:rPr lang="en-US" dirty="0" err="1"/>
              <a:t>bacut</a:t>
            </a:r>
            <a:r>
              <a:rPr lang="en-US" dirty="0"/>
              <a:t> </a:t>
            </a:r>
            <a:r>
              <a:rPr lang="en-US" dirty="0" err="1"/>
              <a:t>nyang</a:t>
            </a:r>
            <a:r>
              <a:rPr lang="en-US" dirty="0"/>
              <a:t> </a:t>
            </a:r>
            <a:r>
              <a:rPr lang="en-US" dirty="0" err="1"/>
              <a:t>peunting</a:t>
            </a:r>
            <a:r>
              <a:rPr lang="en-US" dirty="0"/>
              <a:t> </a:t>
            </a:r>
            <a:r>
              <a:rPr lang="en-US" dirty="0" err="1"/>
              <a:t>olah</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82" name="Text Placeholder 17"/>
          <p:cNvSpPr>
            <a:spLocks noGrp="1"/>
          </p:cNvSpPr>
          <p:nvPr>
            <p:ph type="body" sz="quarter" idx="35" hasCustomPrompt="1"/>
          </p:nvPr>
        </p:nvSpPr>
        <p:spPr>
          <a:xfrm>
            <a:off x="7512986" y="3491885"/>
            <a:ext cx="1583670" cy="228600"/>
          </a:xfrm>
        </p:spPr>
        <p:txBody>
          <a:bodyPr lIns="0" tIns="0" rIns="0" bIns="0">
            <a:normAutofit/>
          </a:bodyPr>
          <a:lstStyle>
            <a:lvl1pPr marL="0" indent="0" algn="l">
              <a:lnSpc>
                <a:spcPts val="1500"/>
              </a:lnSpc>
              <a:buNone/>
              <a:defRPr sz="1000">
                <a:solidFill>
                  <a:schemeClr val="tx1">
                    <a:lumMod val="65000"/>
                    <a:lumOff val="35000"/>
                  </a:schemeClr>
                </a:solidFill>
                <a:latin typeface="Source Sans Pro Light"/>
              </a:defRPr>
            </a:lvl1pPr>
          </a:lstStyle>
          <a:p>
            <a:pPr lvl="0"/>
            <a:r>
              <a:rPr lang="en-US" dirty="0"/>
              <a:t>Sales Promotion</a:t>
            </a:r>
          </a:p>
        </p:txBody>
      </p:sp>
    </p:spTree>
    <p:extLst>
      <p:ext uri="{BB962C8B-B14F-4D97-AF65-F5344CB8AC3E}">
        <p14:creationId xmlns:p14="http://schemas.microsoft.com/office/powerpoint/2010/main" val="105398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dissolve">
                                      <p:cBhvr>
                                        <p:cTn id="11" dur="500"/>
                                        <p:tgtEl>
                                          <p:spTgt spid="23">
                                            <p:txEl>
                                              <p:pRg st="0" end="0"/>
                                            </p:txEl>
                                          </p:spTgt>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62">
                                            <p:txEl>
                                              <p:pRg st="0" end="0"/>
                                            </p:txEl>
                                          </p:spTgt>
                                        </p:tgtEl>
                                        <p:attrNameLst>
                                          <p:attrName>style.visibility</p:attrName>
                                        </p:attrNameLst>
                                      </p:cBhvr>
                                      <p:to>
                                        <p:strVal val="visible"/>
                                      </p:to>
                                    </p:set>
                                    <p:animEffect transition="in" filter="dissolve">
                                      <p:cBhvr>
                                        <p:cTn id="23" dur="500"/>
                                        <p:tgtEl>
                                          <p:spTgt spid="62">
                                            <p:txEl>
                                              <p:pRg st="0" end="0"/>
                                            </p:txEl>
                                          </p:spTgt>
                                        </p:tgtEl>
                                      </p:cBhvr>
                                    </p:animEffect>
                                  </p:childTnLst>
                                </p:cTn>
                              </p:par>
                            </p:childTnLst>
                          </p:cTn>
                        </p:par>
                        <p:par>
                          <p:cTn id="24" fill="hold">
                            <p:stCondLst>
                              <p:cond delay="2500"/>
                            </p:stCondLst>
                            <p:childTnLst>
                              <p:par>
                                <p:cTn id="25" presetID="9" presetClass="entr" presetSubtype="0" fill="hold" grpId="0" nodeType="afterEffect">
                                  <p:stCondLst>
                                    <p:cond delay="0"/>
                                  </p:stCondLst>
                                  <p:childTnLst>
                                    <p:set>
                                      <p:cBhvr>
                                        <p:cTn id="26" dur="1" fill="hold">
                                          <p:stCondLst>
                                            <p:cond delay="0"/>
                                          </p:stCondLst>
                                        </p:cTn>
                                        <p:tgtEl>
                                          <p:spTgt spid="61">
                                            <p:txEl>
                                              <p:pRg st="0" end="0"/>
                                            </p:txEl>
                                          </p:spTgt>
                                        </p:tgtEl>
                                        <p:attrNameLst>
                                          <p:attrName>style.visibility</p:attrName>
                                        </p:attrNameLst>
                                      </p:cBhvr>
                                      <p:to>
                                        <p:strVal val="visible"/>
                                      </p:to>
                                    </p:set>
                                    <p:animEffect transition="in" filter="dissolve">
                                      <p:cBhvr>
                                        <p:cTn id="27" dur="500"/>
                                        <p:tgtEl>
                                          <p:spTgt spid="61">
                                            <p:txEl>
                                              <p:pRg st="0" end="0"/>
                                            </p:txEl>
                                          </p:spTgt>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63">
                                            <p:txEl>
                                              <p:pRg st="0" end="0"/>
                                            </p:txEl>
                                          </p:spTgt>
                                        </p:tgtEl>
                                        <p:attrNameLst>
                                          <p:attrName>style.visibility</p:attrName>
                                        </p:attrNameLst>
                                      </p:cBhvr>
                                      <p:to>
                                        <p:strVal val="visible"/>
                                      </p:to>
                                    </p:set>
                                    <p:animEffect transition="in" filter="dissolve">
                                      <p:cBhvr>
                                        <p:cTn id="30" dur="500"/>
                                        <p:tgtEl>
                                          <p:spTgt spid="63">
                                            <p:txEl>
                                              <p:pRg st="0" end="0"/>
                                            </p:txEl>
                                          </p:spTgt>
                                        </p:tgtEl>
                                      </p:cBhvr>
                                    </p:animEffect>
                                  </p:childTnLst>
                                </p:cTn>
                              </p:par>
                            </p:childTnLst>
                          </p:cTn>
                        </p:par>
                        <p:par>
                          <p:cTn id="31" fill="hold">
                            <p:stCondLst>
                              <p:cond delay="3000"/>
                            </p:stCondLst>
                            <p:childTnLst>
                              <p:par>
                                <p:cTn id="32" presetID="10" presetClass="entr" presetSubtype="0" fill="hold" grpId="0" nodeType="afterEffect" nodePh="1">
                                  <p:stCondLst>
                                    <p:cond delay="0"/>
                                  </p:stCondLst>
                                  <p:endCondLst>
                                    <p:cond evt="begin" delay="0">
                                      <p:tn val="32"/>
                                    </p:cond>
                                  </p:end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childTnLst>
                          </p:cTn>
                        </p:par>
                        <p:par>
                          <p:cTn id="35" fill="hold">
                            <p:stCondLst>
                              <p:cond delay="3500"/>
                            </p:stCondLst>
                            <p:childTnLst>
                              <p:par>
                                <p:cTn id="36" presetID="22" presetClass="entr" presetSubtype="8" fill="hold" grpId="0"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wipe(left)">
                                      <p:cBhvr>
                                        <p:cTn id="38" dur="500"/>
                                        <p:tgtEl>
                                          <p:spTgt spid="29"/>
                                        </p:tgtEl>
                                      </p:cBhvr>
                                    </p:animEffect>
                                  </p:childTnLst>
                                </p:cTn>
                              </p:par>
                            </p:childTnLst>
                          </p:cTn>
                        </p:par>
                        <p:par>
                          <p:cTn id="39" fill="hold">
                            <p:stCondLst>
                              <p:cond delay="4000"/>
                            </p:stCondLst>
                            <p:childTnLst>
                              <p:par>
                                <p:cTn id="40" presetID="9" presetClass="entr" presetSubtype="0" fill="hold" grpId="0" nodeType="afterEffect">
                                  <p:stCondLst>
                                    <p:cond delay="0"/>
                                  </p:stCondLst>
                                  <p:childTnLst>
                                    <p:set>
                                      <p:cBhvr>
                                        <p:cTn id="41" dur="1" fill="hold">
                                          <p:stCondLst>
                                            <p:cond delay="0"/>
                                          </p:stCondLst>
                                        </p:cTn>
                                        <p:tgtEl>
                                          <p:spTgt spid="69">
                                            <p:txEl>
                                              <p:pRg st="0" end="0"/>
                                            </p:txEl>
                                          </p:spTgt>
                                        </p:tgtEl>
                                        <p:attrNameLst>
                                          <p:attrName>style.visibility</p:attrName>
                                        </p:attrNameLst>
                                      </p:cBhvr>
                                      <p:to>
                                        <p:strVal val="visible"/>
                                      </p:to>
                                    </p:set>
                                    <p:animEffect transition="in" filter="dissolve">
                                      <p:cBhvr>
                                        <p:cTn id="42" dur="500"/>
                                        <p:tgtEl>
                                          <p:spTgt spid="69">
                                            <p:txEl>
                                              <p:pRg st="0" end="0"/>
                                            </p:txEl>
                                          </p:spTgt>
                                        </p:tgtEl>
                                      </p:cBhvr>
                                    </p:animEffect>
                                  </p:childTnLst>
                                </p:cTn>
                              </p:par>
                            </p:childTnLst>
                          </p:cTn>
                        </p:par>
                        <p:par>
                          <p:cTn id="43" fill="hold">
                            <p:stCondLst>
                              <p:cond delay="4500"/>
                            </p:stCondLst>
                            <p:childTnLst>
                              <p:par>
                                <p:cTn id="44" presetID="9" presetClass="entr" presetSubtype="0" fill="hold" grpId="0" nodeType="afterEffect">
                                  <p:stCondLst>
                                    <p:cond delay="0"/>
                                  </p:stCondLst>
                                  <p:childTnLst>
                                    <p:set>
                                      <p:cBhvr>
                                        <p:cTn id="45" dur="1" fill="hold">
                                          <p:stCondLst>
                                            <p:cond delay="0"/>
                                          </p:stCondLst>
                                        </p:cTn>
                                        <p:tgtEl>
                                          <p:spTgt spid="68">
                                            <p:txEl>
                                              <p:pRg st="0" end="0"/>
                                            </p:txEl>
                                          </p:spTgt>
                                        </p:tgtEl>
                                        <p:attrNameLst>
                                          <p:attrName>style.visibility</p:attrName>
                                        </p:attrNameLst>
                                      </p:cBhvr>
                                      <p:to>
                                        <p:strVal val="visible"/>
                                      </p:to>
                                    </p:set>
                                    <p:animEffect transition="in" filter="dissolve">
                                      <p:cBhvr>
                                        <p:cTn id="46" dur="500"/>
                                        <p:tgtEl>
                                          <p:spTgt spid="68">
                                            <p:txEl>
                                              <p:pRg st="0" end="0"/>
                                            </p:txEl>
                                          </p:spTgt>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82">
                                            <p:txEl>
                                              <p:pRg st="0" end="0"/>
                                            </p:txEl>
                                          </p:spTgt>
                                        </p:tgtEl>
                                        <p:attrNameLst>
                                          <p:attrName>style.visibility</p:attrName>
                                        </p:attrNameLst>
                                      </p:cBhvr>
                                      <p:to>
                                        <p:strVal val="visible"/>
                                      </p:to>
                                    </p:set>
                                    <p:animEffect transition="in" filter="dissolve">
                                      <p:cBhvr>
                                        <p:cTn id="49" dur="500"/>
                                        <p:tgtEl>
                                          <p:spTgt spid="82">
                                            <p:txEl>
                                              <p:pRg st="0" end="0"/>
                                            </p:txEl>
                                          </p:spTgt>
                                        </p:tgtEl>
                                      </p:cBhvr>
                                    </p:animEffect>
                                  </p:childTnLst>
                                </p:cTn>
                              </p:par>
                            </p:childTnLst>
                          </p:cTn>
                        </p:par>
                        <p:par>
                          <p:cTn id="50" fill="hold">
                            <p:stCondLst>
                              <p:cond delay="5000"/>
                            </p:stCondLst>
                            <p:childTnLst>
                              <p:par>
                                <p:cTn id="51" presetID="10" presetClass="entr" presetSubtype="0" fill="hold" grpId="0" nodeType="afterEffect" nodePh="1">
                                  <p:stCondLst>
                                    <p:cond delay="0"/>
                                  </p:stCondLst>
                                  <p:endCondLst>
                                    <p:cond evt="begin" delay="0">
                                      <p:tn val="51"/>
                                    </p:cond>
                                  </p:end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wipe(left)">
                                      <p:cBhvr>
                                        <p:cTn id="57" dur="500"/>
                                        <p:tgtEl>
                                          <p:spTgt spid="28"/>
                                        </p:tgtEl>
                                      </p:cBhvr>
                                    </p:animEffect>
                                  </p:childTnLst>
                                </p:cTn>
                              </p:par>
                            </p:childTnLst>
                          </p:cTn>
                        </p:par>
                        <p:par>
                          <p:cTn id="58" fill="hold">
                            <p:stCondLst>
                              <p:cond delay="6000"/>
                            </p:stCondLst>
                            <p:childTnLst>
                              <p:par>
                                <p:cTn id="59" presetID="9" presetClass="entr" presetSubtype="0" fill="hold" grpId="0" nodeType="afterEffect">
                                  <p:stCondLst>
                                    <p:cond delay="0"/>
                                  </p:stCondLst>
                                  <p:childTnLst>
                                    <p:set>
                                      <p:cBhvr>
                                        <p:cTn id="60" dur="1" fill="hold">
                                          <p:stCondLst>
                                            <p:cond delay="0"/>
                                          </p:stCondLst>
                                        </p:cTn>
                                        <p:tgtEl>
                                          <p:spTgt spid="10">
                                            <p:txEl>
                                              <p:pRg st="0" end="0"/>
                                            </p:txEl>
                                          </p:spTgt>
                                        </p:tgtEl>
                                        <p:attrNameLst>
                                          <p:attrName>style.visibility</p:attrName>
                                        </p:attrNameLst>
                                      </p:cBhvr>
                                      <p:to>
                                        <p:strVal val="visible"/>
                                      </p:to>
                                    </p:set>
                                    <p:animEffect transition="in" filter="dissolve">
                                      <p:cBhvr>
                                        <p:cTn id="61" dur="500"/>
                                        <p:tgtEl>
                                          <p:spTgt spid="10">
                                            <p:txEl>
                                              <p:pRg st="0" end="0"/>
                                            </p:txEl>
                                          </p:spTgt>
                                        </p:tgtEl>
                                      </p:cBhvr>
                                    </p:animEffect>
                                  </p:childTnLst>
                                </p:cTn>
                              </p:par>
                            </p:childTnLst>
                          </p:cTn>
                        </p:par>
                        <p:par>
                          <p:cTn id="62" fill="hold">
                            <p:stCondLst>
                              <p:cond delay="6500"/>
                            </p:stCondLst>
                            <p:childTnLst>
                              <p:par>
                                <p:cTn id="63" presetID="9" presetClass="entr" presetSubtype="0" fill="hold" grpId="0" nodeType="afterEffect">
                                  <p:stCondLst>
                                    <p:cond delay="0"/>
                                  </p:stCondLst>
                                  <p:childTnLst>
                                    <p:set>
                                      <p:cBhvr>
                                        <p:cTn id="64" dur="1" fill="hold">
                                          <p:stCondLst>
                                            <p:cond delay="0"/>
                                          </p:stCondLst>
                                        </p:cTn>
                                        <p:tgtEl>
                                          <p:spTgt spid="9">
                                            <p:txEl>
                                              <p:pRg st="0" end="0"/>
                                            </p:txEl>
                                          </p:spTgt>
                                        </p:tgtEl>
                                        <p:attrNameLst>
                                          <p:attrName>style.visibility</p:attrName>
                                        </p:attrNameLst>
                                      </p:cBhvr>
                                      <p:to>
                                        <p:strVal val="visible"/>
                                      </p:to>
                                    </p:set>
                                    <p:animEffect transition="in" filter="dissolve">
                                      <p:cBhvr>
                                        <p:cTn id="65" dur="500"/>
                                        <p:tgtEl>
                                          <p:spTgt spid="9">
                                            <p:txEl>
                                              <p:pRg st="0" end="0"/>
                                            </p:txEl>
                                          </p:spTgt>
                                        </p:tgtEl>
                                      </p:cBhvr>
                                    </p:animEffect>
                                  </p:childTnLst>
                                </p:cTn>
                              </p:par>
                              <p:par>
                                <p:cTn id="66" presetID="9" presetClass="entr" presetSubtype="0" fill="hold" grpId="0" nodeType="withEffect">
                                  <p:stCondLst>
                                    <p:cond delay="0"/>
                                  </p:stCondLst>
                                  <p:childTnLst>
                                    <p:set>
                                      <p:cBhvr>
                                        <p:cTn id="67" dur="1" fill="hold">
                                          <p:stCondLst>
                                            <p:cond delay="0"/>
                                          </p:stCondLst>
                                        </p:cTn>
                                        <p:tgtEl>
                                          <p:spTgt spid="60">
                                            <p:txEl>
                                              <p:pRg st="0" end="0"/>
                                            </p:txEl>
                                          </p:spTgt>
                                        </p:tgtEl>
                                        <p:attrNameLst>
                                          <p:attrName>style.visibility</p:attrName>
                                        </p:attrNameLst>
                                      </p:cBhvr>
                                      <p:to>
                                        <p:strVal val="visible"/>
                                      </p:to>
                                    </p:set>
                                    <p:animEffect transition="in" filter="dissolve">
                                      <p:cBhvr>
                                        <p:cTn id="68" dur="500"/>
                                        <p:tgtEl>
                                          <p:spTgt spid="60">
                                            <p:txEl>
                                              <p:pRg st="0" end="0"/>
                                            </p:txEl>
                                          </p:spTgt>
                                        </p:tgtEl>
                                      </p:cBhvr>
                                    </p:animEffect>
                                  </p:childTnLst>
                                </p:cTn>
                              </p:par>
                            </p:childTnLst>
                          </p:cTn>
                        </p:par>
                        <p:par>
                          <p:cTn id="69" fill="hold">
                            <p:stCondLst>
                              <p:cond delay="7000"/>
                            </p:stCondLst>
                            <p:childTnLst>
                              <p:par>
                                <p:cTn id="70" presetID="10" presetClass="entr" presetSubtype="0" fill="hold" grpId="0" nodeType="afterEffect" nodePh="1">
                                  <p:stCondLst>
                                    <p:cond delay="0"/>
                                  </p:stCondLst>
                                  <p:endCondLst>
                                    <p:cond evt="begin" delay="0">
                                      <p:tn val="70"/>
                                    </p:cond>
                                  </p:endCondLst>
                                  <p:childTnLst>
                                    <p:set>
                                      <p:cBhvr>
                                        <p:cTn id="71" dur="1" fill="hold">
                                          <p:stCondLst>
                                            <p:cond delay="0"/>
                                          </p:stCondLst>
                                        </p:cTn>
                                        <p:tgtEl>
                                          <p:spTgt spid="87"/>
                                        </p:tgtEl>
                                        <p:attrNameLst>
                                          <p:attrName>style.visibility</p:attrName>
                                        </p:attrNameLst>
                                      </p:cBhvr>
                                      <p:to>
                                        <p:strVal val="visible"/>
                                      </p:to>
                                    </p:set>
                                    <p:animEffect transition="in" filter="fade">
                                      <p:cBhvr>
                                        <p:cTn id="72" dur="500"/>
                                        <p:tgtEl>
                                          <p:spTgt spid="87"/>
                                        </p:tgtEl>
                                      </p:cBhvr>
                                    </p:animEffect>
                                  </p:childTnLst>
                                </p:cTn>
                              </p:par>
                            </p:childTnLst>
                          </p:cTn>
                        </p:par>
                        <p:par>
                          <p:cTn id="73" fill="hold">
                            <p:stCondLst>
                              <p:cond delay="7500"/>
                            </p:stCondLst>
                            <p:childTnLst>
                              <p:par>
                                <p:cTn id="74" presetID="22" presetClass="entr" presetSubtype="8" fill="hold" grpId="0" nodeType="after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wipe(left)">
                                      <p:cBhvr>
                                        <p:cTn id="76" dur="500"/>
                                        <p:tgtEl>
                                          <p:spTgt spid="30"/>
                                        </p:tgtEl>
                                      </p:cBhvr>
                                    </p:animEffect>
                                  </p:childTnLst>
                                </p:cTn>
                              </p:par>
                            </p:childTnLst>
                          </p:cTn>
                        </p:par>
                        <p:par>
                          <p:cTn id="77" fill="hold">
                            <p:stCondLst>
                              <p:cond delay="8000"/>
                            </p:stCondLst>
                            <p:childTnLst>
                              <p:par>
                                <p:cTn id="78" presetID="9" presetClass="entr" presetSubtype="0" fill="hold" grpId="0" nodeType="afterEffect">
                                  <p:stCondLst>
                                    <p:cond delay="0"/>
                                  </p:stCondLst>
                                  <p:childTnLst>
                                    <p:set>
                                      <p:cBhvr>
                                        <p:cTn id="79" dur="1" fill="hold">
                                          <p:stCondLst>
                                            <p:cond delay="0"/>
                                          </p:stCondLst>
                                        </p:cTn>
                                        <p:tgtEl>
                                          <p:spTgt spid="66">
                                            <p:txEl>
                                              <p:pRg st="0" end="0"/>
                                            </p:txEl>
                                          </p:spTgt>
                                        </p:tgtEl>
                                        <p:attrNameLst>
                                          <p:attrName>style.visibility</p:attrName>
                                        </p:attrNameLst>
                                      </p:cBhvr>
                                      <p:to>
                                        <p:strVal val="visible"/>
                                      </p:to>
                                    </p:set>
                                    <p:animEffect transition="in" filter="dissolve">
                                      <p:cBhvr>
                                        <p:cTn id="80" dur="500"/>
                                        <p:tgtEl>
                                          <p:spTgt spid="66">
                                            <p:txEl>
                                              <p:pRg st="0" end="0"/>
                                            </p:txEl>
                                          </p:spTgt>
                                        </p:tgtEl>
                                      </p:cBhvr>
                                    </p:animEffect>
                                  </p:childTnLst>
                                </p:cTn>
                              </p:par>
                            </p:childTnLst>
                          </p:cTn>
                        </p:par>
                        <p:par>
                          <p:cTn id="81" fill="hold">
                            <p:stCondLst>
                              <p:cond delay="8500"/>
                            </p:stCondLst>
                            <p:childTnLst>
                              <p:par>
                                <p:cTn id="82" presetID="9" presetClass="entr" presetSubtype="0" fill="hold" grpId="0" nodeType="afterEffect">
                                  <p:stCondLst>
                                    <p:cond delay="0"/>
                                  </p:stCondLst>
                                  <p:childTnLst>
                                    <p:set>
                                      <p:cBhvr>
                                        <p:cTn id="83" dur="1" fill="hold">
                                          <p:stCondLst>
                                            <p:cond delay="0"/>
                                          </p:stCondLst>
                                        </p:cTn>
                                        <p:tgtEl>
                                          <p:spTgt spid="65">
                                            <p:txEl>
                                              <p:pRg st="0" end="0"/>
                                            </p:txEl>
                                          </p:spTgt>
                                        </p:tgtEl>
                                        <p:attrNameLst>
                                          <p:attrName>style.visibility</p:attrName>
                                        </p:attrNameLst>
                                      </p:cBhvr>
                                      <p:to>
                                        <p:strVal val="visible"/>
                                      </p:to>
                                    </p:set>
                                    <p:animEffect transition="in" filter="dissolve">
                                      <p:cBhvr>
                                        <p:cTn id="84" dur="500"/>
                                        <p:tgtEl>
                                          <p:spTgt spid="65">
                                            <p:txEl>
                                              <p:pRg st="0" end="0"/>
                                            </p:txEl>
                                          </p:spTgt>
                                        </p:tgtEl>
                                      </p:cBhvr>
                                    </p:animEffect>
                                  </p:childTnLst>
                                </p:cTn>
                              </p:par>
                              <p:par>
                                <p:cTn id="85" presetID="9" presetClass="entr" presetSubtype="0" fill="hold" grpId="0" nodeType="withEffect">
                                  <p:stCondLst>
                                    <p:cond delay="0"/>
                                  </p:stCondLst>
                                  <p:childTnLst>
                                    <p:set>
                                      <p:cBhvr>
                                        <p:cTn id="86" dur="1" fill="hold">
                                          <p:stCondLst>
                                            <p:cond delay="0"/>
                                          </p:stCondLst>
                                        </p:cTn>
                                        <p:tgtEl>
                                          <p:spTgt spid="67">
                                            <p:txEl>
                                              <p:pRg st="0" end="0"/>
                                            </p:txEl>
                                          </p:spTgt>
                                        </p:tgtEl>
                                        <p:attrNameLst>
                                          <p:attrName>style.visibility</p:attrName>
                                        </p:attrNameLst>
                                      </p:cBhvr>
                                      <p:to>
                                        <p:strVal val="visible"/>
                                      </p:to>
                                    </p:set>
                                    <p:animEffect transition="in" filter="dissolve">
                                      <p:cBhvr>
                                        <p:cTn id="87" dur="500"/>
                                        <p:tgtEl>
                                          <p:spTgt spid="6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87" grpId="0"/>
      <p:bldP spid="32" grpId="0" animBg="1"/>
      <p:bldP spid="64" grpId="0"/>
      <p:bldP spid="28" grpId="0" animBg="1"/>
      <p:bldP spid="26" grpId="0"/>
      <p:bldP spid="16" grpId="0"/>
      <p:bldP spid="23" grpId="0" build="p">
        <p:tmplLst>
          <p:tmpl lvl="1">
            <p:tnLst>
              <p:par>
                <p:cTn presetID="9"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dissolve">
                      <p:cBhvr>
                        <p:cTn dur="500"/>
                        <p:tgtEl>
                          <p:spTgt spid="23"/>
                        </p:tgtEl>
                      </p:cBhvr>
                    </p:animEffect>
                  </p:childTnLst>
                </p:cTn>
              </p:par>
            </p:tnLst>
          </p:tmpl>
        </p:tmplLst>
      </p:bldP>
      <p:bldP spid="9" grpId="0" build="p">
        <p:tmplLst>
          <p:tmpl lvl="1">
            <p:tnLst>
              <p:par>
                <p:cTn presetID="9"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29" grpId="0" animBg="1"/>
      <p:bldP spid="30" grpId="0" animBg="1"/>
      <p:bldP spid="60" grpId="0" build="p">
        <p:tmplLst>
          <p:tmpl lvl="1">
            <p:tnLst>
              <p:par>
                <p:cTn presetID="9" presetClass="entr" presetSubtype="0" fill="hold" nodeType="withEffect">
                  <p:stCondLst>
                    <p:cond delay="0"/>
                  </p:stCondLst>
                  <p:childTnLst>
                    <p:set>
                      <p:cBhvr>
                        <p:cTn dur="1" fill="hold">
                          <p:stCondLst>
                            <p:cond delay="0"/>
                          </p:stCondLst>
                        </p:cTn>
                        <p:tgtEl>
                          <p:spTgt spid="60"/>
                        </p:tgtEl>
                        <p:attrNameLst>
                          <p:attrName>style.visibility</p:attrName>
                        </p:attrNameLst>
                      </p:cBhvr>
                      <p:to>
                        <p:strVal val="visible"/>
                      </p:to>
                    </p:set>
                    <p:animEffect transition="in" filter="dissolve">
                      <p:cBhvr>
                        <p:cTn dur="500"/>
                        <p:tgtEl>
                          <p:spTgt spid="60"/>
                        </p:tgtEl>
                      </p:cBhvr>
                    </p:animEffect>
                  </p:childTnLst>
                </p:cTn>
              </p:par>
            </p:tnLst>
          </p:tmpl>
        </p:tmplLst>
      </p:bldP>
      <p:bldP spid="61" grpId="0" build="p">
        <p:tmplLst>
          <p:tmpl lvl="1">
            <p:tnLst>
              <p:par>
                <p:cTn presetID="9" presetClass="entr" presetSubtype="0" fill="hold" nodeType="afterEffect">
                  <p:stCondLst>
                    <p:cond delay="0"/>
                  </p:stCondLst>
                  <p:childTnLst>
                    <p:set>
                      <p:cBhvr>
                        <p:cTn dur="1" fill="hold">
                          <p:stCondLst>
                            <p:cond delay="0"/>
                          </p:stCondLst>
                        </p:cTn>
                        <p:tgtEl>
                          <p:spTgt spid="61"/>
                        </p:tgtEl>
                        <p:attrNameLst>
                          <p:attrName>style.visibility</p:attrName>
                        </p:attrNameLst>
                      </p:cBhvr>
                      <p:to>
                        <p:strVal val="visible"/>
                      </p:to>
                    </p:set>
                    <p:animEffect transition="in" filter="dissolve">
                      <p:cBhvr>
                        <p:cTn dur="500"/>
                        <p:tgtEl>
                          <p:spTgt spid="61"/>
                        </p:tgtEl>
                      </p:cBhvr>
                    </p:animEffect>
                  </p:childTnLst>
                </p:cTn>
              </p:par>
            </p:tnLst>
          </p:tmpl>
        </p:tmplLst>
      </p:bldP>
      <p:bldP spid="62" grpId="0" build="p">
        <p:tmplLst>
          <p:tmpl lvl="1">
            <p:tnLst>
              <p:par>
                <p:cTn presetID="9" presetClass="entr" presetSubtype="0" fill="hold" nodeType="afterEffect">
                  <p:stCondLst>
                    <p:cond delay="0"/>
                  </p:stCondLst>
                  <p:childTnLst>
                    <p:set>
                      <p:cBhvr>
                        <p:cTn dur="1" fill="hold">
                          <p:stCondLst>
                            <p:cond delay="0"/>
                          </p:stCondLst>
                        </p:cTn>
                        <p:tgtEl>
                          <p:spTgt spid="62"/>
                        </p:tgtEl>
                        <p:attrNameLst>
                          <p:attrName>style.visibility</p:attrName>
                        </p:attrNameLst>
                      </p:cBhvr>
                      <p:to>
                        <p:strVal val="visible"/>
                      </p:to>
                    </p:set>
                    <p:animEffect transition="in" filter="dissolve">
                      <p:cBhvr>
                        <p:cTn dur="500"/>
                        <p:tgtEl>
                          <p:spTgt spid="62"/>
                        </p:tgtEl>
                      </p:cBhvr>
                    </p:animEffect>
                  </p:childTnLst>
                </p:cTn>
              </p:par>
            </p:tnLst>
          </p:tmpl>
        </p:tmplLst>
      </p:bldP>
      <p:bldP spid="63" grpId="0" build="p">
        <p:tmplLst>
          <p:tmpl lvl="1">
            <p:tnLst>
              <p:par>
                <p:cTn presetID="9"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dissolve">
                      <p:cBhvr>
                        <p:cTn dur="500"/>
                        <p:tgtEl>
                          <p:spTgt spid="63"/>
                        </p:tgtEl>
                      </p:cBhvr>
                    </p:animEffect>
                  </p:childTnLst>
                </p:cTn>
              </p:par>
            </p:tnLst>
          </p:tmpl>
        </p:tmplLst>
      </p:bldP>
      <p:bldP spid="65" grpId="0" build="p">
        <p:tmplLst>
          <p:tmpl lvl="1">
            <p:tnLst>
              <p:par>
                <p:cTn presetID="9" presetClass="entr" presetSubtype="0" fill="hold" nodeType="afterEffect">
                  <p:stCondLst>
                    <p:cond delay="0"/>
                  </p:stCondLst>
                  <p:childTnLst>
                    <p:set>
                      <p:cBhvr>
                        <p:cTn dur="1" fill="hold">
                          <p:stCondLst>
                            <p:cond delay="0"/>
                          </p:stCondLst>
                        </p:cTn>
                        <p:tgtEl>
                          <p:spTgt spid="65"/>
                        </p:tgtEl>
                        <p:attrNameLst>
                          <p:attrName>style.visibility</p:attrName>
                        </p:attrNameLst>
                      </p:cBhvr>
                      <p:to>
                        <p:strVal val="visible"/>
                      </p:to>
                    </p:set>
                    <p:animEffect transition="in" filter="dissolve">
                      <p:cBhvr>
                        <p:cTn dur="500"/>
                        <p:tgtEl>
                          <p:spTgt spid="65"/>
                        </p:tgtEl>
                      </p:cBhvr>
                    </p:animEffect>
                  </p:childTnLst>
                </p:cTn>
              </p:par>
            </p:tnLst>
          </p:tmpl>
        </p:tmplLst>
      </p:bldP>
      <p:bldP spid="66" grpId="0" build="p">
        <p:tmplLst>
          <p:tmpl lvl="1">
            <p:tnLst>
              <p:par>
                <p:cTn presetID="9"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dissolve">
                      <p:cBhvr>
                        <p:cTn dur="500"/>
                        <p:tgtEl>
                          <p:spTgt spid="66"/>
                        </p:tgtEl>
                      </p:cBhvr>
                    </p:animEffect>
                  </p:childTnLst>
                </p:cTn>
              </p:par>
            </p:tnLst>
          </p:tmpl>
        </p:tmplLst>
      </p:bldP>
      <p:bldP spid="67" grpId="0" build="p">
        <p:tmplLst>
          <p:tmpl lvl="1">
            <p:tnLst>
              <p:par>
                <p:cTn presetID="9"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dissolve">
                      <p:cBhvr>
                        <p:cTn dur="500"/>
                        <p:tgtEl>
                          <p:spTgt spid="67"/>
                        </p:tgtEl>
                      </p:cBhvr>
                    </p:animEffect>
                  </p:childTnLst>
                </p:cTn>
              </p:par>
            </p:tnLst>
          </p:tmpl>
        </p:tmplLst>
      </p:bldP>
      <p:bldP spid="68" grpId="0" build="p">
        <p:tmplLst>
          <p:tmpl lvl="1">
            <p:tnLst>
              <p:par>
                <p:cTn presetID="9" presetClass="entr" presetSubtype="0" fill="hold" nodeType="after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dissolve">
                      <p:cBhvr>
                        <p:cTn dur="500"/>
                        <p:tgtEl>
                          <p:spTgt spid="68"/>
                        </p:tgtEl>
                      </p:cBhvr>
                    </p:animEffect>
                  </p:childTnLst>
                </p:cTn>
              </p:par>
            </p:tnLst>
          </p:tmpl>
        </p:tmplLst>
      </p:bldP>
      <p:bldP spid="69" grpId="0" build="p">
        <p:tmplLst>
          <p:tmpl lvl="1">
            <p:tnLst>
              <p:par>
                <p:cTn presetID="9" presetClass="entr" presetSubtype="0" fill="hold" nodeType="after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dissolve">
                      <p:cBhvr>
                        <p:cTn dur="500"/>
                        <p:tgtEl>
                          <p:spTgt spid="69"/>
                        </p:tgtEl>
                      </p:cBhvr>
                    </p:animEffect>
                  </p:childTnLst>
                </p:cTn>
              </p:par>
            </p:tnLst>
          </p:tmpl>
        </p:tmplLst>
      </p:bldP>
      <p:bldP spid="82" grpId="0" build="p">
        <p:tmplLst>
          <p:tmpl lvl="1">
            <p:tnLst>
              <p:par>
                <p:cTn presetID="9" presetClass="entr" presetSubtype="0" fill="hold" nodeType="withEffect">
                  <p:stCondLst>
                    <p:cond delay="0"/>
                  </p:stCondLst>
                  <p:childTnLst>
                    <p:set>
                      <p:cBhvr>
                        <p:cTn dur="1" fill="hold">
                          <p:stCondLst>
                            <p:cond delay="0"/>
                          </p:stCondLst>
                        </p:cTn>
                        <p:tgtEl>
                          <p:spTgt spid="82"/>
                        </p:tgtEl>
                        <p:attrNameLst>
                          <p:attrName>style.visibility</p:attrName>
                        </p:attrNameLst>
                      </p:cBhvr>
                      <p:to>
                        <p:strVal val="visible"/>
                      </p:to>
                    </p:set>
                    <p:animEffect transition="in" filter="dissolve">
                      <p:cBhvr>
                        <p:cTn dur="500"/>
                        <p:tgtEl>
                          <p:spTgt spid="82"/>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2438113" y="3184498"/>
            <a:ext cx="2438112" cy="164025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pPr algn="ctr"/>
            <a:endParaRPr lang="en-US" sz="3100" dirty="0"/>
          </a:p>
        </p:txBody>
      </p:sp>
      <p:sp>
        <p:nvSpPr>
          <p:cNvPr id="7" name="Rectangle 6"/>
          <p:cNvSpPr/>
          <p:nvPr userDrawn="1"/>
        </p:nvSpPr>
        <p:spPr>
          <a:xfrm>
            <a:off x="7312602" y="3184498"/>
            <a:ext cx="2438112" cy="164025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pPr algn="ctr"/>
            <a:endParaRPr lang="en-US" sz="3100" dirty="0"/>
          </a:p>
        </p:txBody>
      </p:sp>
      <p:sp>
        <p:nvSpPr>
          <p:cNvPr id="8" name="Rectangle 7"/>
          <p:cNvSpPr/>
          <p:nvPr userDrawn="1"/>
        </p:nvSpPr>
        <p:spPr>
          <a:xfrm>
            <a:off x="0" y="4824750"/>
            <a:ext cx="2438112" cy="203325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pPr algn="ctr"/>
            <a:endParaRPr lang="en-US" sz="3100" dirty="0"/>
          </a:p>
        </p:txBody>
      </p:sp>
      <p:sp>
        <p:nvSpPr>
          <p:cNvPr id="9" name="Rectangle 8"/>
          <p:cNvSpPr/>
          <p:nvPr userDrawn="1"/>
        </p:nvSpPr>
        <p:spPr>
          <a:xfrm>
            <a:off x="4876226" y="4824750"/>
            <a:ext cx="2438112" cy="203325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pPr algn="ctr"/>
            <a:endParaRPr lang="en-US" sz="3100" dirty="0"/>
          </a:p>
        </p:txBody>
      </p:sp>
      <p:sp>
        <p:nvSpPr>
          <p:cNvPr id="10" name="Rectangle 9"/>
          <p:cNvSpPr/>
          <p:nvPr userDrawn="1"/>
        </p:nvSpPr>
        <p:spPr>
          <a:xfrm>
            <a:off x="9750712" y="4824750"/>
            <a:ext cx="2438112" cy="203325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pPr algn="ctr"/>
            <a:endParaRPr lang="en-US" sz="3100" dirty="0"/>
          </a:p>
        </p:txBody>
      </p:sp>
      <p:sp>
        <p:nvSpPr>
          <p:cNvPr id="19" name="Picture Placeholder 18"/>
          <p:cNvSpPr>
            <a:spLocks noGrp="1"/>
          </p:cNvSpPr>
          <p:nvPr>
            <p:ph type="pic" sz="quarter" idx="11"/>
          </p:nvPr>
        </p:nvSpPr>
        <p:spPr>
          <a:xfrm>
            <a:off x="0" y="4800600"/>
            <a:ext cx="2437765" cy="2057400"/>
          </a:xfrm>
        </p:spPr>
        <p:txBody>
          <a:bodyPr/>
          <a:lstStyle/>
          <a:p>
            <a:endParaRPr lang="en-US"/>
          </a:p>
        </p:txBody>
      </p:sp>
      <p:sp>
        <p:nvSpPr>
          <p:cNvPr id="21" name="Picture Placeholder 20"/>
          <p:cNvSpPr>
            <a:spLocks noGrp="1"/>
          </p:cNvSpPr>
          <p:nvPr>
            <p:ph type="pic" sz="quarter" idx="12"/>
          </p:nvPr>
        </p:nvSpPr>
        <p:spPr>
          <a:xfrm>
            <a:off x="4875530" y="4800600"/>
            <a:ext cx="2437765" cy="2057400"/>
          </a:xfrm>
        </p:spPr>
        <p:txBody>
          <a:bodyPr/>
          <a:lstStyle/>
          <a:p>
            <a:endParaRPr lang="en-US"/>
          </a:p>
        </p:txBody>
      </p:sp>
      <p:sp>
        <p:nvSpPr>
          <p:cNvPr id="23" name="Picture Placeholder 22"/>
          <p:cNvSpPr>
            <a:spLocks noGrp="1"/>
          </p:cNvSpPr>
          <p:nvPr>
            <p:ph type="pic" sz="quarter" idx="13"/>
          </p:nvPr>
        </p:nvSpPr>
        <p:spPr>
          <a:xfrm>
            <a:off x="9751060" y="4800600"/>
            <a:ext cx="2437765" cy="2057400"/>
          </a:xfrm>
        </p:spPr>
        <p:txBody>
          <a:bodyPr/>
          <a:lstStyle/>
          <a:p>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35" name="Picture Placeholder 2"/>
          <p:cNvSpPr>
            <a:spLocks noGrp="1"/>
          </p:cNvSpPr>
          <p:nvPr>
            <p:ph type="pic" sz="quarter" idx="27"/>
          </p:nvPr>
        </p:nvSpPr>
        <p:spPr>
          <a:xfrm>
            <a:off x="7754679" y="401251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6" name="Picture Placeholder 2"/>
          <p:cNvSpPr>
            <a:spLocks noGrp="1"/>
          </p:cNvSpPr>
          <p:nvPr>
            <p:ph type="pic" sz="quarter" idx="28"/>
          </p:nvPr>
        </p:nvSpPr>
        <p:spPr>
          <a:xfrm>
            <a:off x="7754679" y="220976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3" name="Picture Placeholder 2"/>
          <p:cNvSpPr>
            <a:spLocks noGrp="1"/>
          </p:cNvSpPr>
          <p:nvPr>
            <p:ph type="pic" sz="quarter" idx="25"/>
          </p:nvPr>
        </p:nvSpPr>
        <p:spPr>
          <a:xfrm>
            <a:off x="4488773" y="401251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4" name="Picture Placeholder 2"/>
          <p:cNvSpPr>
            <a:spLocks noGrp="1"/>
          </p:cNvSpPr>
          <p:nvPr>
            <p:ph type="pic" sz="quarter" idx="26"/>
          </p:nvPr>
        </p:nvSpPr>
        <p:spPr>
          <a:xfrm>
            <a:off x="4488773" y="220976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2" name="Picture Placeholder 2"/>
          <p:cNvSpPr>
            <a:spLocks noGrp="1"/>
          </p:cNvSpPr>
          <p:nvPr>
            <p:ph type="pic" sz="quarter" idx="24"/>
          </p:nvPr>
        </p:nvSpPr>
        <p:spPr>
          <a:xfrm>
            <a:off x="1225587" y="401251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 name="Picture Placeholder 2"/>
          <p:cNvSpPr>
            <a:spLocks noGrp="1"/>
          </p:cNvSpPr>
          <p:nvPr>
            <p:ph type="pic" sz="quarter" idx="22"/>
          </p:nvPr>
        </p:nvSpPr>
        <p:spPr>
          <a:xfrm>
            <a:off x="1225587" y="2209769"/>
            <a:ext cx="3209544" cy="173736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1"/>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10" name="Text Placeholder 17"/>
          <p:cNvSpPr>
            <a:spLocks noGrp="1"/>
          </p:cNvSpPr>
          <p:nvPr>
            <p:ph type="body" sz="quarter" idx="21"/>
          </p:nvPr>
        </p:nvSpPr>
        <p:spPr>
          <a:xfrm>
            <a:off x="4938318" y="1783082"/>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
        <p:nvSpPr>
          <p:cNvPr id="24" name="Shape 575"/>
          <p:cNvSpPr/>
          <p:nvPr userDrawn="1"/>
        </p:nvSpPr>
        <p:spPr>
          <a:xfrm>
            <a:off x="1232001" y="1894290"/>
            <a:ext cx="232109" cy="111343"/>
          </a:xfrm>
          <a:prstGeom prst="rect">
            <a:avLst/>
          </a:prstGeom>
          <a:solidFill>
            <a:schemeClr val="accent1">
              <a:lumMod val="75000"/>
            </a:schemeClr>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5" name="Shape 576"/>
          <p:cNvSpPr/>
          <p:nvPr userDrawn="1"/>
        </p:nvSpPr>
        <p:spPr>
          <a:xfrm>
            <a:off x="4490618" y="1894290"/>
            <a:ext cx="232109" cy="111343"/>
          </a:xfrm>
          <a:prstGeom prst="rect">
            <a:avLst/>
          </a:prstGeom>
          <a:solidFill>
            <a:schemeClr val="accent5"/>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6" name="Shape 577"/>
          <p:cNvSpPr/>
          <p:nvPr userDrawn="1"/>
        </p:nvSpPr>
        <p:spPr>
          <a:xfrm>
            <a:off x="7761627" y="1894290"/>
            <a:ext cx="232109" cy="111343"/>
          </a:xfrm>
          <a:prstGeom prst="rect">
            <a:avLst/>
          </a:prstGeom>
          <a:solidFill>
            <a:schemeClr val="accent3"/>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7" name="Shape 578"/>
          <p:cNvSpPr/>
          <p:nvPr userDrawn="1"/>
        </p:nvSpPr>
        <p:spPr>
          <a:xfrm>
            <a:off x="1232001" y="5924011"/>
            <a:ext cx="232109" cy="134714"/>
          </a:xfrm>
          <a:prstGeom prst="rect">
            <a:avLst/>
          </a:prstGeom>
          <a:solidFill>
            <a:schemeClr val="accent2"/>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8" name="Shape 579"/>
          <p:cNvSpPr/>
          <p:nvPr userDrawn="1"/>
        </p:nvSpPr>
        <p:spPr>
          <a:xfrm>
            <a:off x="4490618" y="5924011"/>
            <a:ext cx="232109" cy="134714"/>
          </a:xfrm>
          <a:prstGeom prst="rect">
            <a:avLst/>
          </a:prstGeom>
          <a:solidFill>
            <a:schemeClr val="accent4"/>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9" name="Shape 580"/>
          <p:cNvSpPr/>
          <p:nvPr userDrawn="1"/>
        </p:nvSpPr>
        <p:spPr>
          <a:xfrm>
            <a:off x="7761627" y="5924011"/>
            <a:ext cx="232109" cy="134714"/>
          </a:xfrm>
          <a:prstGeom prst="rect">
            <a:avLst/>
          </a:prstGeom>
          <a:solidFill>
            <a:schemeClr val="accent1"/>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30" name="Text Placeholder 17"/>
          <p:cNvSpPr>
            <a:spLocks noGrp="1"/>
          </p:cNvSpPr>
          <p:nvPr>
            <p:ph type="body" sz="quarter" idx="23"/>
          </p:nvPr>
        </p:nvSpPr>
        <p:spPr>
          <a:xfrm>
            <a:off x="1674815" y="1783082"/>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
        <p:nvSpPr>
          <p:cNvPr id="37" name="Text Placeholder 17"/>
          <p:cNvSpPr>
            <a:spLocks noGrp="1"/>
          </p:cNvSpPr>
          <p:nvPr>
            <p:ph type="body" sz="quarter" idx="29"/>
          </p:nvPr>
        </p:nvSpPr>
        <p:spPr>
          <a:xfrm>
            <a:off x="4938318" y="5845371"/>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
        <p:nvSpPr>
          <p:cNvPr id="38" name="Text Placeholder 17"/>
          <p:cNvSpPr>
            <a:spLocks noGrp="1"/>
          </p:cNvSpPr>
          <p:nvPr>
            <p:ph type="body" sz="quarter" idx="30"/>
          </p:nvPr>
        </p:nvSpPr>
        <p:spPr>
          <a:xfrm>
            <a:off x="1674815" y="5845371"/>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
        <p:nvSpPr>
          <p:cNvPr id="39" name="Text Placeholder 17"/>
          <p:cNvSpPr>
            <a:spLocks noGrp="1"/>
          </p:cNvSpPr>
          <p:nvPr>
            <p:ph type="body" sz="quarter" idx="31"/>
          </p:nvPr>
        </p:nvSpPr>
        <p:spPr>
          <a:xfrm>
            <a:off x="8188930" y="1783082"/>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
        <p:nvSpPr>
          <p:cNvPr id="40" name="Text Placeholder 17"/>
          <p:cNvSpPr>
            <a:spLocks noGrp="1"/>
          </p:cNvSpPr>
          <p:nvPr>
            <p:ph type="body" sz="quarter" idx="32"/>
          </p:nvPr>
        </p:nvSpPr>
        <p:spPr>
          <a:xfrm>
            <a:off x="8188930" y="5845371"/>
            <a:ext cx="1689497" cy="274417"/>
          </a:xfrm>
        </p:spPr>
        <p:txBody>
          <a:bodyPr lIns="0" tIns="0" rIns="0" bIns="0" anchor="ctr">
            <a:normAutofit/>
          </a:bodyPr>
          <a:lstStyle>
            <a:lvl1pPr marL="0" indent="0" algn="l">
              <a:lnSpc>
                <a:spcPct val="150000"/>
              </a:lnSpc>
              <a:buNone/>
              <a:defRPr sz="1000">
                <a:solidFill>
                  <a:schemeClr val="tx1">
                    <a:lumMod val="65000"/>
                    <a:lumOff val="35000"/>
                  </a:schemeClr>
                </a:solidFill>
                <a:latin typeface="Source Sans Pro Light"/>
              </a:defRPr>
            </a:lvl1pPr>
          </a:lstStyle>
          <a:p>
            <a:pPr lvl="0"/>
            <a:endParaRPr lang="en-US" dirty="0"/>
          </a:p>
        </p:txBody>
      </p:sp>
    </p:spTree>
    <p:extLst>
      <p:ext uri="{BB962C8B-B14F-4D97-AF65-F5344CB8AC3E}">
        <p14:creationId xmlns:p14="http://schemas.microsoft.com/office/powerpoint/2010/main" val="2275550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down)">
                                      <p:cBhvr>
                                        <p:cTn id="15" dur="500"/>
                                        <p:tgtEl>
                                          <p:spTgt spid="24"/>
                                        </p:tgtEl>
                                      </p:cBhvr>
                                    </p:animEffect>
                                  </p:childTnLst>
                                </p:cTn>
                              </p:par>
                            </p:childTnLst>
                          </p:cTn>
                        </p:par>
                        <p:par>
                          <p:cTn id="16" fill="hold">
                            <p:stCondLst>
                              <p:cond delay="1500"/>
                            </p:stCondLst>
                            <p:childTnLst>
                              <p:par>
                                <p:cTn id="17" presetID="9" presetClass="entr" presetSubtype="0" fill="hold" grpId="0" nodeType="afterEffect" nodePh="1">
                                  <p:stCondLst>
                                    <p:cond delay="0"/>
                                  </p:stCondLst>
                                  <p:endCondLst>
                                    <p:cond evt="begin" delay="0">
                                      <p:tn val="17"/>
                                    </p:cond>
                                  </p:endCondLst>
                                  <p:childTnLst>
                                    <p:set>
                                      <p:cBhvr>
                                        <p:cTn id="18" dur="1" fill="hold">
                                          <p:stCondLst>
                                            <p:cond delay="0"/>
                                          </p:stCondLst>
                                        </p:cTn>
                                        <p:tgtEl>
                                          <p:spTgt spid="30">
                                            <p:txEl>
                                              <p:pRg st="0" end="0"/>
                                            </p:txEl>
                                          </p:spTgt>
                                        </p:tgtEl>
                                        <p:attrNameLst>
                                          <p:attrName>style.visibility</p:attrName>
                                        </p:attrNameLst>
                                      </p:cBhvr>
                                      <p:to>
                                        <p:strVal val="visible"/>
                                      </p:to>
                                    </p:set>
                                    <p:animEffect transition="in" filter="dissolve">
                                      <p:cBhvr>
                                        <p:cTn id="19" dur="500"/>
                                        <p:tgtEl>
                                          <p:spTgt spid="30">
                                            <p:txEl>
                                              <p:pRg st="0" end="0"/>
                                            </p:txEl>
                                          </p:spTgt>
                                        </p:tgtEl>
                                      </p:cBhvr>
                                    </p:animEffect>
                                  </p:childTnLst>
                                </p:cTn>
                              </p:par>
                            </p:childTnLst>
                          </p:cTn>
                        </p:par>
                        <p:par>
                          <p:cTn id="20" fill="hold">
                            <p:stCondLst>
                              <p:cond delay="20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down)">
                                      <p:cBhvr>
                                        <p:cTn id="27" dur="500"/>
                                        <p:tgtEl>
                                          <p:spTgt spid="25"/>
                                        </p:tgtEl>
                                      </p:cBhvr>
                                    </p:animEffect>
                                  </p:childTnLst>
                                </p:cTn>
                              </p:par>
                            </p:childTnLst>
                          </p:cTn>
                        </p:par>
                        <p:par>
                          <p:cTn id="28" fill="hold">
                            <p:stCondLst>
                              <p:cond delay="3000"/>
                            </p:stCondLst>
                            <p:childTnLst>
                              <p:par>
                                <p:cTn id="29" presetID="9"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0">
                                            <p:txEl>
                                              <p:pRg st="0" end="0"/>
                                            </p:txEl>
                                          </p:spTgt>
                                        </p:tgtEl>
                                        <p:attrNameLst>
                                          <p:attrName>style.visibility</p:attrName>
                                        </p:attrNameLst>
                                      </p:cBhvr>
                                      <p:to>
                                        <p:strVal val="visible"/>
                                      </p:to>
                                    </p:set>
                                    <p:animEffect transition="in" filter="dissolve">
                                      <p:cBhvr>
                                        <p:cTn id="31" dur="500"/>
                                        <p:tgtEl>
                                          <p:spTgt spid="10">
                                            <p:txEl>
                                              <p:pRg st="0" end="0"/>
                                            </p:txEl>
                                          </p:spTgt>
                                        </p:tgtEl>
                                      </p:cBhvr>
                                    </p:animEffect>
                                  </p:childTnLst>
                                </p:cTn>
                              </p:par>
                            </p:childTnLst>
                          </p:cTn>
                        </p:par>
                        <p:par>
                          <p:cTn id="32" fill="hold">
                            <p:stCondLst>
                              <p:cond delay="35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36"/>
                                        </p:tgtEl>
                                        <p:attrNameLst>
                                          <p:attrName>style.visibility</p:attrName>
                                        </p:attrNameLst>
                                      </p:cBhvr>
                                      <p:to>
                                        <p:strVal val="visible"/>
                                      </p:to>
                                    </p:set>
                                    <p:animEffect transition="in" filter="fade">
                                      <p:cBhvr>
                                        <p:cTn id="35" dur="500"/>
                                        <p:tgtEl>
                                          <p:spTgt spid="36"/>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wipe(down)">
                                      <p:cBhvr>
                                        <p:cTn id="39" dur="500"/>
                                        <p:tgtEl>
                                          <p:spTgt spid="26"/>
                                        </p:tgtEl>
                                      </p:cBhvr>
                                    </p:animEffect>
                                  </p:childTnLst>
                                </p:cTn>
                              </p:par>
                            </p:childTnLst>
                          </p:cTn>
                        </p:par>
                        <p:par>
                          <p:cTn id="40" fill="hold">
                            <p:stCondLst>
                              <p:cond delay="4500"/>
                            </p:stCondLst>
                            <p:childTnLst>
                              <p:par>
                                <p:cTn id="41" presetID="9" presetClass="entr" presetSubtype="0" fill="hold" grpId="0" nodeType="afterEffect" nodePh="1">
                                  <p:stCondLst>
                                    <p:cond delay="0"/>
                                  </p:stCondLst>
                                  <p:endCondLst>
                                    <p:cond evt="begin" delay="0">
                                      <p:tn val="41"/>
                                    </p:cond>
                                  </p:endCondLst>
                                  <p:childTnLst>
                                    <p:set>
                                      <p:cBhvr>
                                        <p:cTn id="42" dur="1" fill="hold">
                                          <p:stCondLst>
                                            <p:cond delay="0"/>
                                          </p:stCondLst>
                                        </p:cTn>
                                        <p:tgtEl>
                                          <p:spTgt spid="39">
                                            <p:txEl>
                                              <p:pRg st="0" end="0"/>
                                            </p:txEl>
                                          </p:spTgt>
                                        </p:tgtEl>
                                        <p:attrNameLst>
                                          <p:attrName>style.visibility</p:attrName>
                                        </p:attrNameLst>
                                      </p:cBhvr>
                                      <p:to>
                                        <p:strVal val="visible"/>
                                      </p:to>
                                    </p:set>
                                    <p:animEffect transition="in" filter="dissolve">
                                      <p:cBhvr>
                                        <p:cTn id="43" dur="500"/>
                                        <p:tgtEl>
                                          <p:spTgt spid="39">
                                            <p:txEl>
                                              <p:pRg st="0" end="0"/>
                                            </p:txEl>
                                          </p:spTgt>
                                        </p:tgtEl>
                                      </p:cBhvr>
                                    </p:animEffect>
                                  </p:childTnLst>
                                </p:cTn>
                              </p:par>
                            </p:childTnLst>
                          </p:cTn>
                        </p:par>
                        <p:par>
                          <p:cTn id="44" fill="hold">
                            <p:stCondLst>
                              <p:cond delay="5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childTnLst>
                          </p:cTn>
                        </p:par>
                        <p:par>
                          <p:cTn id="48" fill="hold">
                            <p:stCondLst>
                              <p:cond delay="5500"/>
                            </p:stCondLst>
                            <p:childTnLst>
                              <p:par>
                                <p:cTn id="49" presetID="22" presetClass="entr" presetSubtype="1" fill="hold" grpId="0"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wipe(up)">
                                      <p:cBhvr>
                                        <p:cTn id="51" dur="500"/>
                                        <p:tgtEl>
                                          <p:spTgt spid="27"/>
                                        </p:tgtEl>
                                      </p:cBhvr>
                                    </p:animEffect>
                                  </p:childTnLst>
                                </p:cTn>
                              </p:par>
                            </p:childTnLst>
                          </p:cTn>
                        </p:par>
                        <p:par>
                          <p:cTn id="52" fill="hold">
                            <p:stCondLst>
                              <p:cond delay="6000"/>
                            </p:stCondLst>
                            <p:childTnLst>
                              <p:par>
                                <p:cTn id="53" presetID="9" presetClass="entr" presetSubtype="0" fill="hold" grpId="0" nodeType="afterEffect" nodePh="1">
                                  <p:stCondLst>
                                    <p:cond delay="0"/>
                                  </p:stCondLst>
                                  <p:endCondLst>
                                    <p:cond evt="begin" delay="0">
                                      <p:tn val="53"/>
                                    </p:cond>
                                  </p:endCondLst>
                                  <p:childTnLst>
                                    <p:set>
                                      <p:cBhvr>
                                        <p:cTn id="54" dur="1" fill="hold">
                                          <p:stCondLst>
                                            <p:cond delay="0"/>
                                          </p:stCondLst>
                                        </p:cTn>
                                        <p:tgtEl>
                                          <p:spTgt spid="38">
                                            <p:txEl>
                                              <p:pRg st="0" end="0"/>
                                            </p:txEl>
                                          </p:spTgt>
                                        </p:tgtEl>
                                        <p:attrNameLst>
                                          <p:attrName>style.visibility</p:attrName>
                                        </p:attrNameLst>
                                      </p:cBhvr>
                                      <p:to>
                                        <p:strVal val="visible"/>
                                      </p:to>
                                    </p:set>
                                    <p:animEffect transition="in" filter="dissolve">
                                      <p:cBhvr>
                                        <p:cTn id="55" dur="500"/>
                                        <p:tgtEl>
                                          <p:spTgt spid="38">
                                            <p:txEl>
                                              <p:pRg st="0" end="0"/>
                                            </p:txEl>
                                          </p:spTgt>
                                        </p:tgtEl>
                                      </p:cBhvr>
                                    </p:animEffect>
                                  </p:childTnLst>
                                </p:cTn>
                              </p:par>
                            </p:childTnLst>
                          </p:cTn>
                        </p:par>
                        <p:par>
                          <p:cTn id="56" fill="hold">
                            <p:stCondLst>
                              <p:cond delay="65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7000"/>
                            </p:stCondLst>
                            <p:childTnLst>
                              <p:par>
                                <p:cTn id="61" presetID="22" presetClass="entr" presetSubtype="1" fill="hold" grpId="0" nodeType="after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wipe(up)">
                                      <p:cBhvr>
                                        <p:cTn id="63" dur="500"/>
                                        <p:tgtEl>
                                          <p:spTgt spid="28"/>
                                        </p:tgtEl>
                                      </p:cBhvr>
                                    </p:animEffect>
                                  </p:childTnLst>
                                </p:cTn>
                              </p:par>
                            </p:childTnLst>
                          </p:cTn>
                        </p:par>
                        <p:par>
                          <p:cTn id="64" fill="hold">
                            <p:stCondLst>
                              <p:cond delay="7500"/>
                            </p:stCondLst>
                            <p:childTnLst>
                              <p:par>
                                <p:cTn id="65" presetID="9" presetClass="entr" presetSubtype="0" fill="hold" grpId="0" nodeType="afterEffect" nodePh="1">
                                  <p:stCondLst>
                                    <p:cond delay="0"/>
                                  </p:stCondLst>
                                  <p:endCondLst>
                                    <p:cond evt="begin" delay="0">
                                      <p:tn val="65"/>
                                    </p:cond>
                                  </p:endCondLst>
                                  <p:childTnLst>
                                    <p:set>
                                      <p:cBhvr>
                                        <p:cTn id="66" dur="1" fill="hold">
                                          <p:stCondLst>
                                            <p:cond delay="0"/>
                                          </p:stCondLst>
                                        </p:cTn>
                                        <p:tgtEl>
                                          <p:spTgt spid="37">
                                            <p:txEl>
                                              <p:pRg st="0" end="0"/>
                                            </p:txEl>
                                          </p:spTgt>
                                        </p:tgtEl>
                                        <p:attrNameLst>
                                          <p:attrName>style.visibility</p:attrName>
                                        </p:attrNameLst>
                                      </p:cBhvr>
                                      <p:to>
                                        <p:strVal val="visible"/>
                                      </p:to>
                                    </p:set>
                                    <p:animEffect transition="in" filter="dissolve">
                                      <p:cBhvr>
                                        <p:cTn id="67" dur="500"/>
                                        <p:tgtEl>
                                          <p:spTgt spid="37">
                                            <p:txEl>
                                              <p:pRg st="0" end="0"/>
                                            </p:txEl>
                                          </p:spTgt>
                                        </p:tgtEl>
                                      </p:cBhvr>
                                    </p:animEffect>
                                  </p:childTnLst>
                                </p:cTn>
                              </p:par>
                            </p:childTnLst>
                          </p:cTn>
                        </p:par>
                        <p:par>
                          <p:cTn id="68" fill="hold">
                            <p:stCondLst>
                              <p:cond delay="8000"/>
                            </p:stCondLst>
                            <p:childTnLst>
                              <p:par>
                                <p:cTn id="69" presetID="10" presetClass="entr" presetSubtype="0" fill="hold" grpId="0" nodeType="afterEffect" nodePh="1">
                                  <p:stCondLst>
                                    <p:cond delay="0"/>
                                  </p:stCondLst>
                                  <p:endCondLst>
                                    <p:cond evt="begin" delay="0">
                                      <p:tn val="69"/>
                                    </p:cond>
                                  </p:end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childTnLst>
                          </p:cTn>
                        </p:par>
                        <p:par>
                          <p:cTn id="72" fill="hold">
                            <p:stCondLst>
                              <p:cond delay="8500"/>
                            </p:stCondLst>
                            <p:childTnLst>
                              <p:par>
                                <p:cTn id="73" presetID="22" presetClass="entr" presetSubtype="1" fill="hold" grpId="0" nodeType="after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up)">
                                      <p:cBhvr>
                                        <p:cTn id="75" dur="500"/>
                                        <p:tgtEl>
                                          <p:spTgt spid="29"/>
                                        </p:tgtEl>
                                      </p:cBhvr>
                                    </p:animEffect>
                                  </p:childTnLst>
                                </p:cTn>
                              </p:par>
                            </p:childTnLst>
                          </p:cTn>
                        </p:par>
                        <p:par>
                          <p:cTn id="76" fill="hold">
                            <p:stCondLst>
                              <p:cond delay="9000"/>
                            </p:stCondLst>
                            <p:childTnLst>
                              <p:par>
                                <p:cTn id="77" presetID="9" presetClass="entr" presetSubtype="0" fill="hold" grpId="0" nodeType="afterEffect" nodePh="1">
                                  <p:stCondLst>
                                    <p:cond delay="0"/>
                                  </p:stCondLst>
                                  <p:endCondLst>
                                    <p:cond evt="begin" delay="0">
                                      <p:tn val="77"/>
                                    </p:cond>
                                  </p:endCondLst>
                                  <p:childTnLst>
                                    <p:set>
                                      <p:cBhvr>
                                        <p:cTn id="78" dur="1" fill="hold">
                                          <p:stCondLst>
                                            <p:cond delay="0"/>
                                          </p:stCondLst>
                                        </p:cTn>
                                        <p:tgtEl>
                                          <p:spTgt spid="40">
                                            <p:txEl>
                                              <p:pRg st="0" end="0"/>
                                            </p:txEl>
                                          </p:spTgt>
                                        </p:tgtEl>
                                        <p:attrNameLst>
                                          <p:attrName>style.visibility</p:attrName>
                                        </p:attrNameLst>
                                      </p:cBhvr>
                                      <p:to>
                                        <p:strVal val="visible"/>
                                      </p:to>
                                    </p:set>
                                    <p:animEffect transition="in" filter="dissolve">
                                      <p:cBhvr>
                                        <p:cTn id="79" dur="500"/>
                                        <p:tgtEl>
                                          <p:spTgt spid="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3" grpId="0"/>
      <p:bldP spid="34" grpId="0"/>
      <p:bldP spid="32" grpId="0"/>
      <p:bldP spid="3" grpId="0"/>
      <p:bldP spid="16" grpId="0"/>
      <p:bldP spid="1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24" grpId="0" animBg="1"/>
      <p:bldP spid="25" grpId="0" animBg="1"/>
      <p:bldP spid="26" grpId="0" animBg="1"/>
      <p:bldP spid="27" grpId="0" animBg="1"/>
      <p:bldP spid="28" grpId="0" animBg="1"/>
      <p:bldP spid="29" grpId="0" animBg="1"/>
      <p:bldP spid="3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dissolve">
                      <p:cBhvr>
                        <p:cTn dur="500"/>
                        <p:tgtEl>
                          <p:spTgt spid="30"/>
                        </p:tgtEl>
                      </p:cBhvr>
                    </p:animEffect>
                  </p:childTnLst>
                </p:cTn>
              </p:par>
            </p:tnLst>
          </p:tmpl>
        </p:tmplLst>
      </p:bldP>
      <p:bldP spid="37"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37"/>
                        </p:tgtEl>
                        <p:attrNameLst>
                          <p:attrName>style.visibility</p:attrName>
                        </p:attrNameLst>
                      </p:cBhvr>
                      <p:to>
                        <p:strVal val="visible"/>
                      </p:to>
                    </p:set>
                    <p:animEffect transition="in" filter="dissolve">
                      <p:cBhvr>
                        <p:cTn dur="500"/>
                        <p:tgtEl>
                          <p:spTgt spid="37"/>
                        </p:tgtEl>
                      </p:cBhvr>
                    </p:animEffect>
                  </p:childTnLst>
                </p:cTn>
              </p:par>
            </p:tnLst>
          </p:tmpl>
        </p:tmplLst>
      </p:bldP>
      <p:bldP spid="38"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38"/>
                        </p:tgtEl>
                        <p:attrNameLst>
                          <p:attrName>style.visibility</p:attrName>
                        </p:attrNameLst>
                      </p:cBhvr>
                      <p:to>
                        <p:strVal val="visible"/>
                      </p:to>
                    </p:set>
                    <p:animEffect transition="in" filter="dissolve">
                      <p:cBhvr>
                        <p:cTn dur="500"/>
                        <p:tgtEl>
                          <p:spTgt spid="38"/>
                        </p:tgtEl>
                      </p:cBhvr>
                    </p:animEffect>
                  </p:childTnLst>
                </p:cTn>
              </p:par>
            </p:tnLst>
          </p:tmpl>
        </p:tmplLst>
      </p:bldP>
      <p:bldP spid="39"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39"/>
                        </p:tgtEl>
                        <p:attrNameLst>
                          <p:attrName>style.visibility</p:attrName>
                        </p:attrNameLst>
                      </p:cBhvr>
                      <p:to>
                        <p:strVal val="visible"/>
                      </p:to>
                    </p:set>
                    <p:animEffect transition="in" filter="dissolve">
                      <p:cBhvr>
                        <p:cTn dur="500"/>
                        <p:tgtEl>
                          <p:spTgt spid="39"/>
                        </p:tgtEl>
                      </p:cBhvr>
                    </p:animEffect>
                  </p:childTnLst>
                </p:cTn>
              </p:par>
            </p:tnLst>
          </p:tmpl>
        </p:tmplLst>
      </p:bldP>
      <p:bldP spid="40" grpId="0" build="p">
        <p:tmplLst>
          <p:tmpl lvl="1">
            <p:tnLst>
              <p:par>
                <p:cTn presetID="9" presetClass="entr" presetSubtype="0" fill="hold" nodeType="afterEffect" nodePh="1">
                  <p:stCondLst>
                    <p:cond delay="0"/>
                  </p:stCondLst>
                  <p:endCondLst>
                    <p:cond delay="0"/>
                  </p:endCondLst>
                  <p:childTnLst>
                    <p:set>
                      <p:cBhvr>
                        <p:cTn dur="1" fill="hold">
                          <p:stCondLst>
                            <p:cond delay="0"/>
                          </p:stCondLst>
                        </p:cTn>
                        <p:tgtEl>
                          <p:spTgt spid="40"/>
                        </p:tgtEl>
                        <p:attrNameLst>
                          <p:attrName>style.visibility</p:attrName>
                        </p:attrNameLst>
                      </p:cBhvr>
                      <p:to>
                        <p:strVal val="visible"/>
                      </p:to>
                    </p:set>
                    <p:animEffect transition="in" filter="dissolve">
                      <p:cBhvr>
                        <p:cTn dur="500"/>
                        <p:tgtEl>
                          <p:spTgt spid="40"/>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59" name="Picture Placeholder 2"/>
          <p:cNvSpPr>
            <a:spLocks noGrp="1"/>
          </p:cNvSpPr>
          <p:nvPr>
            <p:ph type="pic" sz="quarter" idx="33"/>
          </p:nvPr>
        </p:nvSpPr>
        <p:spPr>
          <a:xfrm>
            <a:off x="6161470" y="2362200"/>
            <a:ext cx="2672173" cy="1588588"/>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58" name="Picture Placeholder 2"/>
          <p:cNvSpPr>
            <a:spLocks noGrp="1"/>
          </p:cNvSpPr>
          <p:nvPr>
            <p:ph type="pic" sz="quarter" idx="32"/>
          </p:nvPr>
        </p:nvSpPr>
        <p:spPr>
          <a:xfrm>
            <a:off x="6161470" y="4041885"/>
            <a:ext cx="2672175" cy="1588586"/>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57" name="Picture Placeholder 2"/>
          <p:cNvSpPr>
            <a:spLocks noGrp="1"/>
          </p:cNvSpPr>
          <p:nvPr>
            <p:ph type="pic" sz="quarter" idx="31"/>
          </p:nvPr>
        </p:nvSpPr>
        <p:spPr>
          <a:xfrm>
            <a:off x="3368501" y="4041887"/>
            <a:ext cx="2668146" cy="1588588"/>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3" name="Picture Placeholder 2"/>
          <p:cNvSpPr>
            <a:spLocks noGrp="1"/>
          </p:cNvSpPr>
          <p:nvPr>
            <p:ph type="pic" sz="quarter" idx="22"/>
          </p:nvPr>
        </p:nvSpPr>
        <p:spPr>
          <a:xfrm>
            <a:off x="3365326" y="2362200"/>
            <a:ext cx="2674499" cy="1588588"/>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1"/>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30" name="Text Placeholder 17"/>
          <p:cNvSpPr>
            <a:spLocks noGrp="1"/>
          </p:cNvSpPr>
          <p:nvPr>
            <p:ph type="body" sz="quarter" idx="23" hasCustomPrompt="1"/>
          </p:nvPr>
        </p:nvSpPr>
        <p:spPr>
          <a:xfrm>
            <a:off x="1370013" y="3026462"/>
            <a:ext cx="1524000" cy="838200"/>
          </a:xfrm>
        </p:spPr>
        <p:txBody>
          <a:bodyPr lIns="0" tIns="0" rIns="0" bIns="0" anchor="t">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temp</a:t>
            </a:r>
          </a:p>
          <a:p>
            <a:pPr lvl="0"/>
            <a:endParaRPr lang="en-US" dirty="0"/>
          </a:p>
        </p:txBody>
      </p:sp>
      <p:sp>
        <p:nvSpPr>
          <p:cNvPr id="21" name="Shape 717"/>
          <p:cNvSpPr/>
          <p:nvPr userDrawn="1"/>
        </p:nvSpPr>
        <p:spPr>
          <a:xfrm>
            <a:off x="8833645" y="4434595"/>
            <a:ext cx="166737" cy="844133"/>
          </a:xfrm>
          <a:prstGeom prst="rect">
            <a:avLst/>
          </a:prstGeom>
          <a:solidFill>
            <a:schemeClr val="accent2"/>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1" name="Shape 723"/>
          <p:cNvSpPr/>
          <p:nvPr userDrawn="1"/>
        </p:nvSpPr>
        <p:spPr>
          <a:xfrm>
            <a:off x="3204940" y="2734378"/>
            <a:ext cx="166737" cy="844133"/>
          </a:xfrm>
          <a:prstGeom prst="rect">
            <a:avLst/>
          </a:prstGeom>
          <a:solidFill>
            <a:schemeClr val="accent1"/>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2" name="Shape 724"/>
          <p:cNvSpPr/>
          <p:nvPr userDrawn="1"/>
        </p:nvSpPr>
        <p:spPr>
          <a:xfrm>
            <a:off x="8833645" y="2734378"/>
            <a:ext cx="166737" cy="844133"/>
          </a:xfrm>
          <a:prstGeom prst="rect">
            <a:avLst/>
          </a:prstGeom>
          <a:solidFill>
            <a:schemeClr val="accent5"/>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53" name="Shape 735"/>
          <p:cNvSpPr/>
          <p:nvPr userDrawn="1"/>
        </p:nvSpPr>
        <p:spPr>
          <a:xfrm>
            <a:off x="3204940" y="4434595"/>
            <a:ext cx="166737" cy="844133"/>
          </a:xfrm>
          <a:prstGeom prst="rect">
            <a:avLst/>
          </a:prstGeom>
          <a:solidFill>
            <a:schemeClr val="accent3"/>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60" name="Content Placeholder 20"/>
          <p:cNvSpPr>
            <a:spLocks noGrp="1"/>
          </p:cNvSpPr>
          <p:nvPr>
            <p:ph sz="quarter" idx="16" hasCustomPrompt="1"/>
          </p:nvPr>
        </p:nvSpPr>
        <p:spPr>
          <a:xfrm>
            <a:off x="1664403" y="2719934"/>
            <a:ext cx="12296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r>
              <a:rPr lang="en-GB" dirty="0"/>
              <a:t>Product 1</a:t>
            </a:r>
          </a:p>
        </p:txBody>
      </p:sp>
      <p:sp>
        <p:nvSpPr>
          <p:cNvPr id="61" name="Text Placeholder 17"/>
          <p:cNvSpPr>
            <a:spLocks noGrp="1"/>
          </p:cNvSpPr>
          <p:nvPr>
            <p:ph type="body" sz="quarter" idx="34" hasCustomPrompt="1"/>
          </p:nvPr>
        </p:nvSpPr>
        <p:spPr>
          <a:xfrm>
            <a:off x="1370013" y="4726680"/>
            <a:ext cx="1524000" cy="838200"/>
          </a:xfrm>
        </p:spPr>
        <p:txBody>
          <a:bodyPr lIns="0" tIns="0" rIns="0" bIns="0" anchor="t">
            <a:normAutofit/>
          </a:bodyPr>
          <a:lstStyle>
            <a:lvl1pPr marL="0" indent="0" algn="r">
              <a:lnSpc>
                <a:spcPts val="1500"/>
              </a:lnSpc>
              <a:spcBef>
                <a:spcPts val="1500"/>
              </a:spcBef>
              <a:buNone/>
              <a:defRPr sz="1000">
                <a:solidFill>
                  <a:schemeClr val="tx1">
                    <a:lumMod val="65000"/>
                    <a:lumOff val="35000"/>
                  </a:schemeClr>
                </a:solidFill>
                <a:latin typeface="Source Sans Pro Light"/>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temp</a:t>
            </a:r>
          </a:p>
          <a:p>
            <a:pPr lvl="0"/>
            <a:endParaRPr lang="en-US" dirty="0"/>
          </a:p>
        </p:txBody>
      </p:sp>
      <p:sp>
        <p:nvSpPr>
          <p:cNvPr id="62" name="Content Placeholder 20"/>
          <p:cNvSpPr>
            <a:spLocks noGrp="1"/>
          </p:cNvSpPr>
          <p:nvPr>
            <p:ph sz="quarter" idx="35" hasCustomPrompt="1"/>
          </p:nvPr>
        </p:nvSpPr>
        <p:spPr>
          <a:xfrm>
            <a:off x="1664403" y="4420152"/>
            <a:ext cx="1229612" cy="228600"/>
          </a:xfrm>
        </p:spPr>
        <p:txBody>
          <a:bodyPr lIns="0" tIns="0" rIns="0" bIns="0" anchor="ctr">
            <a:normAutofit/>
          </a:bodyPr>
          <a:lstStyle>
            <a:lvl1pPr marL="0" indent="0" algn="r">
              <a:buNone/>
              <a:defRPr sz="1200" b="1">
                <a:solidFill>
                  <a:schemeClr val="tx1">
                    <a:lumMod val="65000"/>
                    <a:lumOff val="35000"/>
                  </a:schemeClr>
                </a:solidFill>
                <a:latin typeface="Source Sans Pro Light"/>
              </a:defRPr>
            </a:lvl1pPr>
          </a:lstStyle>
          <a:p>
            <a:pPr lvl="0"/>
            <a:r>
              <a:rPr lang="en-GB" dirty="0"/>
              <a:t>Product 1</a:t>
            </a:r>
          </a:p>
        </p:txBody>
      </p:sp>
      <p:sp>
        <p:nvSpPr>
          <p:cNvPr id="63" name="Text Placeholder 17"/>
          <p:cNvSpPr>
            <a:spLocks noGrp="1"/>
          </p:cNvSpPr>
          <p:nvPr>
            <p:ph type="body" sz="quarter" idx="36" hasCustomPrompt="1"/>
          </p:nvPr>
        </p:nvSpPr>
        <p:spPr>
          <a:xfrm>
            <a:off x="9294812" y="3026462"/>
            <a:ext cx="1524000" cy="838200"/>
          </a:xfrm>
        </p:spPr>
        <p:txBody>
          <a:bodyPr lIns="0" tIns="0" rIns="0" bIns="0" anchor="t">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temp</a:t>
            </a:r>
          </a:p>
          <a:p>
            <a:pPr lvl="0"/>
            <a:endParaRPr lang="en-US" dirty="0"/>
          </a:p>
        </p:txBody>
      </p:sp>
      <p:sp>
        <p:nvSpPr>
          <p:cNvPr id="64" name="Content Placeholder 20"/>
          <p:cNvSpPr>
            <a:spLocks noGrp="1"/>
          </p:cNvSpPr>
          <p:nvPr>
            <p:ph sz="quarter" idx="37" hasCustomPrompt="1"/>
          </p:nvPr>
        </p:nvSpPr>
        <p:spPr>
          <a:xfrm>
            <a:off x="9294815" y="2719934"/>
            <a:ext cx="12296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a:t>Product 1</a:t>
            </a:r>
          </a:p>
        </p:txBody>
      </p:sp>
      <p:sp>
        <p:nvSpPr>
          <p:cNvPr id="65" name="Text Placeholder 17"/>
          <p:cNvSpPr>
            <a:spLocks noGrp="1"/>
          </p:cNvSpPr>
          <p:nvPr>
            <p:ph type="body" sz="quarter" idx="38" hasCustomPrompt="1"/>
          </p:nvPr>
        </p:nvSpPr>
        <p:spPr>
          <a:xfrm>
            <a:off x="9294812" y="4726680"/>
            <a:ext cx="1524000" cy="838200"/>
          </a:xfrm>
        </p:spPr>
        <p:txBody>
          <a:bodyPr lIns="0" tIns="0" rIns="0" bIns="0" anchor="t">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temp</a:t>
            </a:r>
          </a:p>
          <a:p>
            <a:pPr lvl="0"/>
            <a:endParaRPr lang="en-US" dirty="0"/>
          </a:p>
        </p:txBody>
      </p:sp>
      <p:sp>
        <p:nvSpPr>
          <p:cNvPr id="66" name="Content Placeholder 20"/>
          <p:cNvSpPr>
            <a:spLocks noGrp="1"/>
          </p:cNvSpPr>
          <p:nvPr>
            <p:ph sz="quarter" idx="39" hasCustomPrompt="1"/>
          </p:nvPr>
        </p:nvSpPr>
        <p:spPr>
          <a:xfrm>
            <a:off x="9294815" y="4420152"/>
            <a:ext cx="1229612"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a:t>Product 1</a:t>
            </a:r>
          </a:p>
        </p:txBody>
      </p:sp>
    </p:spTree>
    <p:extLst>
      <p:ext uri="{BB962C8B-B14F-4D97-AF65-F5344CB8AC3E}">
        <p14:creationId xmlns:p14="http://schemas.microsoft.com/office/powerpoint/2010/main" val="3600145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nodePh="1">
                                  <p:stCondLst>
                                    <p:cond delay="0"/>
                                  </p:stCondLst>
                                  <p:endCondLst>
                                    <p:cond evt="begin" delay="0">
                                      <p:tn val="9"/>
                                    </p:cond>
                                  </p:endCondLst>
                                  <p:childTnLst>
                                    <p:set>
                                      <p:cBhvr>
                                        <p:cTn id="10" dur="1" fill="hold">
                                          <p:stCondLst>
                                            <p:cond delay="0"/>
                                          </p:stCondLst>
                                        </p:cTn>
                                        <p:tgtEl>
                                          <p:spTgt spid="3"/>
                                        </p:tgtEl>
                                        <p:attrNameLst>
                                          <p:attrName>style.visibility</p:attrName>
                                        </p:attrNameLst>
                                      </p:cBhvr>
                                      <p:to>
                                        <p:strVal val="visible"/>
                                      </p:to>
                                    </p:set>
                                    <p:animEffect transition="in" filter="dissolve">
                                      <p:cBhvr>
                                        <p:cTn id="11" dur="500"/>
                                        <p:tgtEl>
                                          <p:spTgt spid="3"/>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wipe(right)">
                                      <p:cBhvr>
                                        <p:cTn id="15" dur="500"/>
                                        <p:tgtEl>
                                          <p:spTgt spid="41"/>
                                        </p:tgtEl>
                                      </p:cBhvr>
                                    </p:animEffect>
                                  </p:childTnLst>
                                </p:cTn>
                              </p:par>
                            </p:childTnLst>
                          </p:cTn>
                        </p:par>
                        <p:par>
                          <p:cTn id="16" fill="hold">
                            <p:stCondLst>
                              <p:cond delay="1500"/>
                            </p:stCondLst>
                            <p:childTnLst>
                              <p:par>
                                <p:cTn id="17" presetID="9" presetClass="entr" presetSubtype="0" fill="hold" grpId="0" nodeType="afterEffect">
                                  <p:stCondLst>
                                    <p:cond delay="0"/>
                                  </p:stCondLst>
                                  <p:childTnLst>
                                    <p:set>
                                      <p:cBhvr>
                                        <p:cTn id="18" dur="1" fill="hold">
                                          <p:stCondLst>
                                            <p:cond delay="0"/>
                                          </p:stCondLst>
                                        </p:cTn>
                                        <p:tgtEl>
                                          <p:spTgt spid="60">
                                            <p:txEl>
                                              <p:pRg st="0" end="0"/>
                                            </p:txEl>
                                          </p:spTgt>
                                        </p:tgtEl>
                                        <p:attrNameLst>
                                          <p:attrName>style.visibility</p:attrName>
                                        </p:attrNameLst>
                                      </p:cBhvr>
                                      <p:to>
                                        <p:strVal val="visible"/>
                                      </p:to>
                                    </p:set>
                                    <p:animEffect transition="in" filter="dissolve">
                                      <p:cBhvr>
                                        <p:cTn id="19" dur="500"/>
                                        <p:tgtEl>
                                          <p:spTgt spid="60">
                                            <p:txEl>
                                              <p:pRg st="0" end="0"/>
                                            </p:txEl>
                                          </p:spTgt>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30">
                                            <p:txEl>
                                              <p:pRg st="0" end="0"/>
                                            </p:txEl>
                                          </p:spTgt>
                                        </p:tgtEl>
                                        <p:attrNameLst>
                                          <p:attrName>style.visibility</p:attrName>
                                        </p:attrNameLst>
                                      </p:cBhvr>
                                      <p:to>
                                        <p:strVal val="visible"/>
                                      </p:to>
                                    </p:set>
                                    <p:animEffect transition="in" filter="dissolve">
                                      <p:cBhvr>
                                        <p:cTn id="22" dur="500"/>
                                        <p:tgtEl>
                                          <p:spTgt spid="30">
                                            <p:txEl>
                                              <p:pRg st="0" end="0"/>
                                            </p:txEl>
                                          </p:spTgt>
                                        </p:tgtEl>
                                      </p:cBhvr>
                                    </p:animEffect>
                                  </p:childTnLst>
                                </p:cTn>
                              </p:par>
                            </p:childTnLst>
                          </p:cTn>
                        </p:par>
                        <p:par>
                          <p:cTn id="23" fill="hold">
                            <p:stCondLst>
                              <p:cond delay="2000"/>
                            </p:stCondLst>
                            <p:childTnLst>
                              <p:par>
                                <p:cTn id="24" presetID="9" presetClass="entr" presetSubtype="0" fill="hold" grpId="0" nodeType="afterEffect" nodePh="1">
                                  <p:stCondLst>
                                    <p:cond delay="0"/>
                                  </p:stCondLst>
                                  <p:endCondLst>
                                    <p:cond evt="begin" delay="0">
                                      <p:tn val="24"/>
                                    </p:cond>
                                  </p:endCondLst>
                                  <p:childTnLst>
                                    <p:set>
                                      <p:cBhvr>
                                        <p:cTn id="25" dur="1" fill="hold">
                                          <p:stCondLst>
                                            <p:cond delay="0"/>
                                          </p:stCondLst>
                                        </p:cTn>
                                        <p:tgtEl>
                                          <p:spTgt spid="59"/>
                                        </p:tgtEl>
                                        <p:attrNameLst>
                                          <p:attrName>style.visibility</p:attrName>
                                        </p:attrNameLst>
                                      </p:cBhvr>
                                      <p:to>
                                        <p:strVal val="visible"/>
                                      </p:to>
                                    </p:set>
                                    <p:animEffect transition="in" filter="dissolve">
                                      <p:cBhvr>
                                        <p:cTn id="26" dur="500"/>
                                        <p:tgtEl>
                                          <p:spTgt spid="59"/>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wipe(left)">
                                      <p:cBhvr>
                                        <p:cTn id="30" dur="500"/>
                                        <p:tgtEl>
                                          <p:spTgt spid="42"/>
                                        </p:tgtEl>
                                      </p:cBhvr>
                                    </p:animEffect>
                                  </p:childTnLst>
                                </p:cTn>
                              </p:par>
                            </p:childTnLst>
                          </p:cTn>
                        </p:par>
                        <p:par>
                          <p:cTn id="31" fill="hold">
                            <p:stCondLst>
                              <p:cond delay="3000"/>
                            </p:stCondLst>
                            <p:childTnLst>
                              <p:par>
                                <p:cTn id="32" presetID="9" presetClass="entr" presetSubtype="0" fill="hold" grpId="0" nodeType="afterEffect">
                                  <p:stCondLst>
                                    <p:cond delay="0"/>
                                  </p:stCondLst>
                                  <p:childTnLst>
                                    <p:set>
                                      <p:cBhvr>
                                        <p:cTn id="33" dur="1" fill="hold">
                                          <p:stCondLst>
                                            <p:cond delay="0"/>
                                          </p:stCondLst>
                                        </p:cTn>
                                        <p:tgtEl>
                                          <p:spTgt spid="64">
                                            <p:txEl>
                                              <p:pRg st="0" end="0"/>
                                            </p:txEl>
                                          </p:spTgt>
                                        </p:tgtEl>
                                        <p:attrNameLst>
                                          <p:attrName>style.visibility</p:attrName>
                                        </p:attrNameLst>
                                      </p:cBhvr>
                                      <p:to>
                                        <p:strVal val="visible"/>
                                      </p:to>
                                    </p:set>
                                    <p:animEffect transition="in" filter="dissolve">
                                      <p:cBhvr>
                                        <p:cTn id="34" dur="500"/>
                                        <p:tgtEl>
                                          <p:spTgt spid="64">
                                            <p:txEl>
                                              <p:pRg st="0" end="0"/>
                                            </p:txEl>
                                          </p:spTgt>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63">
                                            <p:txEl>
                                              <p:pRg st="0" end="0"/>
                                            </p:txEl>
                                          </p:spTgt>
                                        </p:tgtEl>
                                        <p:attrNameLst>
                                          <p:attrName>style.visibility</p:attrName>
                                        </p:attrNameLst>
                                      </p:cBhvr>
                                      <p:to>
                                        <p:strVal val="visible"/>
                                      </p:to>
                                    </p:set>
                                    <p:animEffect transition="in" filter="dissolve">
                                      <p:cBhvr>
                                        <p:cTn id="37" dur="500"/>
                                        <p:tgtEl>
                                          <p:spTgt spid="63">
                                            <p:txEl>
                                              <p:pRg st="0" end="0"/>
                                            </p:txEl>
                                          </p:spTgt>
                                        </p:tgtEl>
                                      </p:cBhvr>
                                    </p:animEffect>
                                  </p:childTnLst>
                                </p:cTn>
                              </p:par>
                            </p:childTnLst>
                          </p:cTn>
                        </p:par>
                        <p:par>
                          <p:cTn id="38" fill="hold">
                            <p:stCondLst>
                              <p:cond delay="3500"/>
                            </p:stCondLst>
                            <p:childTnLst>
                              <p:par>
                                <p:cTn id="39" presetID="9" presetClass="entr" presetSubtype="0" fill="hold" grpId="0" nodeType="afterEffect" nodePh="1">
                                  <p:stCondLst>
                                    <p:cond delay="0"/>
                                  </p:stCondLst>
                                  <p:endCondLst>
                                    <p:cond evt="begin" delay="0">
                                      <p:tn val="39"/>
                                    </p:cond>
                                  </p:endCondLst>
                                  <p:childTnLst>
                                    <p:set>
                                      <p:cBhvr>
                                        <p:cTn id="40" dur="1" fill="hold">
                                          <p:stCondLst>
                                            <p:cond delay="0"/>
                                          </p:stCondLst>
                                        </p:cTn>
                                        <p:tgtEl>
                                          <p:spTgt spid="57"/>
                                        </p:tgtEl>
                                        <p:attrNameLst>
                                          <p:attrName>style.visibility</p:attrName>
                                        </p:attrNameLst>
                                      </p:cBhvr>
                                      <p:to>
                                        <p:strVal val="visible"/>
                                      </p:to>
                                    </p:set>
                                    <p:animEffect transition="in" filter="dissolve">
                                      <p:cBhvr>
                                        <p:cTn id="41" dur="500"/>
                                        <p:tgtEl>
                                          <p:spTgt spid="57"/>
                                        </p:tgtEl>
                                      </p:cBhvr>
                                    </p:animEffect>
                                  </p:childTnLst>
                                </p:cTn>
                              </p:par>
                            </p:childTnLst>
                          </p:cTn>
                        </p:par>
                        <p:par>
                          <p:cTn id="42" fill="hold">
                            <p:stCondLst>
                              <p:cond delay="4000"/>
                            </p:stCondLst>
                            <p:childTnLst>
                              <p:par>
                                <p:cTn id="43" presetID="22" presetClass="entr" presetSubtype="2"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right)">
                                      <p:cBhvr>
                                        <p:cTn id="45" dur="500"/>
                                        <p:tgtEl>
                                          <p:spTgt spid="53"/>
                                        </p:tgtEl>
                                      </p:cBhvr>
                                    </p:animEffect>
                                  </p:childTnLst>
                                </p:cTn>
                              </p:par>
                            </p:childTnLst>
                          </p:cTn>
                        </p:par>
                        <p:par>
                          <p:cTn id="46" fill="hold">
                            <p:stCondLst>
                              <p:cond delay="4500"/>
                            </p:stCondLst>
                            <p:childTnLst>
                              <p:par>
                                <p:cTn id="47" presetID="9" presetClass="entr" presetSubtype="0" fill="hold" grpId="0" nodeType="afterEffect">
                                  <p:stCondLst>
                                    <p:cond delay="0"/>
                                  </p:stCondLst>
                                  <p:childTnLst>
                                    <p:set>
                                      <p:cBhvr>
                                        <p:cTn id="48" dur="1" fill="hold">
                                          <p:stCondLst>
                                            <p:cond delay="0"/>
                                          </p:stCondLst>
                                        </p:cTn>
                                        <p:tgtEl>
                                          <p:spTgt spid="62">
                                            <p:txEl>
                                              <p:pRg st="0" end="0"/>
                                            </p:txEl>
                                          </p:spTgt>
                                        </p:tgtEl>
                                        <p:attrNameLst>
                                          <p:attrName>style.visibility</p:attrName>
                                        </p:attrNameLst>
                                      </p:cBhvr>
                                      <p:to>
                                        <p:strVal val="visible"/>
                                      </p:to>
                                    </p:set>
                                    <p:animEffect transition="in" filter="dissolve">
                                      <p:cBhvr>
                                        <p:cTn id="49" dur="500"/>
                                        <p:tgtEl>
                                          <p:spTgt spid="62">
                                            <p:txEl>
                                              <p:pRg st="0" end="0"/>
                                            </p:txEl>
                                          </p:spTgt>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61">
                                            <p:txEl>
                                              <p:pRg st="0" end="0"/>
                                            </p:txEl>
                                          </p:spTgt>
                                        </p:tgtEl>
                                        <p:attrNameLst>
                                          <p:attrName>style.visibility</p:attrName>
                                        </p:attrNameLst>
                                      </p:cBhvr>
                                      <p:to>
                                        <p:strVal val="visible"/>
                                      </p:to>
                                    </p:set>
                                    <p:animEffect transition="in" filter="dissolve">
                                      <p:cBhvr>
                                        <p:cTn id="52" dur="500"/>
                                        <p:tgtEl>
                                          <p:spTgt spid="61">
                                            <p:txEl>
                                              <p:pRg st="0" end="0"/>
                                            </p:txEl>
                                          </p:spTgt>
                                        </p:tgtEl>
                                      </p:cBhvr>
                                    </p:animEffect>
                                  </p:childTnLst>
                                </p:cTn>
                              </p:par>
                            </p:childTnLst>
                          </p:cTn>
                        </p:par>
                        <p:par>
                          <p:cTn id="53" fill="hold">
                            <p:stCondLst>
                              <p:cond delay="5000"/>
                            </p:stCondLst>
                            <p:childTnLst>
                              <p:par>
                                <p:cTn id="54" presetID="9" presetClass="entr" presetSubtype="0" fill="hold" grpId="0" nodeType="afterEffect" nodePh="1">
                                  <p:stCondLst>
                                    <p:cond delay="0"/>
                                  </p:stCondLst>
                                  <p:endCondLst>
                                    <p:cond evt="begin" delay="0">
                                      <p:tn val="54"/>
                                    </p:cond>
                                  </p:endCondLst>
                                  <p:childTnLst>
                                    <p:set>
                                      <p:cBhvr>
                                        <p:cTn id="55" dur="1" fill="hold">
                                          <p:stCondLst>
                                            <p:cond delay="0"/>
                                          </p:stCondLst>
                                        </p:cTn>
                                        <p:tgtEl>
                                          <p:spTgt spid="58"/>
                                        </p:tgtEl>
                                        <p:attrNameLst>
                                          <p:attrName>style.visibility</p:attrName>
                                        </p:attrNameLst>
                                      </p:cBhvr>
                                      <p:to>
                                        <p:strVal val="visible"/>
                                      </p:to>
                                    </p:set>
                                    <p:animEffect transition="in" filter="dissolve">
                                      <p:cBhvr>
                                        <p:cTn id="56" dur="500"/>
                                        <p:tgtEl>
                                          <p:spTgt spid="58"/>
                                        </p:tgtEl>
                                      </p:cBhvr>
                                    </p:animEffect>
                                  </p:childTnLst>
                                </p:cTn>
                              </p:par>
                            </p:childTnLst>
                          </p:cTn>
                        </p:par>
                        <p:par>
                          <p:cTn id="57" fill="hold">
                            <p:stCondLst>
                              <p:cond delay="5500"/>
                            </p:stCondLst>
                            <p:childTnLst>
                              <p:par>
                                <p:cTn id="58" presetID="22" presetClass="entr" presetSubtype="8" fill="hold" grpId="0"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wipe(left)">
                                      <p:cBhvr>
                                        <p:cTn id="60" dur="500"/>
                                        <p:tgtEl>
                                          <p:spTgt spid="21"/>
                                        </p:tgtEl>
                                      </p:cBhvr>
                                    </p:animEffect>
                                  </p:childTnLst>
                                </p:cTn>
                              </p:par>
                            </p:childTnLst>
                          </p:cTn>
                        </p:par>
                        <p:par>
                          <p:cTn id="61" fill="hold">
                            <p:stCondLst>
                              <p:cond delay="6000"/>
                            </p:stCondLst>
                            <p:childTnLst>
                              <p:par>
                                <p:cTn id="62" presetID="9" presetClass="entr" presetSubtype="0" fill="hold" grpId="0" nodeType="afterEffect">
                                  <p:stCondLst>
                                    <p:cond delay="0"/>
                                  </p:stCondLst>
                                  <p:childTnLst>
                                    <p:set>
                                      <p:cBhvr>
                                        <p:cTn id="63" dur="1" fill="hold">
                                          <p:stCondLst>
                                            <p:cond delay="0"/>
                                          </p:stCondLst>
                                        </p:cTn>
                                        <p:tgtEl>
                                          <p:spTgt spid="66">
                                            <p:txEl>
                                              <p:pRg st="0" end="0"/>
                                            </p:txEl>
                                          </p:spTgt>
                                        </p:tgtEl>
                                        <p:attrNameLst>
                                          <p:attrName>style.visibility</p:attrName>
                                        </p:attrNameLst>
                                      </p:cBhvr>
                                      <p:to>
                                        <p:strVal val="visible"/>
                                      </p:to>
                                    </p:set>
                                    <p:animEffect transition="in" filter="dissolve">
                                      <p:cBhvr>
                                        <p:cTn id="64" dur="500"/>
                                        <p:tgtEl>
                                          <p:spTgt spid="66">
                                            <p:txEl>
                                              <p:pRg st="0" end="0"/>
                                            </p:txEl>
                                          </p:spTgt>
                                        </p:tgtEl>
                                      </p:cBhvr>
                                    </p:animEffect>
                                  </p:childTnLst>
                                </p:cTn>
                              </p:par>
                              <p:par>
                                <p:cTn id="65" presetID="9" presetClass="entr" presetSubtype="0" fill="hold" grpId="0" nodeType="withEffect">
                                  <p:stCondLst>
                                    <p:cond delay="0"/>
                                  </p:stCondLst>
                                  <p:childTnLst>
                                    <p:set>
                                      <p:cBhvr>
                                        <p:cTn id="66" dur="1" fill="hold">
                                          <p:stCondLst>
                                            <p:cond delay="0"/>
                                          </p:stCondLst>
                                        </p:cTn>
                                        <p:tgtEl>
                                          <p:spTgt spid="65">
                                            <p:txEl>
                                              <p:pRg st="0" end="0"/>
                                            </p:txEl>
                                          </p:spTgt>
                                        </p:tgtEl>
                                        <p:attrNameLst>
                                          <p:attrName>style.visibility</p:attrName>
                                        </p:attrNameLst>
                                      </p:cBhvr>
                                      <p:to>
                                        <p:strVal val="visible"/>
                                      </p:to>
                                    </p:set>
                                    <p:animEffect transition="in" filter="dissolve">
                                      <p:cBhvr>
                                        <p:cTn id="67" dur="500"/>
                                        <p:tgtEl>
                                          <p:spTgt spid="6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58" grpId="0"/>
      <p:bldP spid="57" grpId="0"/>
      <p:bldP spid="3" grpId="0"/>
      <p:bldP spid="16" grpId="0"/>
      <p:bldP spid="30" grpId="0" build="p">
        <p:tmplLst>
          <p:tmpl lvl="1">
            <p:tnLst>
              <p:par>
                <p:cTn presetID="9" presetClass="entr" presetSubtype="0" fill="hold" nodeType="withEffect">
                  <p:stCondLst>
                    <p:cond delay="0"/>
                  </p:stCondLst>
                  <p:childTnLst>
                    <p:set>
                      <p:cBhvr>
                        <p:cTn dur="1" fill="hold">
                          <p:stCondLst>
                            <p:cond delay="0"/>
                          </p:stCondLst>
                        </p:cTn>
                        <p:tgtEl>
                          <p:spTgt spid="30"/>
                        </p:tgtEl>
                        <p:attrNameLst>
                          <p:attrName>style.visibility</p:attrName>
                        </p:attrNameLst>
                      </p:cBhvr>
                      <p:to>
                        <p:strVal val="visible"/>
                      </p:to>
                    </p:set>
                    <p:animEffect transition="in" filter="dissolve">
                      <p:cBhvr>
                        <p:cTn dur="500"/>
                        <p:tgtEl>
                          <p:spTgt spid="30"/>
                        </p:tgtEl>
                      </p:cBhvr>
                    </p:animEffect>
                  </p:childTnLst>
                </p:cTn>
              </p:par>
            </p:tnLst>
          </p:tmpl>
        </p:tmplLst>
      </p:bldP>
      <p:bldP spid="21" grpId="0" animBg="1"/>
      <p:bldP spid="41" grpId="0" animBg="1"/>
      <p:bldP spid="42" grpId="0" animBg="1"/>
      <p:bldP spid="53" grpId="0" animBg="1"/>
      <p:bldP spid="60" grpId="0" build="p">
        <p:tmplLst>
          <p:tmpl lvl="1">
            <p:tnLst>
              <p:par>
                <p:cTn presetID="9" presetClass="entr" presetSubtype="0" fill="hold" nodeType="afterEffect">
                  <p:stCondLst>
                    <p:cond delay="0"/>
                  </p:stCondLst>
                  <p:childTnLst>
                    <p:set>
                      <p:cBhvr>
                        <p:cTn dur="1" fill="hold">
                          <p:stCondLst>
                            <p:cond delay="0"/>
                          </p:stCondLst>
                        </p:cTn>
                        <p:tgtEl>
                          <p:spTgt spid="60"/>
                        </p:tgtEl>
                        <p:attrNameLst>
                          <p:attrName>style.visibility</p:attrName>
                        </p:attrNameLst>
                      </p:cBhvr>
                      <p:to>
                        <p:strVal val="visible"/>
                      </p:to>
                    </p:set>
                    <p:animEffect transition="in" filter="dissolve">
                      <p:cBhvr>
                        <p:cTn dur="500"/>
                        <p:tgtEl>
                          <p:spTgt spid="60"/>
                        </p:tgtEl>
                      </p:cBhvr>
                    </p:animEffect>
                  </p:childTnLst>
                </p:cTn>
              </p:par>
            </p:tnLst>
          </p:tmpl>
        </p:tmplLst>
      </p:bldP>
      <p:bldP spid="61" grpId="0" build="p">
        <p:tmplLst>
          <p:tmpl lvl="1">
            <p:tnLst>
              <p:par>
                <p:cTn presetID="9" presetClass="entr" presetSubtype="0" fill="hold" nodeType="withEffect">
                  <p:stCondLst>
                    <p:cond delay="0"/>
                  </p:stCondLst>
                  <p:childTnLst>
                    <p:set>
                      <p:cBhvr>
                        <p:cTn dur="1" fill="hold">
                          <p:stCondLst>
                            <p:cond delay="0"/>
                          </p:stCondLst>
                        </p:cTn>
                        <p:tgtEl>
                          <p:spTgt spid="61"/>
                        </p:tgtEl>
                        <p:attrNameLst>
                          <p:attrName>style.visibility</p:attrName>
                        </p:attrNameLst>
                      </p:cBhvr>
                      <p:to>
                        <p:strVal val="visible"/>
                      </p:to>
                    </p:set>
                    <p:animEffect transition="in" filter="dissolve">
                      <p:cBhvr>
                        <p:cTn dur="500"/>
                        <p:tgtEl>
                          <p:spTgt spid="61"/>
                        </p:tgtEl>
                      </p:cBhvr>
                    </p:animEffect>
                  </p:childTnLst>
                </p:cTn>
              </p:par>
            </p:tnLst>
          </p:tmpl>
        </p:tmplLst>
      </p:bldP>
      <p:bldP spid="62" grpId="0" build="p">
        <p:tmplLst>
          <p:tmpl lvl="1">
            <p:tnLst>
              <p:par>
                <p:cTn presetID="9" presetClass="entr" presetSubtype="0" fill="hold" nodeType="afterEffect">
                  <p:stCondLst>
                    <p:cond delay="0"/>
                  </p:stCondLst>
                  <p:childTnLst>
                    <p:set>
                      <p:cBhvr>
                        <p:cTn dur="1" fill="hold">
                          <p:stCondLst>
                            <p:cond delay="0"/>
                          </p:stCondLst>
                        </p:cTn>
                        <p:tgtEl>
                          <p:spTgt spid="62"/>
                        </p:tgtEl>
                        <p:attrNameLst>
                          <p:attrName>style.visibility</p:attrName>
                        </p:attrNameLst>
                      </p:cBhvr>
                      <p:to>
                        <p:strVal val="visible"/>
                      </p:to>
                    </p:set>
                    <p:animEffect transition="in" filter="dissolve">
                      <p:cBhvr>
                        <p:cTn dur="500"/>
                        <p:tgtEl>
                          <p:spTgt spid="62"/>
                        </p:tgtEl>
                      </p:cBhvr>
                    </p:animEffect>
                  </p:childTnLst>
                </p:cTn>
              </p:par>
            </p:tnLst>
          </p:tmpl>
        </p:tmplLst>
      </p:bldP>
      <p:bldP spid="63" grpId="0" build="p">
        <p:tmplLst>
          <p:tmpl lvl="1">
            <p:tnLst>
              <p:par>
                <p:cTn presetID="9"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dissolve">
                      <p:cBhvr>
                        <p:cTn dur="500"/>
                        <p:tgtEl>
                          <p:spTgt spid="63"/>
                        </p:tgtEl>
                      </p:cBhvr>
                    </p:animEffect>
                  </p:childTnLst>
                </p:cTn>
              </p:par>
            </p:tnLst>
          </p:tmpl>
        </p:tmplLst>
      </p:bldP>
      <p:bldP spid="64" grpId="0" build="p">
        <p:tmplLst>
          <p:tmpl lvl="1">
            <p:tnLst>
              <p:par>
                <p:cTn presetID="9" presetClass="entr" presetSubtype="0" fill="hold" nodeType="afterEffect">
                  <p:stCondLst>
                    <p:cond delay="0"/>
                  </p:stCondLst>
                  <p:childTnLst>
                    <p:set>
                      <p:cBhvr>
                        <p:cTn dur="1" fill="hold">
                          <p:stCondLst>
                            <p:cond delay="0"/>
                          </p:stCondLst>
                        </p:cTn>
                        <p:tgtEl>
                          <p:spTgt spid="64"/>
                        </p:tgtEl>
                        <p:attrNameLst>
                          <p:attrName>style.visibility</p:attrName>
                        </p:attrNameLst>
                      </p:cBhvr>
                      <p:to>
                        <p:strVal val="visible"/>
                      </p:to>
                    </p:set>
                    <p:animEffect transition="in" filter="dissolve">
                      <p:cBhvr>
                        <p:cTn dur="500"/>
                        <p:tgtEl>
                          <p:spTgt spid="64"/>
                        </p:tgtEl>
                      </p:cBhvr>
                    </p:animEffect>
                  </p:childTnLst>
                </p:cTn>
              </p:par>
            </p:tnLst>
          </p:tmpl>
        </p:tmplLst>
      </p:bldP>
      <p:bldP spid="65" grpId="0" build="p">
        <p:tmplLst>
          <p:tmpl lvl="1">
            <p:tnLst>
              <p:par>
                <p:cTn presetID="9" presetClass="entr" presetSubtype="0" fill="hold" nodeType="withEffect">
                  <p:stCondLst>
                    <p:cond delay="0"/>
                  </p:stCondLst>
                  <p:childTnLst>
                    <p:set>
                      <p:cBhvr>
                        <p:cTn dur="1" fill="hold">
                          <p:stCondLst>
                            <p:cond delay="0"/>
                          </p:stCondLst>
                        </p:cTn>
                        <p:tgtEl>
                          <p:spTgt spid="65"/>
                        </p:tgtEl>
                        <p:attrNameLst>
                          <p:attrName>style.visibility</p:attrName>
                        </p:attrNameLst>
                      </p:cBhvr>
                      <p:to>
                        <p:strVal val="visible"/>
                      </p:to>
                    </p:set>
                    <p:animEffect transition="in" filter="dissolve">
                      <p:cBhvr>
                        <p:cTn dur="500"/>
                        <p:tgtEl>
                          <p:spTgt spid="65"/>
                        </p:tgtEl>
                      </p:cBhvr>
                    </p:animEffect>
                  </p:childTnLst>
                </p:cTn>
              </p:par>
            </p:tnLst>
          </p:tmpl>
        </p:tmplLst>
      </p:bldP>
      <p:bldP spid="66" grpId="0" build="p">
        <p:tmplLst>
          <p:tmpl lvl="1">
            <p:tnLst>
              <p:par>
                <p:cTn presetID="9"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dissolve">
                      <p:cBhvr>
                        <p:cTn dur="500"/>
                        <p:tgtEl>
                          <p:spTgt spid="66"/>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Picture Placeholder 3"/>
          <p:cNvSpPr>
            <a:spLocks noGrp="1"/>
          </p:cNvSpPr>
          <p:nvPr>
            <p:ph type="pic" sz="quarter" idx="10"/>
          </p:nvPr>
        </p:nvSpPr>
        <p:spPr>
          <a:xfrm>
            <a:off x="750431" y="2006224"/>
            <a:ext cx="10701607" cy="4163820"/>
          </a:xfrm>
        </p:spPr>
        <p:txBody>
          <a:bodyPr/>
          <a:lstStyle/>
          <a:p>
            <a:endParaRPr lang="en-US"/>
          </a:p>
        </p:txBody>
      </p:sp>
    </p:spTree>
    <p:extLst>
      <p:ext uri="{BB962C8B-B14F-4D97-AF65-F5344CB8AC3E}">
        <p14:creationId xmlns:p14="http://schemas.microsoft.com/office/powerpoint/2010/main" val="9314571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2" name="Rectangle 1"/>
          <p:cNvSpPr/>
          <p:nvPr userDrawn="1"/>
        </p:nvSpPr>
        <p:spPr>
          <a:xfrm>
            <a:off x="1144" y="6096002"/>
            <a:ext cx="9293671" cy="762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ctr"/>
          <a:lstStyle/>
          <a:p>
            <a:pPr algn="ctr"/>
            <a:endParaRPr lang="en-US"/>
          </a:p>
        </p:txBody>
      </p:sp>
      <p:sp>
        <p:nvSpPr>
          <p:cNvPr id="78" name="Picture Placeholder 2"/>
          <p:cNvSpPr>
            <a:spLocks noGrp="1"/>
          </p:cNvSpPr>
          <p:nvPr>
            <p:ph type="pic" sz="quarter" idx="22"/>
          </p:nvPr>
        </p:nvSpPr>
        <p:spPr>
          <a:xfrm>
            <a:off x="1145" y="2061941"/>
            <a:ext cx="2388257" cy="2388878"/>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79" name="Picture Placeholder 2"/>
          <p:cNvSpPr>
            <a:spLocks noGrp="1"/>
          </p:cNvSpPr>
          <p:nvPr>
            <p:ph type="pic" sz="quarter" idx="23"/>
          </p:nvPr>
        </p:nvSpPr>
        <p:spPr>
          <a:xfrm>
            <a:off x="4903283" y="2061942"/>
            <a:ext cx="2388257" cy="2388880"/>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80" name="Picture Placeholder 2"/>
          <p:cNvSpPr>
            <a:spLocks noGrp="1"/>
          </p:cNvSpPr>
          <p:nvPr>
            <p:ph type="pic" sz="quarter" idx="24"/>
          </p:nvPr>
        </p:nvSpPr>
        <p:spPr>
          <a:xfrm>
            <a:off x="9799429" y="2061944"/>
            <a:ext cx="2388255" cy="2388877"/>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81" name="Picture Placeholder 2"/>
          <p:cNvSpPr>
            <a:spLocks noGrp="1"/>
          </p:cNvSpPr>
          <p:nvPr>
            <p:ph type="pic" sz="quarter" idx="25"/>
          </p:nvPr>
        </p:nvSpPr>
        <p:spPr>
          <a:xfrm>
            <a:off x="7351475" y="4510423"/>
            <a:ext cx="2388169" cy="2347579"/>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82" name="Picture Placeholder 2"/>
          <p:cNvSpPr>
            <a:spLocks noGrp="1"/>
          </p:cNvSpPr>
          <p:nvPr>
            <p:ph type="pic" sz="quarter" idx="26"/>
          </p:nvPr>
        </p:nvSpPr>
        <p:spPr>
          <a:xfrm>
            <a:off x="2455326" y="4507680"/>
            <a:ext cx="2388169" cy="2350324"/>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6" name="Title 15"/>
          <p:cNvSpPr>
            <a:spLocks noGrp="1"/>
          </p:cNvSpPr>
          <p:nvPr>
            <p:ph type="title"/>
          </p:nvPr>
        </p:nvSpPr>
        <p:spPr>
          <a:xfrm>
            <a:off x="1523603" y="381001"/>
            <a:ext cx="9141619" cy="535812"/>
          </a:xfrm>
        </p:spPr>
        <p:txBody>
          <a:bodyPr>
            <a:noAutofit/>
          </a:bodyPr>
          <a:lstStyle>
            <a:lvl1pPr algn="ctr">
              <a:defRPr sz="2700" b="0">
                <a:solidFill>
                  <a:schemeClr val="tx1">
                    <a:lumMod val="65000"/>
                    <a:lumOff val="35000"/>
                  </a:schemeClr>
                </a:solidFill>
                <a:latin typeface="Source Sans Pro Light"/>
              </a:defRPr>
            </a:lvl1pPr>
          </a:lstStyle>
          <a:p>
            <a:r>
              <a:rPr lang="en-US" dirty="0"/>
              <a:t>Click to edit Master title style</a:t>
            </a:r>
            <a:endParaRPr lang="en-GB" dirty="0"/>
          </a:p>
        </p:txBody>
      </p:sp>
      <p:sp>
        <p:nvSpPr>
          <p:cNvPr id="21" name="Text Placeholder 17"/>
          <p:cNvSpPr>
            <a:spLocks noGrp="1"/>
          </p:cNvSpPr>
          <p:nvPr>
            <p:ph type="body" sz="quarter" idx="18" hasCustomPrompt="1"/>
          </p:nvPr>
        </p:nvSpPr>
        <p:spPr>
          <a:xfrm>
            <a:off x="1523603" y="996517"/>
            <a:ext cx="9141619" cy="248083"/>
          </a:xfrm>
        </p:spPr>
        <p:txBody>
          <a:bodyPr lIns="0" tIns="0" rIns="0" bIns="0">
            <a:normAutofit/>
          </a:bodyPr>
          <a:lstStyle>
            <a:lvl1pPr marL="0" indent="0" algn="ctr">
              <a:lnSpc>
                <a:spcPts val="1400"/>
              </a:lnSpc>
              <a:buNone/>
              <a:defRPr sz="1000">
                <a:solidFill>
                  <a:schemeClr val="tx1">
                    <a:lumMod val="65000"/>
                    <a:lumOff val="35000"/>
                  </a:schemeClr>
                </a:solidFill>
                <a:latin typeface="Source Sans Pro Light"/>
              </a:defRPr>
            </a:lvl1pPr>
          </a:lstStyle>
          <a:p>
            <a:pPr lvl="0"/>
            <a:r>
              <a:rPr lang="en-GB" dirty="0"/>
              <a:t>write your relevant text here</a:t>
            </a:r>
          </a:p>
        </p:txBody>
      </p:sp>
      <p:sp>
        <p:nvSpPr>
          <p:cNvPr id="23" name="Shape 583"/>
          <p:cNvSpPr/>
          <p:nvPr userDrawn="1"/>
        </p:nvSpPr>
        <p:spPr>
          <a:xfrm>
            <a:off x="2455238" y="2061941"/>
            <a:ext cx="2388257" cy="2388878"/>
          </a:xfrm>
          <a:prstGeom prst="rect">
            <a:avLst/>
          </a:prstGeom>
          <a:solidFill>
            <a:schemeClr val="accent1"/>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1" name="Shape 585"/>
          <p:cNvSpPr/>
          <p:nvPr userDrawn="1"/>
        </p:nvSpPr>
        <p:spPr>
          <a:xfrm rot="10800000">
            <a:off x="1144" y="4510335"/>
            <a:ext cx="2388257" cy="2347666"/>
          </a:xfrm>
          <a:prstGeom prst="rect">
            <a:avLst/>
          </a:prstGeom>
          <a:solidFill>
            <a:schemeClr val="accent4"/>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3" name="Shape 587"/>
          <p:cNvSpPr/>
          <p:nvPr userDrawn="1"/>
        </p:nvSpPr>
        <p:spPr>
          <a:xfrm>
            <a:off x="7351387" y="2061941"/>
            <a:ext cx="2388257" cy="2388878"/>
          </a:xfrm>
          <a:prstGeom prst="rect">
            <a:avLst/>
          </a:prstGeom>
          <a:solidFill>
            <a:schemeClr val="accent5"/>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5" name="Shape 589"/>
          <p:cNvSpPr/>
          <p:nvPr userDrawn="1"/>
        </p:nvSpPr>
        <p:spPr>
          <a:xfrm rot="10800000">
            <a:off x="4903283" y="4510335"/>
            <a:ext cx="2388257" cy="2347666"/>
          </a:xfrm>
          <a:prstGeom prst="rect">
            <a:avLst/>
          </a:prstGeom>
          <a:solidFill>
            <a:schemeClr val="accent2"/>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47" name="Shape 591"/>
          <p:cNvSpPr/>
          <p:nvPr userDrawn="1"/>
        </p:nvSpPr>
        <p:spPr>
          <a:xfrm rot="10800000">
            <a:off x="9799432" y="4510335"/>
            <a:ext cx="2388257" cy="2347666"/>
          </a:xfrm>
          <a:prstGeom prst="rect">
            <a:avLst/>
          </a:prstGeom>
          <a:solidFill>
            <a:schemeClr val="accent3"/>
          </a:solidFill>
          <a:ln w="12700">
            <a:miter lim="400000"/>
          </a:ln>
        </p:spPr>
        <p:txBody>
          <a:bodyPr lIns="25394" tIns="25394" rIns="25394" bIns="25394" anchor="ct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nvGrpSpPr>
          <p:cNvPr id="3" name="Group 599"/>
          <p:cNvGrpSpPr/>
          <p:nvPr userDrawn="1"/>
        </p:nvGrpSpPr>
        <p:grpSpPr>
          <a:xfrm>
            <a:off x="2799919" y="2053956"/>
            <a:ext cx="512796" cy="512930"/>
            <a:chOff x="0" y="0"/>
            <a:chExt cx="1025858" cy="1025858"/>
          </a:xfrm>
        </p:grpSpPr>
        <p:sp>
          <p:nvSpPr>
            <p:cNvPr id="52" name="Shape 597"/>
            <p:cNvSpPr/>
            <p:nvPr/>
          </p:nvSpPr>
          <p:spPr>
            <a:xfrm>
              <a:off x="0" y="0"/>
              <a:ext cx="1025859" cy="1025859"/>
            </a:xfrm>
            <a:prstGeom prst="rect">
              <a:avLst/>
            </a:prstGeom>
            <a:solidFill>
              <a:srgbClr val="FFFFFF"/>
            </a:solidFill>
            <a:ln w="12700" cap="flat">
              <a:noFill/>
              <a:miter lim="400000"/>
            </a:ln>
            <a:effectLst/>
          </p:spPr>
          <p:txBody>
            <a:bodyPr wrap="square" lIns="50800" tIns="50800" rIns="50800" bIns="508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53" name="Shape 598"/>
            <p:cNvSpPr/>
            <p:nvPr/>
          </p:nvSpPr>
          <p:spPr>
            <a:xfrm>
              <a:off x="401490" y="322808"/>
              <a:ext cx="222878" cy="380243"/>
            </a:xfrm>
            <a:custGeom>
              <a:avLst/>
              <a:gdLst/>
              <a:ahLst/>
              <a:cxnLst>
                <a:cxn ang="0">
                  <a:pos x="wd2" y="hd2"/>
                </a:cxn>
                <a:cxn ang="5400000">
                  <a:pos x="wd2" y="hd2"/>
                </a:cxn>
                <a:cxn ang="10800000">
                  <a:pos x="wd2" y="hd2"/>
                </a:cxn>
                <a:cxn ang="16200000">
                  <a:pos x="wd2" y="hd2"/>
                </a:cxn>
              </a:cxnLst>
              <a:rect l="0" t="0" r="r" b="b"/>
              <a:pathLst>
                <a:path w="21183" h="21165" extrusionOk="0">
                  <a:moveTo>
                    <a:pt x="15065" y="577"/>
                  </a:moveTo>
                  <a:cubicBezTo>
                    <a:pt x="13764" y="1320"/>
                    <a:pt x="1039" y="9145"/>
                    <a:pt x="1039" y="9145"/>
                  </a:cubicBezTo>
                  <a:cubicBezTo>
                    <a:pt x="345" y="9541"/>
                    <a:pt x="0" y="10064"/>
                    <a:pt x="0" y="10582"/>
                  </a:cubicBezTo>
                  <a:cubicBezTo>
                    <a:pt x="0" y="11105"/>
                    <a:pt x="345" y="11623"/>
                    <a:pt x="1039" y="12019"/>
                  </a:cubicBezTo>
                  <a:cubicBezTo>
                    <a:pt x="1039" y="12019"/>
                    <a:pt x="13764" y="19844"/>
                    <a:pt x="15065" y="20587"/>
                  </a:cubicBezTo>
                  <a:cubicBezTo>
                    <a:pt x="16367" y="21334"/>
                    <a:pt x="18711" y="21382"/>
                    <a:pt x="20099" y="20587"/>
                  </a:cubicBezTo>
                  <a:cubicBezTo>
                    <a:pt x="21487" y="19796"/>
                    <a:pt x="21600" y="18689"/>
                    <a:pt x="20099" y="17713"/>
                  </a:cubicBezTo>
                  <a:lnTo>
                    <a:pt x="8425" y="10582"/>
                  </a:lnTo>
                  <a:lnTo>
                    <a:pt x="20099" y="3451"/>
                  </a:lnTo>
                  <a:cubicBezTo>
                    <a:pt x="21600" y="2480"/>
                    <a:pt x="21487" y="1373"/>
                    <a:pt x="20099" y="577"/>
                  </a:cubicBezTo>
                  <a:cubicBezTo>
                    <a:pt x="18711" y="-218"/>
                    <a:pt x="16367" y="-165"/>
                    <a:pt x="15065" y="577"/>
                  </a:cubicBezTo>
                  <a:close/>
                </a:path>
              </a:pathLst>
            </a:custGeom>
            <a:solidFill>
              <a:schemeClr val="accent1"/>
            </a:solidFill>
            <a:ln w="12700" cap="flat">
              <a:noFill/>
              <a:miter lim="400000"/>
            </a:ln>
            <a:effectLst/>
          </p:spPr>
          <p:txBody>
            <a:bodyPr wrap="square" lIns="38100" tIns="38100" rIns="38100" bIns="381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grpSp>
        <p:nvGrpSpPr>
          <p:cNvPr id="4" name="Group 605"/>
          <p:cNvGrpSpPr/>
          <p:nvPr userDrawn="1"/>
        </p:nvGrpSpPr>
        <p:grpSpPr>
          <a:xfrm>
            <a:off x="7699064" y="2053956"/>
            <a:ext cx="512796" cy="512930"/>
            <a:chOff x="0" y="0"/>
            <a:chExt cx="1025858" cy="1025858"/>
          </a:xfrm>
        </p:grpSpPr>
        <p:sp>
          <p:nvSpPr>
            <p:cNvPr id="58" name="Shape 603"/>
            <p:cNvSpPr/>
            <p:nvPr/>
          </p:nvSpPr>
          <p:spPr>
            <a:xfrm>
              <a:off x="0" y="0"/>
              <a:ext cx="1025859" cy="1025859"/>
            </a:xfrm>
            <a:prstGeom prst="rect">
              <a:avLst/>
            </a:prstGeom>
            <a:solidFill>
              <a:srgbClr val="FFFFFF"/>
            </a:solidFill>
            <a:ln w="12700" cap="flat">
              <a:noFill/>
              <a:miter lim="400000"/>
            </a:ln>
            <a:effectLst/>
          </p:spPr>
          <p:txBody>
            <a:bodyPr wrap="square" lIns="50800" tIns="50800" rIns="50800" bIns="508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59" name="Shape 604"/>
            <p:cNvSpPr/>
            <p:nvPr/>
          </p:nvSpPr>
          <p:spPr>
            <a:xfrm>
              <a:off x="401490" y="322808"/>
              <a:ext cx="222878" cy="380243"/>
            </a:xfrm>
            <a:custGeom>
              <a:avLst/>
              <a:gdLst/>
              <a:ahLst/>
              <a:cxnLst>
                <a:cxn ang="0">
                  <a:pos x="wd2" y="hd2"/>
                </a:cxn>
                <a:cxn ang="5400000">
                  <a:pos x="wd2" y="hd2"/>
                </a:cxn>
                <a:cxn ang="10800000">
                  <a:pos x="wd2" y="hd2"/>
                </a:cxn>
                <a:cxn ang="16200000">
                  <a:pos x="wd2" y="hd2"/>
                </a:cxn>
              </a:cxnLst>
              <a:rect l="0" t="0" r="r" b="b"/>
              <a:pathLst>
                <a:path w="21183" h="21165" extrusionOk="0">
                  <a:moveTo>
                    <a:pt x="15065" y="577"/>
                  </a:moveTo>
                  <a:cubicBezTo>
                    <a:pt x="13764" y="1320"/>
                    <a:pt x="1039" y="9145"/>
                    <a:pt x="1039" y="9145"/>
                  </a:cubicBezTo>
                  <a:cubicBezTo>
                    <a:pt x="345" y="9541"/>
                    <a:pt x="0" y="10064"/>
                    <a:pt x="0" y="10582"/>
                  </a:cubicBezTo>
                  <a:cubicBezTo>
                    <a:pt x="0" y="11105"/>
                    <a:pt x="345" y="11623"/>
                    <a:pt x="1039" y="12019"/>
                  </a:cubicBezTo>
                  <a:cubicBezTo>
                    <a:pt x="1039" y="12019"/>
                    <a:pt x="13764" y="19844"/>
                    <a:pt x="15065" y="20587"/>
                  </a:cubicBezTo>
                  <a:cubicBezTo>
                    <a:pt x="16367" y="21334"/>
                    <a:pt x="18711" y="21382"/>
                    <a:pt x="20099" y="20587"/>
                  </a:cubicBezTo>
                  <a:cubicBezTo>
                    <a:pt x="21487" y="19796"/>
                    <a:pt x="21600" y="18689"/>
                    <a:pt x="20099" y="17713"/>
                  </a:cubicBezTo>
                  <a:lnTo>
                    <a:pt x="8425" y="10582"/>
                  </a:lnTo>
                  <a:lnTo>
                    <a:pt x="20099" y="3451"/>
                  </a:lnTo>
                  <a:cubicBezTo>
                    <a:pt x="21600" y="2480"/>
                    <a:pt x="21487" y="1373"/>
                    <a:pt x="20099" y="577"/>
                  </a:cubicBezTo>
                  <a:cubicBezTo>
                    <a:pt x="18711" y="-218"/>
                    <a:pt x="16367" y="-165"/>
                    <a:pt x="15065" y="577"/>
                  </a:cubicBezTo>
                  <a:close/>
                </a:path>
              </a:pathLst>
            </a:custGeom>
            <a:solidFill>
              <a:schemeClr val="accent5"/>
            </a:solidFill>
            <a:ln w="12700" cap="flat">
              <a:noFill/>
              <a:miter lim="400000"/>
            </a:ln>
            <a:effectLst/>
          </p:spPr>
          <p:txBody>
            <a:bodyPr wrap="square" lIns="38100" tIns="38100" rIns="38100" bIns="381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grpSp>
        <p:nvGrpSpPr>
          <p:cNvPr id="5" name="Group 611"/>
          <p:cNvGrpSpPr/>
          <p:nvPr userDrawn="1"/>
        </p:nvGrpSpPr>
        <p:grpSpPr>
          <a:xfrm>
            <a:off x="10147139" y="4507677"/>
            <a:ext cx="512796" cy="512930"/>
            <a:chOff x="0" y="0"/>
            <a:chExt cx="1025858" cy="1025858"/>
          </a:xfrm>
        </p:grpSpPr>
        <p:sp>
          <p:nvSpPr>
            <p:cNvPr id="64" name="Shape 609"/>
            <p:cNvSpPr/>
            <p:nvPr/>
          </p:nvSpPr>
          <p:spPr>
            <a:xfrm>
              <a:off x="0" y="0"/>
              <a:ext cx="1025859" cy="1025859"/>
            </a:xfrm>
            <a:prstGeom prst="rect">
              <a:avLst/>
            </a:prstGeom>
            <a:solidFill>
              <a:srgbClr val="FFFFFF"/>
            </a:solidFill>
            <a:ln w="12700" cap="flat">
              <a:noFill/>
              <a:miter lim="400000"/>
            </a:ln>
            <a:effectLst/>
          </p:spPr>
          <p:txBody>
            <a:bodyPr wrap="square" lIns="50800" tIns="50800" rIns="50800" bIns="508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65" name="Shape 610"/>
            <p:cNvSpPr/>
            <p:nvPr/>
          </p:nvSpPr>
          <p:spPr>
            <a:xfrm rot="5400000">
              <a:off x="401490" y="322808"/>
              <a:ext cx="222878" cy="380243"/>
            </a:xfrm>
            <a:custGeom>
              <a:avLst/>
              <a:gdLst/>
              <a:ahLst/>
              <a:cxnLst>
                <a:cxn ang="0">
                  <a:pos x="wd2" y="hd2"/>
                </a:cxn>
                <a:cxn ang="5400000">
                  <a:pos x="wd2" y="hd2"/>
                </a:cxn>
                <a:cxn ang="10800000">
                  <a:pos x="wd2" y="hd2"/>
                </a:cxn>
                <a:cxn ang="16200000">
                  <a:pos x="wd2" y="hd2"/>
                </a:cxn>
              </a:cxnLst>
              <a:rect l="0" t="0" r="r" b="b"/>
              <a:pathLst>
                <a:path w="21183" h="21165" extrusionOk="0">
                  <a:moveTo>
                    <a:pt x="15065" y="577"/>
                  </a:moveTo>
                  <a:cubicBezTo>
                    <a:pt x="13764" y="1320"/>
                    <a:pt x="1039" y="9145"/>
                    <a:pt x="1039" y="9145"/>
                  </a:cubicBezTo>
                  <a:cubicBezTo>
                    <a:pt x="345" y="9541"/>
                    <a:pt x="0" y="10064"/>
                    <a:pt x="0" y="10582"/>
                  </a:cubicBezTo>
                  <a:cubicBezTo>
                    <a:pt x="0" y="11105"/>
                    <a:pt x="345" y="11623"/>
                    <a:pt x="1039" y="12019"/>
                  </a:cubicBezTo>
                  <a:cubicBezTo>
                    <a:pt x="1039" y="12019"/>
                    <a:pt x="13764" y="19844"/>
                    <a:pt x="15065" y="20587"/>
                  </a:cubicBezTo>
                  <a:cubicBezTo>
                    <a:pt x="16367" y="21334"/>
                    <a:pt x="18711" y="21382"/>
                    <a:pt x="20099" y="20587"/>
                  </a:cubicBezTo>
                  <a:cubicBezTo>
                    <a:pt x="21487" y="19796"/>
                    <a:pt x="21600" y="18689"/>
                    <a:pt x="20099" y="17713"/>
                  </a:cubicBezTo>
                  <a:lnTo>
                    <a:pt x="8425" y="10582"/>
                  </a:lnTo>
                  <a:lnTo>
                    <a:pt x="20099" y="3451"/>
                  </a:lnTo>
                  <a:cubicBezTo>
                    <a:pt x="21600" y="2480"/>
                    <a:pt x="21487" y="1373"/>
                    <a:pt x="20099" y="577"/>
                  </a:cubicBezTo>
                  <a:cubicBezTo>
                    <a:pt x="18711" y="-218"/>
                    <a:pt x="16367" y="-165"/>
                    <a:pt x="15065" y="577"/>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grpSp>
        <p:nvGrpSpPr>
          <p:cNvPr id="6" name="Group 617"/>
          <p:cNvGrpSpPr/>
          <p:nvPr userDrawn="1"/>
        </p:nvGrpSpPr>
        <p:grpSpPr>
          <a:xfrm>
            <a:off x="5248111" y="4507677"/>
            <a:ext cx="512796" cy="512930"/>
            <a:chOff x="0" y="0"/>
            <a:chExt cx="1025858" cy="1025858"/>
          </a:xfrm>
        </p:grpSpPr>
        <p:sp>
          <p:nvSpPr>
            <p:cNvPr id="70" name="Shape 615"/>
            <p:cNvSpPr/>
            <p:nvPr/>
          </p:nvSpPr>
          <p:spPr>
            <a:xfrm>
              <a:off x="0" y="0"/>
              <a:ext cx="1025859" cy="1025859"/>
            </a:xfrm>
            <a:prstGeom prst="rect">
              <a:avLst/>
            </a:prstGeom>
            <a:solidFill>
              <a:srgbClr val="FFFFFF"/>
            </a:solidFill>
            <a:ln w="12700" cap="flat">
              <a:noFill/>
              <a:miter lim="400000"/>
            </a:ln>
            <a:effectLst/>
          </p:spPr>
          <p:txBody>
            <a:bodyPr wrap="square" lIns="50800" tIns="50800" rIns="50800" bIns="508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71" name="Shape 616"/>
            <p:cNvSpPr/>
            <p:nvPr/>
          </p:nvSpPr>
          <p:spPr>
            <a:xfrm rot="10800000">
              <a:off x="401490" y="322808"/>
              <a:ext cx="222878" cy="380243"/>
            </a:xfrm>
            <a:custGeom>
              <a:avLst/>
              <a:gdLst/>
              <a:ahLst/>
              <a:cxnLst>
                <a:cxn ang="0">
                  <a:pos x="wd2" y="hd2"/>
                </a:cxn>
                <a:cxn ang="5400000">
                  <a:pos x="wd2" y="hd2"/>
                </a:cxn>
                <a:cxn ang="10800000">
                  <a:pos x="wd2" y="hd2"/>
                </a:cxn>
                <a:cxn ang="16200000">
                  <a:pos x="wd2" y="hd2"/>
                </a:cxn>
              </a:cxnLst>
              <a:rect l="0" t="0" r="r" b="b"/>
              <a:pathLst>
                <a:path w="21183" h="21165" extrusionOk="0">
                  <a:moveTo>
                    <a:pt x="15065" y="577"/>
                  </a:moveTo>
                  <a:cubicBezTo>
                    <a:pt x="13764" y="1320"/>
                    <a:pt x="1039" y="9145"/>
                    <a:pt x="1039" y="9145"/>
                  </a:cubicBezTo>
                  <a:cubicBezTo>
                    <a:pt x="345" y="9541"/>
                    <a:pt x="0" y="10064"/>
                    <a:pt x="0" y="10582"/>
                  </a:cubicBezTo>
                  <a:cubicBezTo>
                    <a:pt x="0" y="11105"/>
                    <a:pt x="345" y="11623"/>
                    <a:pt x="1039" y="12019"/>
                  </a:cubicBezTo>
                  <a:cubicBezTo>
                    <a:pt x="1039" y="12019"/>
                    <a:pt x="13764" y="19844"/>
                    <a:pt x="15065" y="20587"/>
                  </a:cubicBezTo>
                  <a:cubicBezTo>
                    <a:pt x="16367" y="21334"/>
                    <a:pt x="18711" y="21382"/>
                    <a:pt x="20099" y="20587"/>
                  </a:cubicBezTo>
                  <a:cubicBezTo>
                    <a:pt x="21487" y="19796"/>
                    <a:pt x="21600" y="18689"/>
                    <a:pt x="20099" y="17713"/>
                  </a:cubicBezTo>
                  <a:lnTo>
                    <a:pt x="8425" y="10582"/>
                  </a:lnTo>
                  <a:lnTo>
                    <a:pt x="20099" y="3451"/>
                  </a:lnTo>
                  <a:cubicBezTo>
                    <a:pt x="21600" y="2480"/>
                    <a:pt x="21487" y="1373"/>
                    <a:pt x="20099" y="577"/>
                  </a:cubicBezTo>
                  <a:cubicBezTo>
                    <a:pt x="18711" y="-218"/>
                    <a:pt x="16367" y="-165"/>
                    <a:pt x="15065" y="577"/>
                  </a:cubicBezTo>
                  <a:close/>
                </a:path>
              </a:pathLst>
            </a:custGeom>
            <a:solidFill>
              <a:schemeClr val="accent2"/>
            </a:solidFill>
            <a:ln w="12700" cap="flat">
              <a:noFill/>
              <a:miter lim="400000"/>
            </a:ln>
            <a:effectLst/>
          </p:spPr>
          <p:txBody>
            <a:bodyPr wrap="square" lIns="38100" tIns="38100" rIns="38100" bIns="381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grpSp>
        <p:nvGrpSpPr>
          <p:cNvPr id="7" name="Group 623"/>
          <p:cNvGrpSpPr/>
          <p:nvPr userDrawn="1"/>
        </p:nvGrpSpPr>
        <p:grpSpPr>
          <a:xfrm>
            <a:off x="348850" y="4507677"/>
            <a:ext cx="512796" cy="512930"/>
            <a:chOff x="0" y="0"/>
            <a:chExt cx="1025858" cy="1025858"/>
          </a:xfrm>
        </p:grpSpPr>
        <p:sp>
          <p:nvSpPr>
            <p:cNvPr id="76" name="Shape 621"/>
            <p:cNvSpPr/>
            <p:nvPr/>
          </p:nvSpPr>
          <p:spPr>
            <a:xfrm>
              <a:off x="0" y="0"/>
              <a:ext cx="1025859" cy="1025859"/>
            </a:xfrm>
            <a:prstGeom prst="rect">
              <a:avLst/>
            </a:prstGeom>
            <a:solidFill>
              <a:srgbClr val="FFFFFF"/>
            </a:solidFill>
            <a:ln w="12700" cap="flat">
              <a:noFill/>
              <a:miter lim="400000"/>
            </a:ln>
            <a:effectLst/>
          </p:spPr>
          <p:txBody>
            <a:bodyPr wrap="square" lIns="50800" tIns="50800" rIns="50800" bIns="508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77" name="Shape 622"/>
            <p:cNvSpPr/>
            <p:nvPr/>
          </p:nvSpPr>
          <p:spPr>
            <a:xfrm rot="10800000">
              <a:off x="401490" y="322808"/>
              <a:ext cx="222878" cy="380243"/>
            </a:xfrm>
            <a:custGeom>
              <a:avLst/>
              <a:gdLst/>
              <a:ahLst/>
              <a:cxnLst>
                <a:cxn ang="0">
                  <a:pos x="wd2" y="hd2"/>
                </a:cxn>
                <a:cxn ang="5400000">
                  <a:pos x="wd2" y="hd2"/>
                </a:cxn>
                <a:cxn ang="10800000">
                  <a:pos x="wd2" y="hd2"/>
                </a:cxn>
                <a:cxn ang="16200000">
                  <a:pos x="wd2" y="hd2"/>
                </a:cxn>
              </a:cxnLst>
              <a:rect l="0" t="0" r="r" b="b"/>
              <a:pathLst>
                <a:path w="21183" h="21165" extrusionOk="0">
                  <a:moveTo>
                    <a:pt x="15065" y="577"/>
                  </a:moveTo>
                  <a:cubicBezTo>
                    <a:pt x="13764" y="1320"/>
                    <a:pt x="1039" y="9145"/>
                    <a:pt x="1039" y="9145"/>
                  </a:cubicBezTo>
                  <a:cubicBezTo>
                    <a:pt x="345" y="9541"/>
                    <a:pt x="0" y="10064"/>
                    <a:pt x="0" y="10582"/>
                  </a:cubicBezTo>
                  <a:cubicBezTo>
                    <a:pt x="0" y="11105"/>
                    <a:pt x="345" y="11623"/>
                    <a:pt x="1039" y="12019"/>
                  </a:cubicBezTo>
                  <a:cubicBezTo>
                    <a:pt x="1039" y="12019"/>
                    <a:pt x="13764" y="19844"/>
                    <a:pt x="15065" y="20587"/>
                  </a:cubicBezTo>
                  <a:cubicBezTo>
                    <a:pt x="16367" y="21334"/>
                    <a:pt x="18711" y="21382"/>
                    <a:pt x="20099" y="20587"/>
                  </a:cubicBezTo>
                  <a:cubicBezTo>
                    <a:pt x="21487" y="19796"/>
                    <a:pt x="21600" y="18689"/>
                    <a:pt x="20099" y="17713"/>
                  </a:cubicBezTo>
                  <a:lnTo>
                    <a:pt x="8425" y="10582"/>
                  </a:lnTo>
                  <a:lnTo>
                    <a:pt x="20099" y="3451"/>
                  </a:lnTo>
                  <a:cubicBezTo>
                    <a:pt x="21600" y="2480"/>
                    <a:pt x="21487" y="1373"/>
                    <a:pt x="20099" y="577"/>
                  </a:cubicBezTo>
                  <a:cubicBezTo>
                    <a:pt x="18711" y="-218"/>
                    <a:pt x="16367" y="-165"/>
                    <a:pt x="15065" y="577"/>
                  </a:cubicBezTo>
                  <a:close/>
                </a:path>
              </a:pathLst>
            </a:custGeom>
            <a:solidFill>
              <a:schemeClr val="accent4"/>
            </a:solidFill>
            <a:ln w="12700" cap="flat">
              <a:noFill/>
              <a:miter lim="400000"/>
            </a:ln>
            <a:effectLst/>
          </p:spPr>
          <p:txBody>
            <a:bodyPr wrap="square" lIns="38100" tIns="38100" rIns="38100" bIns="38100"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grpSp>
      <p:sp>
        <p:nvSpPr>
          <p:cNvPr id="83" name="Content Placeholder 20"/>
          <p:cNvSpPr>
            <a:spLocks noGrp="1"/>
          </p:cNvSpPr>
          <p:nvPr>
            <p:ph sz="quarter" idx="16"/>
          </p:nvPr>
        </p:nvSpPr>
        <p:spPr>
          <a:xfrm>
            <a:off x="2759889" y="2872114"/>
            <a:ext cx="1871281" cy="228600"/>
          </a:xfrm>
        </p:spPr>
        <p:txBody>
          <a:bodyPr lIns="0" tIns="0" rIns="0" bIns="0" anchor="ctr">
            <a:normAutofit/>
          </a:bodyPr>
          <a:lstStyle>
            <a:lvl1pPr marL="0" indent="0" algn="l">
              <a:buNone/>
              <a:defRPr sz="1200" b="1">
                <a:solidFill>
                  <a:schemeClr val="bg1"/>
                </a:solidFill>
                <a:latin typeface="Source Sans Pro Light"/>
              </a:defRPr>
            </a:lvl1pPr>
          </a:lstStyle>
          <a:p>
            <a:pPr lvl="0"/>
            <a:endParaRPr lang="en-GB" dirty="0"/>
          </a:p>
        </p:txBody>
      </p:sp>
      <p:sp>
        <p:nvSpPr>
          <p:cNvPr id="84" name="Text Placeholder 17"/>
          <p:cNvSpPr>
            <a:spLocks noGrp="1"/>
          </p:cNvSpPr>
          <p:nvPr>
            <p:ph type="body" sz="quarter" idx="21"/>
          </p:nvPr>
        </p:nvSpPr>
        <p:spPr>
          <a:xfrm>
            <a:off x="2759892" y="3176960"/>
            <a:ext cx="1923530" cy="1143000"/>
          </a:xfrm>
        </p:spPr>
        <p:txBody>
          <a:bodyPr lIns="0" tIns="0" rIns="0" bIns="0">
            <a:normAutofit/>
          </a:bodyPr>
          <a:lstStyle>
            <a:lvl1pPr marL="0" indent="0" algn="l">
              <a:lnSpc>
                <a:spcPts val="1500"/>
              </a:lnSpc>
              <a:spcBef>
                <a:spcPts val="1500"/>
              </a:spcBef>
              <a:buNone/>
              <a:defRPr sz="1000">
                <a:solidFill>
                  <a:schemeClr val="bg1"/>
                </a:solidFill>
                <a:latin typeface="Source Sans Pro Light"/>
              </a:defRPr>
            </a:lvl1pPr>
          </a:lstStyle>
          <a:p>
            <a:pPr lvl="0"/>
            <a:endParaRPr lang="en-US" dirty="0"/>
          </a:p>
        </p:txBody>
      </p:sp>
      <p:sp>
        <p:nvSpPr>
          <p:cNvPr id="85" name="Content Placeholder 20"/>
          <p:cNvSpPr>
            <a:spLocks noGrp="1"/>
          </p:cNvSpPr>
          <p:nvPr>
            <p:ph sz="quarter" idx="27"/>
          </p:nvPr>
        </p:nvSpPr>
        <p:spPr>
          <a:xfrm>
            <a:off x="7659033" y="2872114"/>
            <a:ext cx="1871281" cy="228600"/>
          </a:xfrm>
        </p:spPr>
        <p:txBody>
          <a:bodyPr lIns="0" tIns="0" rIns="0" bIns="0" anchor="ctr">
            <a:normAutofit/>
          </a:bodyPr>
          <a:lstStyle>
            <a:lvl1pPr marL="0" indent="0" algn="l">
              <a:buNone/>
              <a:defRPr sz="1200" b="1">
                <a:solidFill>
                  <a:schemeClr val="bg1"/>
                </a:solidFill>
                <a:latin typeface="Source Sans Pro Light"/>
              </a:defRPr>
            </a:lvl1pPr>
          </a:lstStyle>
          <a:p>
            <a:pPr lvl="0"/>
            <a:endParaRPr lang="en-GB" dirty="0"/>
          </a:p>
        </p:txBody>
      </p:sp>
      <p:sp>
        <p:nvSpPr>
          <p:cNvPr id="86" name="Text Placeholder 17"/>
          <p:cNvSpPr>
            <a:spLocks noGrp="1"/>
          </p:cNvSpPr>
          <p:nvPr>
            <p:ph type="body" sz="quarter" idx="28"/>
          </p:nvPr>
        </p:nvSpPr>
        <p:spPr>
          <a:xfrm>
            <a:off x="7659033" y="3176960"/>
            <a:ext cx="1923530" cy="1143000"/>
          </a:xfrm>
        </p:spPr>
        <p:txBody>
          <a:bodyPr lIns="0" tIns="0" rIns="0" bIns="0">
            <a:normAutofit/>
          </a:bodyPr>
          <a:lstStyle>
            <a:lvl1pPr marL="0" indent="0" algn="l">
              <a:lnSpc>
                <a:spcPts val="1500"/>
              </a:lnSpc>
              <a:spcBef>
                <a:spcPts val="1500"/>
              </a:spcBef>
              <a:buNone/>
              <a:defRPr sz="1000">
                <a:solidFill>
                  <a:schemeClr val="bg1"/>
                </a:solidFill>
                <a:latin typeface="Source Sans Pro Light"/>
              </a:defRPr>
            </a:lvl1pPr>
          </a:lstStyle>
          <a:p>
            <a:pPr lvl="0"/>
            <a:endParaRPr lang="en-US" dirty="0"/>
          </a:p>
        </p:txBody>
      </p:sp>
      <p:sp>
        <p:nvSpPr>
          <p:cNvPr id="87" name="Content Placeholder 20"/>
          <p:cNvSpPr>
            <a:spLocks noGrp="1"/>
          </p:cNvSpPr>
          <p:nvPr>
            <p:ph sz="quarter" idx="29"/>
          </p:nvPr>
        </p:nvSpPr>
        <p:spPr>
          <a:xfrm>
            <a:off x="10107107" y="5295853"/>
            <a:ext cx="1871281" cy="228600"/>
          </a:xfrm>
        </p:spPr>
        <p:txBody>
          <a:bodyPr lIns="0" tIns="0" rIns="0" bIns="0" anchor="ctr">
            <a:normAutofit/>
          </a:bodyPr>
          <a:lstStyle>
            <a:lvl1pPr marL="0" indent="0" algn="l">
              <a:buNone/>
              <a:defRPr sz="1200" b="1">
                <a:solidFill>
                  <a:schemeClr val="bg1"/>
                </a:solidFill>
                <a:latin typeface="Source Sans Pro Light"/>
              </a:defRPr>
            </a:lvl1pPr>
          </a:lstStyle>
          <a:p>
            <a:pPr lvl="0"/>
            <a:endParaRPr lang="en-GB" dirty="0"/>
          </a:p>
        </p:txBody>
      </p:sp>
      <p:sp>
        <p:nvSpPr>
          <p:cNvPr id="88" name="Text Placeholder 17"/>
          <p:cNvSpPr>
            <a:spLocks noGrp="1"/>
          </p:cNvSpPr>
          <p:nvPr>
            <p:ph type="body" sz="quarter" idx="30"/>
          </p:nvPr>
        </p:nvSpPr>
        <p:spPr>
          <a:xfrm>
            <a:off x="10107110" y="5600700"/>
            <a:ext cx="1923530" cy="1143000"/>
          </a:xfrm>
        </p:spPr>
        <p:txBody>
          <a:bodyPr lIns="0" tIns="0" rIns="0" bIns="0">
            <a:normAutofit/>
          </a:bodyPr>
          <a:lstStyle>
            <a:lvl1pPr marL="0" indent="0" algn="l">
              <a:lnSpc>
                <a:spcPts val="1500"/>
              </a:lnSpc>
              <a:spcBef>
                <a:spcPts val="1500"/>
              </a:spcBef>
              <a:buNone/>
              <a:defRPr sz="1000">
                <a:solidFill>
                  <a:schemeClr val="bg1"/>
                </a:solidFill>
                <a:latin typeface="Source Sans Pro Light"/>
              </a:defRPr>
            </a:lvl1pPr>
          </a:lstStyle>
          <a:p>
            <a:pPr lvl="0"/>
            <a:endParaRPr lang="en-US" dirty="0"/>
          </a:p>
        </p:txBody>
      </p:sp>
      <p:sp>
        <p:nvSpPr>
          <p:cNvPr id="89" name="Content Placeholder 20"/>
          <p:cNvSpPr>
            <a:spLocks noGrp="1"/>
          </p:cNvSpPr>
          <p:nvPr>
            <p:ph sz="quarter" idx="31"/>
          </p:nvPr>
        </p:nvSpPr>
        <p:spPr>
          <a:xfrm>
            <a:off x="308934" y="5295853"/>
            <a:ext cx="1871281" cy="228600"/>
          </a:xfrm>
        </p:spPr>
        <p:txBody>
          <a:bodyPr lIns="0" tIns="0" rIns="0" bIns="0" anchor="ctr">
            <a:normAutofit/>
          </a:bodyPr>
          <a:lstStyle>
            <a:lvl1pPr marL="0" indent="0" algn="l">
              <a:buNone/>
              <a:defRPr sz="1200" b="1">
                <a:solidFill>
                  <a:schemeClr val="bg1"/>
                </a:solidFill>
                <a:latin typeface="Source Sans Pro Light"/>
              </a:defRPr>
            </a:lvl1pPr>
          </a:lstStyle>
          <a:p>
            <a:pPr lvl="0"/>
            <a:endParaRPr lang="en-GB" dirty="0"/>
          </a:p>
        </p:txBody>
      </p:sp>
      <p:sp>
        <p:nvSpPr>
          <p:cNvPr id="90" name="Text Placeholder 17"/>
          <p:cNvSpPr>
            <a:spLocks noGrp="1"/>
          </p:cNvSpPr>
          <p:nvPr>
            <p:ph type="body" sz="quarter" idx="32"/>
          </p:nvPr>
        </p:nvSpPr>
        <p:spPr>
          <a:xfrm>
            <a:off x="308937" y="5600700"/>
            <a:ext cx="1923530" cy="1143000"/>
          </a:xfrm>
        </p:spPr>
        <p:txBody>
          <a:bodyPr lIns="0" tIns="0" rIns="0" bIns="0">
            <a:normAutofit/>
          </a:bodyPr>
          <a:lstStyle>
            <a:lvl1pPr marL="0" indent="0" algn="l">
              <a:lnSpc>
                <a:spcPts val="1500"/>
              </a:lnSpc>
              <a:spcBef>
                <a:spcPts val="1500"/>
              </a:spcBef>
              <a:buNone/>
              <a:defRPr sz="1000">
                <a:solidFill>
                  <a:schemeClr val="bg1"/>
                </a:solidFill>
                <a:latin typeface="Source Sans Pro Light"/>
              </a:defRPr>
            </a:lvl1pPr>
          </a:lstStyle>
          <a:p>
            <a:pPr lvl="0"/>
            <a:endParaRPr lang="en-US" dirty="0"/>
          </a:p>
        </p:txBody>
      </p:sp>
      <p:sp>
        <p:nvSpPr>
          <p:cNvPr id="91" name="Content Placeholder 20"/>
          <p:cNvSpPr>
            <a:spLocks noGrp="1"/>
          </p:cNvSpPr>
          <p:nvPr>
            <p:ph sz="quarter" idx="33"/>
          </p:nvPr>
        </p:nvSpPr>
        <p:spPr>
          <a:xfrm>
            <a:off x="5208078" y="5295853"/>
            <a:ext cx="1871281" cy="228600"/>
          </a:xfrm>
        </p:spPr>
        <p:txBody>
          <a:bodyPr lIns="0" tIns="0" rIns="0" bIns="0" anchor="ctr">
            <a:normAutofit/>
          </a:bodyPr>
          <a:lstStyle>
            <a:lvl1pPr marL="0" indent="0" algn="l">
              <a:buNone/>
              <a:defRPr sz="1200" b="1">
                <a:solidFill>
                  <a:schemeClr val="bg1"/>
                </a:solidFill>
                <a:latin typeface="Source Sans Pro Light"/>
              </a:defRPr>
            </a:lvl1pPr>
          </a:lstStyle>
          <a:p>
            <a:pPr lvl="0"/>
            <a:endParaRPr lang="en-GB" dirty="0"/>
          </a:p>
        </p:txBody>
      </p:sp>
      <p:sp>
        <p:nvSpPr>
          <p:cNvPr id="92" name="Text Placeholder 17"/>
          <p:cNvSpPr>
            <a:spLocks noGrp="1"/>
          </p:cNvSpPr>
          <p:nvPr>
            <p:ph type="body" sz="quarter" idx="34"/>
          </p:nvPr>
        </p:nvSpPr>
        <p:spPr>
          <a:xfrm>
            <a:off x="5208081" y="5600700"/>
            <a:ext cx="1923530" cy="1143000"/>
          </a:xfrm>
        </p:spPr>
        <p:txBody>
          <a:bodyPr lIns="0" tIns="0" rIns="0" bIns="0">
            <a:normAutofit/>
          </a:bodyPr>
          <a:lstStyle>
            <a:lvl1pPr marL="0" indent="0" algn="l">
              <a:lnSpc>
                <a:spcPts val="1500"/>
              </a:lnSpc>
              <a:spcBef>
                <a:spcPts val="1500"/>
              </a:spcBef>
              <a:buNone/>
              <a:defRPr sz="1000">
                <a:solidFill>
                  <a:schemeClr val="bg1"/>
                </a:solidFill>
                <a:latin typeface="Source Sans Pro Light"/>
              </a:defRPr>
            </a:lvl1pPr>
          </a:lstStyle>
          <a:p>
            <a:pPr lvl="0"/>
            <a:endParaRPr lang="en-US" dirty="0"/>
          </a:p>
        </p:txBody>
      </p:sp>
    </p:spTree>
    <p:extLst>
      <p:ext uri="{BB962C8B-B14F-4D97-AF65-F5344CB8AC3E}">
        <p14:creationId xmlns:p14="http://schemas.microsoft.com/office/powerpoint/2010/main" val="1224636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dissolve">
                                      <p:cBhvr>
                                        <p:cTn id="11" dur="500"/>
                                        <p:tgtEl>
                                          <p:spTgt spid="21">
                                            <p:txEl>
                                              <p:pRg st="0" end="0"/>
                                            </p:txEl>
                                          </p:spTgt>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par>
                          <p:cTn id="16" fill="hold">
                            <p:stCondLst>
                              <p:cond delay="1500"/>
                            </p:stCondLst>
                            <p:childTnLst>
                              <p:par>
                                <p:cTn id="17" presetID="9" presetClass="entr" presetSubtype="0"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dissolve">
                                      <p:cBhvr>
                                        <p:cTn id="19" dur="500"/>
                                        <p:tgtEl>
                                          <p:spTgt spid="2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83">
                                            <p:txEl>
                                              <p:pRg st="0" end="0"/>
                                            </p:txEl>
                                          </p:spTgt>
                                        </p:tgtEl>
                                        <p:attrNameLst>
                                          <p:attrName>style.visibility</p:attrName>
                                        </p:attrNameLst>
                                      </p:cBhvr>
                                      <p:to>
                                        <p:strVal val="visible"/>
                                      </p:to>
                                    </p:set>
                                    <p:animEffect transition="in" filter="fade">
                                      <p:cBhvr>
                                        <p:cTn id="27" dur="500"/>
                                        <p:tgtEl>
                                          <p:spTgt spid="83">
                                            <p:txEl>
                                              <p:pRg st="0" end="0"/>
                                            </p:txEl>
                                          </p:spTgt>
                                        </p:tgtEl>
                                      </p:cBhvr>
                                    </p:animEffect>
                                  </p:childTnLst>
                                </p:cTn>
                              </p:par>
                              <p:par>
                                <p:cTn id="28" presetID="10" presetClass="entr" presetSubtype="0" fill="hold" grpId="0" nodeType="withEffect" nodePh="1">
                                  <p:stCondLst>
                                    <p:cond delay="0"/>
                                  </p:stCondLst>
                                  <p:endCondLst>
                                    <p:cond evt="begin" delay="0">
                                      <p:tn val="28"/>
                                    </p:cond>
                                  </p:endCondLst>
                                  <p:childTnLst>
                                    <p:set>
                                      <p:cBhvr>
                                        <p:cTn id="29" dur="1" fill="hold">
                                          <p:stCondLst>
                                            <p:cond delay="0"/>
                                          </p:stCondLst>
                                        </p:cTn>
                                        <p:tgtEl>
                                          <p:spTgt spid="84">
                                            <p:txEl>
                                              <p:pRg st="0" end="0"/>
                                            </p:txEl>
                                          </p:spTgt>
                                        </p:tgtEl>
                                        <p:attrNameLst>
                                          <p:attrName>style.visibility</p:attrName>
                                        </p:attrNameLst>
                                      </p:cBhvr>
                                      <p:to>
                                        <p:strVal val="visible"/>
                                      </p:to>
                                    </p:set>
                                    <p:animEffect transition="in" filter="fade">
                                      <p:cBhvr>
                                        <p:cTn id="30" dur="500"/>
                                        <p:tgtEl>
                                          <p:spTgt spid="84">
                                            <p:txEl>
                                              <p:pRg st="0" end="0"/>
                                            </p:txEl>
                                          </p:spTgt>
                                        </p:tgtEl>
                                      </p:cBhvr>
                                    </p:animEffect>
                                  </p:childTnLst>
                                </p:cTn>
                              </p:par>
                            </p:childTnLst>
                          </p:cTn>
                        </p:par>
                        <p:par>
                          <p:cTn id="31" fill="hold">
                            <p:stCondLst>
                              <p:cond delay="3000"/>
                            </p:stCondLst>
                            <p:childTnLst>
                              <p:par>
                                <p:cTn id="32" presetID="10" presetClass="entr" presetSubtype="0" fill="hold" grpId="0" nodeType="afterEffect" nodePh="1">
                                  <p:stCondLst>
                                    <p:cond delay="0"/>
                                  </p:stCondLst>
                                  <p:endCondLst>
                                    <p:cond evt="begin" delay="0">
                                      <p:tn val="32"/>
                                    </p:cond>
                                  </p:endCondLst>
                                  <p:childTnLst>
                                    <p:set>
                                      <p:cBhvr>
                                        <p:cTn id="33" dur="1" fill="hold">
                                          <p:stCondLst>
                                            <p:cond delay="0"/>
                                          </p:stCondLst>
                                        </p:cTn>
                                        <p:tgtEl>
                                          <p:spTgt spid="79"/>
                                        </p:tgtEl>
                                        <p:attrNameLst>
                                          <p:attrName>style.visibility</p:attrName>
                                        </p:attrNameLst>
                                      </p:cBhvr>
                                      <p:to>
                                        <p:strVal val="visible"/>
                                      </p:to>
                                    </p:set>
                                    <p:animEffect transition="in" filter="fade">
                                      <p:cBhvr>
                                        <p:cTn id="34" dur="500"/>
                                        <p:tgtEl>
                                          <p:spTgt spid="79"/>
                                        </p:tgtEl>
                                      </p:cBhvr>
                                    </p:animEffect>
                                  </p:childTnLst>
                                </p:cTn>
                              </p:par>
                            </p:childTnLst>
                          </p:cTn>
                        </p:par>
                        <p:par>
                          <p:cTn id="35" fill="hold">
                            <p:stCondLst>
                              <p:cond delay="3500"/>
                            </p:stCondLst>
                            <p:childTnLst>
                              <p:par>
                                <p:cTn id="36" presetID="9" presetClass="entr" presetSubtype="0" fill="hold" grpId="0"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dissolve">
                                      <p:cBhvr>
                                        <p:cTn id="38" dur="500"/>
                                        <p:tgtEl>
                                          <p:spTgt spid="43"/>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4500"/>
                            </p:stCondLst>
                            <p:childTnLst>
                              <p:par>
                                <p:cTn id="44" presetID="10" presetClass="entr" presetSubtype="0" fill="hold" grpId="0" nodeType="afterEffect" nodePh="1">
                                  <p:stCondLst>
                                    <p:cond delay="0"/>
                                  </p:stCondLst>
                                  <p:endCondLst>
                                    <p:cond evt="begin" delay="0">
                                      <p:tn val="44"/>
                                    </p:cond>
                                  </p:endCondLst>
                                  <p:childTnLst>
                                    <p:set>
                                      <p:cBhvr>
                                        <p:cTn id="45" dur="1" fill="hold">
                                          <p:stCondLst>
                                            <p:cond delay="0"/>
                                          </p:stCondLst>
                                        </p:cTn>
                                        <p:tgtEl>
                                          <p:spTgt spid="85">
                                            <p:txEl>
                                              <p:pRg st="0" end="0"/>
                                            </p:txEl>
                                          </p:spTgt>
                                        </p:tgtEl>
                                        <p:attrNameLst>
                                          <p:attrName>style.visibility</p:attrName>
                                        </p:attrNameLst>
                                      </p:cBhvr>
                                      <p:to>
                                        <p:strVal val="visible"/>
                                      </p:to>
                                    </p:set>
                                    <p:animEffect transition="in" filter="fade">
                                      <p:cBhvr>
                                        <p:cTn id="46" dur="500"/>
                                        <p:tgtEl>
                                          <p:spTgt spid="85">
                                            <p:txEl>
                                              <p:pRg st="0" end="0"/>
                                            </p:txEl>
                                          </p:spTgt>
                                        </p:tgtEl>
                                      </p:cBhvr>
                                    </p:animEffect>
                                  </p:childTnLst>
                                </p:cTn>
                              </p:par>
                              <p:par>
                                <p:cTn id="47" presetID="10" presetClass="entr" presetSubtype="0" fill="hold" grpId="0" nodeType="withEffect" nodePh="1">
                                  <p:stCondLst>
                                    <p:cond delay="0"/>
                                  </p:stCondLst>
                                  <p:endCondLst>
                                    <p:cond evt="begin" delay="0">
                                      <p:tn val="47"/>
                                    </p:cond>
                                  </p:endCondLst>
                                  <p:childTnLst>
                                    <p:set>
                                      <p:cBhvr>
                                        <p:cTn id="48" dur="1" fill="hold">
                                          <p:stCondLst>
                                            <p:cond delay="0"/>
                                          </p:stCondLst>
                                        </p:cTn>
                                        <p:tgtEl>
                                          <p:spTgt spid="86">
                                            <p:txEl>
                                              <p:pRg st="0" end="0"/>
                                            </p:txEl>
                                          </p:spTgt>
                                        </p:tgtEl>
                                        <p:attrNameLst>
                                          <p:attrName>style.visibility</p:attrName>
                                        </p:attrNameLst>
                                      </p:cBhvr>
                                      <p:to>
                                        <p:strVal val="visible"/>
                                      </p:to>
                                    </p:set>
                                    <p:animEffect transition="in" filter="fade">
                                      <p:cBhvr>
                                        <p:cTn id="49" dur="500"/>
                                        <p:tgtEl>
                                          <p:spTgt spid="86">
                                            <p:txEl>
                                              <p:pRg st="0" end="0"/>
                                            </p:txEl>
                                          </p:spTgt>
                                        </p:tgtEl>
                                      </p:cBhvr>
                                    </p:animEffect>
                                  </p:childTnLst>
                                </p:cTn>
                              </p:par>
                            </p:childTnLst>
                          </p:cTn>
                        </p:par>
                        <p:par>
                          <p:cTn id="50" fill="hold">
                            <p:stCondLst>
                              <p:cond delay="5000"/>
                            </p:stCondLst>
                            <p:childTnLst>
                              <p:par>
                                <p:cTn id="51" presetID="10" presetClass="entr" presetSubtype="0" fill="hold" grpId="0" nodeType="afterEffect" nodePh="1">
                                  <p:stCondLst>
                                    <p:cond delay="0"/>
                                  </p:stCondLst>
                                  <p:endCondLst>
                                    <p:cond evt="begin" delay="0">
                                      <p:tn val="51"/>
                                    </p:cond>
                                  </p:endCondLst>
                                  <p:childTnLst>
                                    <p:set>
                                      <p:cBhvr>
                                        <p:cTn id="52" dur="1" fill="hold">
                                          <p:stCondLst>
                                            <p:cond delay="0"/>
                                          </p:stCondLst>
                                        </p:cTn>
                                        <p:tgtEl>
                                          <p:spTgt spid="80"/>
                                        </p:tgtEl>
                                        <p:attrNameLst>
                                          <p:attrName>style.visibility</p:attrName>
                                        </p:attrNameLst>
                                      </p:cBhvr>
                                      <p:to>
                                        <p:strVal val="visible"/>
                                      </p:to>
                                    </p:set>
                                    <p:animEffect transition="in" filter="fade">
                                      <p:cBhvr>
                                        <p:cTn id="53" dur="500"/>
                                        <p:tgtEl>
                                          <p:spTgt spid="80"/>
                                        </p:tgtEl>
                                      </p:cBhvr>
                                    </p:animEffect>
                                  </p:childTnLst>
                                </p:cTn>
                              </p:par>
                            </p:childTnLst>
                          </p:cTn>
                        </p:par>
                        <p:par>
                          <p:cTn id="54" fill="hold">
                            <p:stCondLst>
                              <p:cond delay="5500"/>
                            </p:stCondLst>
                            <p:childTnLst>
                              <p:par>
                                <p:cTn id="55" presetID="9" presetClass="entr" presetSubtype="0" fill="hold" grpId="0"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dissolve">
                                      <p:cBhvr>
                                        <p:cTn id="57" dur="500"/>
                                        <p:tgtEl>
                                          <p:spTgt spid="47"/>
                                        </p:tgtEl>
                                      </p:cBhvr>
                                    </p:animEffect>
                                  </p:childTnLst>
                                </p:cTn>
                              </p:par>
                            </p:childTnLst>
                          </p:cTn>
                        </p:par>
                        <p:par>
                          <p:cTn id="58" fill="hold">
                            <p:stCondLst>
                              <p:cond delay="6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6500"/>
                            </p:stCondLst>
                            <p:childTnLst>
                              <p:par>
                                <p:cTn id="63" presetID="10" presetClass="entr" presetSubtype="0" fill="hold" grpId="0" nodeType="afterEffect" nodePh="1">
                                  <p:stCondLst>
                                    <p:cond delay="0"/>
                                  </p:stCondLst>
                                  <p:endCondLst>
                                    <p:cond evt="begin" delay="0">
                                      <p:tn val="63"/>
                                    </p:cond>
                                  </p:endCondLst>
                                  <p:childTnLst>
                                    <p:set>
                                      <p:cBhvr>
                                        <p:cTn id="64" dur="1" fill="hold">
                                          <p:stCondLst>
                                            <p:cond delay="0"/>
                                          </p:stCondLst>
                                        </p:cTn>
                                        <p:tgtEl>
                                          <p:spTgt spid="87">
                                            <p:txEl>
                                              <p:pRg st="0" end="0"/>
                                            </p:txEl>
                                          </p:spTgt>
                                        </p:tgtEl>
                                        <p:attrNameLst>
                                          <p:attrName>style.visibility</p:attrName>
                                        </p:attrNameLst>
                                      </p:cBhvr>
                                      <p:to>
                                        <p:strVal val="visible"/>
                                      </p:to>
                                    </p:set>
                                    <p:animEffect transition="in" filter="fade">
                                      <p:cBhvr>
                                        <p:cTn id="65" dur="500"/>
                                        <p:tgtEl>
                                          <p:spTgt spid="87">
                                            <p:txEl>
                                              <p:pRg st="0" end="0"/>
                                            </p:txEl>
                                          </p:spTgt>
                                        </p:tgtEl>
                                      </p:cBhvr>
                                    </p:animEffect>
                                  </p:childTnLst>
                                </p:cTn>
                              </p:par>
                              <p:par>
                                <p:cTn id="66" presetID="10" presetClass="entr" presetSubtype="0" fill="hold" grpId="0" nodeType="withEffect" nodePh="1">
                                  <p:stCondLst>
                                    <p:cond delay="0"/>
                                  </p:stCondLst>
                                  <p:endCondLst>
                                    <p:cond evt="begin" delay="0">
                                      <p:tn val="66"/>
                                    </p:cond>
                                  </p:endCondLst>
                                  <p:childTnLst>
                                    <p:set>
                                      <p:cBhvr>
                                        <p:cTn id="67" dur="1" fill="hold">
                                          <p:stCondLst>
                                            <p:cond delay="0"/>
                                          </p:stCondLst>
                                        </p:cTn>
                                        <p:tgtEl>
                                          <p:spTgt spid="88">
                                            <p:txEl>
                                              <p:pRg st="0" end="0"/>
                                            </p:txEl>
                                          </p:spTgt>
                                        </p:tgtEl>
                                        <p:attrNameLst>
                                          <p:attrName>style.visibility</p:attrName>
                                        </p:attrNameLst>
                                      </p:cBhvr>
                                      <p:to>
                                        <p:strVal val="visible"/>
                                      </p:to>
                                    </p:set>
                                    <p:animEffect transition="in" filter="fade">
                                      <p:cBhvr>
                                        <p:cTn id="68" dur="500"/>
                                        <p:tgtEl>
                                          <p:spTgt spid="88">
                                            <p:txEl>
                                              <p:pRg st="0" end="0"/>
                                            </p:txEl>
                                          </p:spTgt>
                                        </p:tgtEl>
                                      </p:cBhvr>
                                    </p:animEffect>
                                  </p:childTnLst>
                                </p:cTn>
                              </p:par>
                            </p:childTnLst>
                          </p:cTn>
                        </p:par>
                        <p:par>
                          <p:cTn id="69" fill="hold">
                            <p:stCondLst>
                              <p:cond delay="7000"/>
                            </p:stCondLst>
                            <p:childTnLst>
                              <p:par>
                                <p:cTn id="70" presetID="10" presetClass="entr" presetSubtype="0" fill="hold" grpId="0" nodeType="afterEffect" nodePh="1">
                                  <p:stCondLst>
                                    <p:cond delay="0"/>
                                  </p:stCondLst>
                                  <p:endCondLst>
                                    <p:cond evt="begin" delay="0">
                                      <p:tn val="70"/>
                                    </p:cond>
                                  </p:endCondLst>
                                  <p:childTnLst>
                                    <p:set>
                                      <p:cBhvr>
                                        <p:cTn id="71" dur="1" fill="hold">
                                          <p:stCondLst>
                                            <p:cond delay="0"/>
                                          </p:stCondLst>
                                        </p:cTn>
                                        <p:tgtEl>
                                          <p:spTgt spid="81"/>
                                        </p:tgtEl>
                                        <p:attrNameLst>
                                          <p:attrName>style.visibility</p:attrName>
                                        </p:attrNameLst>
                                      </p:cBhvr>
                                      <p:to>
                                        <p:strVal val="visible"/>
                                      </p:to>
                                    </p:set>
                                    <p:animEffect transition="in" filter="fade">
                                      <p:cBhvr>
                                        <p:cTn id="72" dur="500"/>
                                        <p:tgtEl>
                                          <p:spTgt spid="81"/>
                                        </p:tgtEl>
                                      </p:cBhvr>
                                    </p:animEffect>
                                  </p:childTnLst>
                                </p:cTn>
                              </p:par>
                            </p:childTnLst>
                          </p:cTn>
                        </p:par>
                        <p:par>
                          <p:cTn id="73" fill="hold">
                            <p:stCondLst>
                              <p:cond delay="7500"/>
                            </p:stCondLst>
                            <p:childTnLst>
                              <p:par>
                                <p:cTn id="74" presetID="9" presetClass="entr" presetSubtype="0" fill="hold" grpId="0" nodeType="after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dissolve">
                                      <p:cBhvr>
                                        <p:cTn id="76" dur="500"/>
                                        <p:tgtEl>
                                          <p:spTgt spid="45"/>
                                        </p:tgtEl>
                                      </p:cBhvr>
                                    </p:animEffect>
                                  </p:childTnLst>
                                </p:cTn>
                              </p:par>
                            </p:childTnLst>
                          </p:cTn>
                        </p:par>
                        <p:par>
                          <p:cTn id="77" fill="hold">
                            <p:stCondLst>
                              <p:cond delay="8000"/>
                            </p:stCondLst>
                            <p:childTnLst>
                              <p:par>
                                <p:cTn id="78" presetID="10" presetClass="entr" presetSubtype="0" fill="hold" nodeType="afterEffect">
                                  <p:stCondLst>
                                    <p:cond delay="0"/>
                                  </p:stCondLst>
                                  <p:childTnLst>
                                    <p:set>
                                      <p:cBhvr>
                                        <p:cTn id="79" dur="1" fill="hold">
                                          <p:stCondLst>
                                            <p:cond delay="0"/>
                                          </p:stCondLst>
                                        </p:cTn>
                                        <p:tgtEl>
                                          <p:spTgt spid="6"/>
                                        </p:tgtEl>
                                        <p:attrNameLst>
                                          <p:attrName>style.visibility</p:attrName>
                                        </p:attrNameLst>
                                      </p:cBhvr>
                                      <p:to>
                                        <p:strVal val="visible"/>
                                      </p:to>
                                    </p:set>
                                    <p:animEffect transition="in" filter="fade">
                                      <p:cBhvr>
                                        <p:cTn id="80" dur="500"/>
                                        <p:tgtEl>
                                          <p:spTgt spid="6"/>
                                        </p:tgtEl>
                                      </p:cBhvr>
                                    </p:animEffect>
                                  </p:childTnLst>
                                </p:cTn>
                              </p:par>
                            </p:childTnLst>
                          </p:cTn>
                        </p:par>
                        <p:par>
                          <p:cTn id="81" fill="hold">
                            <p:stCondLst>
                              <p:cond delay="8500"/>
                            </p:stCondLst>
                            <p:childTnLst>
                              <p:par>
                                <p:cTn id="82" presetID="10" presetClass="entr" presetSubtype="0" fill="hold" grpId="0" nodeType="afterEffect" nodePh="1">
                                  <p:stCondLst>
                                    <p:cond delay="0"/>
                                  </p:stCondLst>
                                  <p:endCondLst>
                                    <p:cond evt="begin" delay="0">
                                      <p:tn val="82"/>
                                    </p:cond>
                                  </p:endCondLst>
                                  <p:childTnLst>
                                    <p:set>
                                      <p:cBhvr>
                                        <p:cTn id="83" dur="1" fill="hold">
                                          <p:stCondLst>
                                            <p:cond delay="0"/>
                                          </p:stCondLst>
                                        </p:cTn>
                                        <p:tgtEl>
                                          <p:spTgt spid="91">
                                            <p:txEl>
                                              <p:pRg st="0" end="0"/>
                                            </p:txEl>
                                          </p:spTgt>
                                        </p:tgtEl>
                                        <p:attrNameLst>
                                          <p:attrName>style.visibility</p:attrName>
                                        </p:attrNameLst>
                                      </p:cBhvr>
                                      <p:to>
                                        <p:strVal val="visible"/>
                                      </p:to>
                                    </p:set>
                                    <p:animEffect transition="in" filter="fade">
                                      <p:cBhvr>
                                        <p:cTn id="84" dur="500"/>
                                        <p:tgtEl>
                                          <p:spTgt spid="91">
                                            <p:txEl>
                                              <p:pRg st="0" end="0"/>
                                            </p:txEl>
                                          </p:spTgt>
                                        </p:tgtEl>
                                      </p:cBhvr>
                                    </p:animEffect>
                                  </p:childTnLst>
                                </p:cTn>
                              </p:par>
                              <p:par>
                                <p:cTn id="85" presetID="10" presetClass="entr" presetSubtype="0" fill="hold" grpId="0" nodeType="withEffect" nodePh="1">
                                  <p:stCondLst>
                                    <p:cond delay="0"/>
                                  </p:stCondLst>
                                  <p:endCondLst>
                                    <p:cond evt="begin" delay="0">
                                      <p:tn val="85"/>
                                    </p:cond>
                                  </p:endCondLst>
                                  <p:childTnLst>
                                    <p:set>
                                      <p:cBhvr>
                                        <p:cTn id="86" dur="1" fill="hold">
                                          <p:stCondLst>
                                            <p:cond delay="0"/>
                                          </p:stCondLst>
                                        </p:cTn>
                                        <p:tgtEl>
                                          <p:spTgt spid="92">
                                            <p:txEl>
                                              <p:pRg st="0" end="0"/>
                                            </p:txEl>
                                          </p:spTgt>
                                        </p:tgtEl>
                                        <p:attrNameLst>
                                          <p:attrName>style.visibility</p:attrName>
                                        </p:attrNameLst>
                                      </p:cBhvr>
                                      <p:to>
                                        <p:strVal val="visible"/>
                                      </p:to>
                                    </p:set>
                                    <p:animEffect transition="in" filter="fade">
                                      <p:cBhvr>
                                        <p:cTn id="87" dur="500"/>
                                        <p:tgtEl>
                                          <p:spTgt spid="92">
                                            <p:txEl>
                                              <p:pRg st="0" end="0"/>
                                            </p:txEl>
                                          </p:spTgt>
                                        </p:tgtEl>
                                      </p:cBhvr>
                                    </p:animEffect>
                                  </p:childTnLst>
                                </p:cTn>
                              </p:par>
                            </p:childTnLst>
                          </p:cTn>
                        </p:par>
                        <p:par>
                          <p:cTn id="88" fill="hold">
                            <p:stCondLst>
                              <p:cond delay="9000"/>
                            </p:stCondLst>
                            <p:childTnLst>
                              <p:par>
                                <p:cTn id="89" presetID="10" presetClass="entr" presetSubtype="0" fill="hold" grpId="0" nodeType="afterEffect" nodePh="1">
                                  <p:stCondLst>
                                    <p:cond delay="0"/>
                                  </p:stCondLst>
                                  <p:endCondLst>
                                    <p:cond evt="begin" delay="0">
                                      <p:tn val="89"/>
                                    </p:cond>
                                  </p:endCondLst>
                                  <p:childTnLst>
                                    <p:set>
                                      <p:cBhvr>
                                        <p:cTn id="90" dur="1" fill="hold">
                                          <p:stCondLst>
                                            <p:cond delay="0"/>
                                          </p:stCondLst>
                                        </p:cTn>
                                        <p:tgtEl>
                                          <p:spTgt spid="82"/>
                                        </p:tgtEl>
                                        <p:attrNameLst>
                                          <p:attrName>style.visibility</p:attrName>
                                        </p:attrNameLst>
                                      </p:cBhvr>
                                      <p:to>
                                        <p:strVal val="visible"/>
                                      </p:to>
                                    </p:set>
                                    <p:animEffect transition="in" filter="fade">
                                      <p:cBhvr>
                                        <p:cTn id="91" dur="500"/>
                                        <p:tgtEl>
                                          <p:spTgt spid="82"/>
                                        </p:tgtEl>
                                      </p:cBhvr>
                                    </p:animEffect>
                                  </p:childTnLst>
                                </p:cTn>
                              </p:par>
                            </p:childTnLst>
                          </p:cTn>
                        </p:par>
                        <p:par>
                          <p:cTn id="92" fill="hold">
                            <p:stCondLst>
                              <p:cond delay="9500"/>
                            </p:stCondLst>
                            <p:childTnLst>
                              <p:par>
                                <p:cTn id="93" presetID="9" presetClass="entr" presetSubtype="0" fill="hold" grpId="0" nodeType="afterEffect">
                                  <p:stCondLst>
                                    <p:cond delay="0"/>
                                  </p:stCondLst>
                                  <p:childTnLst>
                                    <p:set>
                                      <p:cBhvr>
                                        <p:cTn id="94" dur="1" fill="hold">
                                          <p:stCondLst>
                                            <p:cond delay="0"/>
                                          </p:stCondLst>
                                        </p:cTn>
                                        <p:tgtEl>
                                          <p:spTgt spid="41"/>
                                        </p:tgtEl>
                                        <p:attrNameLst>
                                          <p:attrName>style.visibility</p:attrName>
                                        </p:attrNameLst>
                                      </p:cBhvr>
                                      <p:to>
                                        <p:strVal val="visible"/>
                                      </p:to>
                                    </p:set>
                                    <p:animEffect transition="in" filter="dissolve">
                                      <p:cBhvr>
                                        <p:cTn id="95" dur="500"/>
                                        <p:tgtEl>
                                          <p:spTgt spid="41"/>
                                        </p:tgtEl>
                                      </p:cBhvr>
                                    </p:animEffect>
                                  </p:childTnLst>
                                </p:cTn>
                              </p:par>
                            </p:childTnLst>
                          </p:cTn>
                        </p:par>
                        <p:par>
                          <p:cTn id="96" fill="hold">
                            <p:stCondLst>
                              <p:cond delay="10000"/>
                            </p:stCondLst>
                            <p:childTnLst>
                              <p:par>
                                <p:cTn id="97" presetID="10" presetClass="entr" presetSubtype="0" fill="hold" nodeType="afterEffect">
                                  <p:stCondLst>
                                    <p:cond delay="0"/>
                                  </p:stCondLst>
                                  <p:childTnLst>
                                    <p:set>
                                      <p:cBhvr>
                                        <p:cTn id="98" dur="1" fill="hold">
                                          <p:stCondLst>
                                            <p:cond delay="0"/>
                                          </p:stCondLst>
                                        </p:cTn>
                                        <p:tgtEl>
                                          <p:spTgt spid="7"/>
                                        </p:tgtEl>
                                        <p:attrNameLst>
                                          <p:attrName>style.visibility</p:attrName>
                                        </p:attrNameLst>
                                      </p:cBhvr>
                                      <p:to>
                                        <p:strVal val="visible"/>
                                      </p:to>
                                    </p:set>
                                    <p:animEffect transition="in" filter="fade">
                                      <p:cBhvr>
                                        <p:cTn id="99" dur="500"/>
                                        <p:tgtEl>
                                          <p:spTgt spid="7"/>
                                        </p:tgtEl>
                                      </p:cBhvr>
                                    </p:animEffect>
                                  </p:childTnLst>
                                </p:cTn>
                              </p:par>
                            </p:childTnLst>
                          </p:cTn>
                        </p:par>
                        <p:par>
                          <p:cTn id="100" fill="hold">
                            <p:stCondLst>
                              <p:cond delay="10500"/>
                            </p:stCondLst>
                            <p:childTnLst>
                              <p:par>
                                <p:cTn id="101" presetID="10" presetClass="entr" presetSubtype="0" fill="hold" grpId="0" nodeType="afterEffect" nodePh="1">
                                  <p:stCondLst>
                                    <p:cond delay="0"/>
                                  </p:stCondLst>
                                  <p:endCondLst>
                                    <p:cond evt="begin" delay="0">
                                      <p:tn val="101"/>
                                    </p:cond>
                                  </p:endCondLst>
                                  <p:childTnLst>
                                    <p:set>
                                      <p:cBhvr>
                                        <p:cTn id="102" dur="1" fill="hold">
                                          <p:stCondLst>
                                            <p:cond delay="0"/>
                                          </p:stCondLst>
                                        </p:cTn>
                                        <p:tgtEl>
                                          <p:spTgt spid="89">
                                            <p:txEl>
                                              <p:pRg st="0" end="0"/>
                                            </p:txEl>
                                          </p:spTgt>
                                        </p:tgtEl>
                                        <p:attrNameLst>
                                          <p:attrName>style.visibility</p:attrName>
                                        </p:attrNameLst>
                                      </p:cBhvr>
                                      <p:to>
                                        <p:strVal val="visible"/>
                                      </p:to>
                                    </p:set>
                                    <p:animEffect transition="in" filter="fade">
                                      <p:cBhvr>
                                        <p:cTn id="103" dur="500"/>
                                        <p:tgtEl>
                                          <p:spTgt spid="89">
                                            <p:txEl>
                                              <p:pRg st="0" end="0"/>
                                            </p:txEl>
                                          </p:spTgt>
                                        </p:tgtEl>
                                      </p:cBhvr>
                                    </p:animEffect>
                                  </p:childTnLst>
                                </p:cTn>
                              </p:par>
                              <p:par>
                                <p:cTn id="104" presetID="10" presetClass="entr" presetSubtype="0" fill="hold" grpId="0" nodeType="withEffect" nodePh="1">
                                  <p:stCondLst>
                                    <p:cond delay="0"/>
                                  </p:stCondLst>
                                  <p:endCondLst>
                                    <p:cond evt="begin" delay="0">
                                      <p:tn val="104"/>
                                    </p:cond>
                                  </p:endCondLst>
                                  <p:childTnLst>
                                    <p:set>
                                      <p:cBhvr>
                                        <p:cTn id="105" dur="1" fill="hold">
                                          <p:stCondLst>
                                            <p:cond delay="0"/>
                                          </p:stCondLst>
                                        </p:cTn>
                                        <p:tgtEl>
                                          <p:spTgt spid="90">
                                            <p:txEl>
                                              <p:pRg st="0" end="0"/>
                                            </p:txEl>
                                          </p:spTgt>
                                        </p:tgtEl>
                                        <p:attrNameLst>
                                          <p:attrName>style.visibility</p:attrName>
                                        </p:attrNameLst>
                                      </p:cBhvr>
                                      <p:to>
                                        <p:strVal val="visible"/>
                                      </p:to>
                                    </p:set>
                                    <p:animEffect transition="in" filter="fade">
                                      <p:cBhvr>
                                        <p:cTn id="106" dur="500"/>
                                        <p:tgtEl>
                                          <p:spTgt spid="9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9" grpId="0"/>
      <p:bldP spid="80" grpId="0"/>
      <p:bldP spid="81" grpId="0"/>
      <p:bldP spid="82" grpId="0"/>
      <p:bldP spid="16" grpId="0"/>
      <p:bldP spid="21" grpId="0" build="p">
        <p:tmplLst>
          <p:tmpl lvl="1">
            <p:tnLst>
              <p:par>
                <p:cTn presetID="9"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dissolve">
                      <p:cBhvr>
                        <p:cTn dur="500"/>
                        <p:tgtEl>
                          <p:spTgt spid="21"/>
                        </p:tgtEl>
                      </p:cBhvr>
                    </p:animEffect>
                  </p:childTnLst>
                </p:cTn>
              </p:par>
            </p:tnLst>
          </p:tmpl>
        </p:tmplLst>
      </p:bldP>
      <p:bldP spid="23" grpId="0" animBg="1"/>
      <p:bldP spid="41" grpId="0" animBg="1"/>
      <p:bldP spid="43" grpId="0" animBg="1"/>
      <p:bldP spid="45" grpId="0" animBg="1"/>
      <p:bldP spid="47" grpId="0" animBg="1"/>
      <p:bldP spid="83"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84"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84"/>
                        </p:tgtEl>
                        <p:attrNameLst>
                          <p:attrName>style.visibility</p:attrName>
                        </p:attrNameLst>
                      </p:cBhvr>
                      <p:to>
                        <p:strVal val="visible"/>
                      </p:to>
                    </p:set>
                    <p:animEffect transition="in" filter="fade">
                      <p:cBhvr>
                        <p:cTn dur="500"/>
                        <p:tgtEl>
                          <p:spTgt spid="84"/>
                        </p:tgtEl>
                      </p:cBhvr>
                    </p:animEffect>
                  </p:childTnLst>
                </p:cTn>
              </p:par>
            </p:tnLst>
          </p:tmpl>
        </p:tmplLst>
      </p:bldP>
      <p:bldP spid="85"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85"/>
                        </p:tgtEl>
                        <p:attrNameLst>
                          <p:attrName>style.visibility</p:attrName>
                        </p:attrNameLst>
                      </p:cBhvr>
                      <p:to>
                        <p:strVal val="visible"/>
                      </p:to>
                    </p:set>
                    <p:animEffect transition="in" filter="fade">
                      <p:cBhvr>
                        <p:cTn dur="500"/>
                        <p:tgtEl>
                          <p:spTgt spid="85"/>
                        </p:tgtEl>
                      </p:cBhvr>
                    </p:animEffect>
                  </p:childTnLst>
                </p:cTn>
              </p:par>
            </p:tnLst>
          </p:tmpl>
        </p:tmplLst>
      </p:bldP>
      <p:bldP spid="86"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86"/>
                        </p:tgtEl>
                        <p:attrNameLst>
                          <p:attrName>style.visibility</p:attrName>
                        </p:attrNameLst>
                      </p:cBhvr>
                      <p:to>
                        <p:strVal val="visible"/>
                      </p:to>
                    </p:set>
                    <p:animEffect transition="in" filter="fade">
                      <p:cBhvr>
                        <p:cTn dur="500"/>
                        <p:tgtEl>
                          <p:spTgt spid="86"/>
                        </p:tgtEl>
                      </p:cBhvr>
                    </p:animEffect>
                  </p:childTnLst>
                </p:cTn>
              </p:par>
            </p:tnLst>
          </p:tmpl>
        </p:tmplLst>
      </p:bldP>
      <p:bldP spid="87"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87"/>
                        </p:tgtEl>
                        <p:attrNameLst>
                          <p:attrName>style.visibility</p:attrName>
                        </p:attrNameLst>
                      </p:cBhvr>
                      <p:to>
                        <p:strVal val="visible"/>
                      </p:to>
                    </p:set>
                    <p:animEffect transition="in" filter="fade">
                      <p:cBhvr>
                        <p:cTn dur="500"/>
                        <p:tgtEl>
                          <p:spTgt spid="87"/>
                        </p:tgtEl>
                      </p:cBhvr>
                    </p:animEffect>
                  </p:childTnLst>
                </p:cTn>
              </p:par>
            </p:tnLst>
          </p:tmpl>
        </p:tmplLst>
      </p:bldP>
      <p:bldP spid="88"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88"/>
                        </p:tgtEl>
                        <p:attrNameLst>
                          <p:attrName>style.visibility</p:attrName>
                        </p:attrNameLst>
                      </p:cBhvr>
                      <p:to>
                        <p:strVal val="visible"/>
                      </p:to>
                    </p:set>
                    <p:animEffect transition="in" filter="fade">
                      <p:cBhvr>
                        <p:cTn dur="500"/>
                        <p:tgtEl>
                          <p:spTgt spid="88"/>
                        </p:tgtEl>
                      </p:cBhvr>
                    </p:animEffect>
                  </p:childTnLst>
                </p:cTn>
              </p:par>
            </p:tnLst>
          </p:tmpl>
        </p:tmplLst>
      </p:bldP>
      <p:bldP spid="89"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89"/>
                        </p:tgtEl>
                        <p:attrNameLst>
                          <p:attrName>style.visibility</p:attrName>
                        </p:attrNameLst>
                      </p:cBhvr>
                      <p:to>
                        <p:strVal val="visible"/>
                      </p:to>
                    </p:set>
                    <p:animEffect transition="in" filter="fade">
                      <p:cBhvr>
                        <p:cTn dur="500"/>
                        <p:tgtEl>
                          <p:spTgt spid="89"/>
                        </p:tgtEl>
                      </p:cBhvr>
                    </p:animEffect>
                  </p:childTnLst>
                </p:cTn>
              </p:par>
            </p:tnLst>
          </p:tmpl>
        </p:tmplLst>
      </p:bldP>
      <p:bldP spid="90"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90"/>
                        </p:tgtEl>
                        <p:attrNameLst>
                          <p:attrName>style.visibility</p:attrName>
                        </p:attrNameLst>
                      </p:cBhvr>
                      <p:to>
                        <p:strVal val="visible"/>
                      </p:to>
                    </p:set>
                    <p:animEffect transition="in" filter="fade">
                      <p:cBhvr>
                        <p:cTn dur="500"/>
                        <p:tgtEl>
                          <p:spTgt spid="90"/>
                        </p:tgtEl>
                      </p:cBhvr>
                    </p:animEffect>
                  </p:childTnLst>
                </p:cTn>
              </p:par>
            </p:tnLst>
          </p:tmpl>
        </p:tmplLst>
      </p:bldP>
      <p:bldP spid="91" grpId="0" build="p">
        <p:tmplLst>
          <p:tmpl lvl="1">
            <p:tnLst>
              <p:par>
                <p:cTn presetID="10" presetClass="entr" presetSubtype="0" fill="hold" nodeType="afterEffect" nodePh="1">
                  <p:stCondLst>
                    <p:cond delay="0"/>
                  </p:stCondLst>
                  <p:endCondLst>
                    <p:cond delay="0"/>
                  </p:endCondLst>
                  <p:childTnLst>
                    <p:set>
                      <p:cBhvr>
                        <p:cTn dur="1" fill="hold">
                          <p:stCondLst>
                            <p:cond delay="0"/>
                          </p:stCondLst>
                        </p:cTn>
                        <p:tgtEl>
                          <p:spTgt spid="91"/>
                        </p:tgtEl>
                        <p:attrNameLst>
                          <p:attrName>style.visibility</p:attrName>
                        </p:attrNameLst>
                      </p:cBhvr>
                      <p:to>
                        <p:strVal val="visible"/>
                      </p:to>
                    </p:set>
                    <p:animEffect transition="in" filter="fade">
                      <p:cBhvr>
                        <p:cTn dur="500"/>
                        <p:tgtEl>
                          <p:spTgt spid="91"/>
                        </p:tgtEl>
                      </p:cBhvr>
                    </p:animEffect>
                  </p:childTnLst>
                </p:cTn>
              </p:par>
            </p:tnLst>
          </p:tmpl>
        </p:tmplLst>
      </p:bldP>
      <p:bldP spid="92"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92"/>
                        </p:tgtEl>
                        <p:attrNameLst>
                          <p:attrName>style.visibility</p:attrName>
                        </p:attrNameLst>
                      </p:cBhvr>
                      <p:to>
                        <p:strVal val="visible"/>
                      </p:to>
                    </p:set>
                    <p:animEffect transition="in" filter="fade">
                      <p:cBhvr>
                        <p:cTn dur="500"/>
                        <p:tgtEl>
                          <p:spTgt spid="92"/>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ptop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41171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5865813" y="0"/>
            <a:ext cx="6323012" cy="6858000"/>
          </a:xfrm>
        </p:spPr>
        <p:txBody>
          <a:bodyPr/>
          <a:lstStyle/>
          <a:p>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9" name="Picture Placeholder 11"/>
          <p:cNvSpPr>
            <a:spLocks noGrp="1"/>
          </p:cNvSpPr>
          <p:nvPr>
            <p:ph type="pic" sz="quarter" idx="13"/>
          </p:nvPr>
        </p:nvSpPr>
        <p:spPr>
          <a:xfrm>
            <a:off x="8827662" y="4442692"/>
            <a:ext cx="2576274" cy="1699491"/>
          </a:xfrm>
        </p:spPr>
        <p:txBody>
          <a:bodyPr/>
          <a:lstStyle/>
          <a:p>
            <a:endParaRPr lang="en-US"/>
          </a:p>
        </p:txBody>
      </p:sp>
      <p:sp>
        <p:nvSpPr>
          <p:cNvPr id="12" name="Picture Placeholder 11"/>
          <p:cNvSpPr>
            <a:spLocks noGrp="1"/>
          </p:cNvSpPr>
          <p:nvPr>
            <p:ph type="pic" sz="quarter" idx="10"/>
          </p:nvPr>
        </p:nvSpPr>
        <p:spPr>
          <a:xfrm>
            <a:off x="6085176" y="811572"/>
            <a:ext cx="2576274" cy="1699491"/>
          </a:xfrm>
        </p:spPr>
        <p:txBody>
          <a:bodyPr/>
          <a:lstStyle/>
          <a:p>
            <a:endParaRPr lang="en-US"/>
          </a:p>
        </p:txBody>
      </p:sp>
      <p:sp>
        <p:nvSpPr>
          <p:cNvPr id="15" name="Picture Placeholder 14"/>
          <p:cNvSpPr>
            <a:spLocks noGrp="1"/>
          </p:cNvSpPr>
          <p:nvPr>
            <p:ph type="pic" sz="quarter" idx="11"/>
          </p:nvPr>
        </p:nvSpPr>
        <p:spPr>
          <a:xfrm>
            <a:off x="6085175" y="2689197"/>
            <a:ext cx="2576274" cy="3452985"/>
          </a:xfrm>
        </p:spPr>
        <p:txBody>
          <a:bodyPr/>
          <a:lstStyle/>
          <a:p>
            <a:endParaRPr lang="en-US"/>
          </a:p>
        </p:txBody>
      </p:sp>
      <p:sp>
        <p:nvSpPr>
          <p:cNvPr id="18" name="Picture Placeholder 14"/>
          <p:cNvSpPr>
            <a:spLocks noGrp="1"/>
          </p:cNvSpPr>
          <p:nvPr>
            <p:ph type="pic" sz="quarter" idx="12"/>
          </p:nvPr>
        </p:nvSpPr>
        <p:spPr>
          <a:xfrm>
            <a:off x="8827663" y="811572"/>
            <a:ext cx="2576274" cy="3452985"/>
          </a:xfrm>
        </p:spPr>
        <p:txBody>
          <a:bodyPr/>
          <a:lstStyle/>
          <a:p>
            <a:endParaRPr lang="en-US"/>
          </a:p>
        </p:txBody>
      </p:sp>
    </p:spTree>
    <p:extLst>
      <p:ext uri="{BB962C8B-B14F-4D97-AF65-F5344CB8AC3E}">
        <p14:creationId xmlns:p14="http://schemas.microsoft.com/office/powerpoint/2010/main" val="1502798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ortfolio 4">
    <p:spTree>
      <p:nvGrpSpPr>
        <p:cNvPr id="1" name=""/>
        <p:cNvGrpSpPr/>
        <p:nvPr/>
      </p:nvGrpSpPr>
      <p:grpSpPr>
        <a:xfrm>
          <a:off x="0" y="0"/>
          <a:ext cx="0" cy="0"/>
          <a:chOff x="0" y="0"/>
          <a:chExt cx="0" cy="0"/>
        </a:xfrm>
      </p:grpSpPr>
      <p:sp>
        <p:nvSpPr>
          <p:cNvPr id="15" name="Picture Placeholder 13"/>
          <p:cNvSpPr>
            <a:spLocks noGrp="1"/>
          </p:cNvSpPr>
          <p:nvPr>
            <p:ph type="pic" sz="quarter" idx="11"/>
          </p:nvPr>
        </p:nvSpPr>
        <p:spPr>
          <a:xfrm>
            <a:off x="3757374" y="1699657"/>
            <a:ext cx="2286000" cy="2286000"/>
          </a:xfrm>
          <a:effectLst/>
        </p:spPr>
        <p:txBody>
          <a:bodyPr>
            <a:normAutofit/>
          </a:bodyPr>
          <a:lstStyle>
            <a:lvl1pPr marL="0" indent="0">
              <a:buNone/>
              <a:defRPr sz="2100">
                <a:ln>
                  <a:noFill/>
                </a:ln>
                <a:solidFill>
                  <a:schemeClr val="bg1">
                    <a:lumMod val="85000"/>
                  </a:schemeClr>
                </a:solidFill>
              </a:defRPr>
            </a:lvl1pPr>
          </a:lstStyle>
          <a:p>
            <a:endParaRPr lang="en-US"/>
          </a:p>
        </p:txBody>
      </p:sp>
      <p:sp>
        <p:nvSpPr>
          <p:cNvPr id="17" name="Picture Placeholder 13"/>
          <p:cNvSpPr>
            <a:spLocks noGrp="1"/>
          </p:cNvSpPr>
          <p:nvPr>
            <p:ph type="pic" sz="quarter" idx="13"/>
          </p:nvPr>
        </p:nvSpPr>
        <p:spPr>
          <a:xfrm>
            <a:off x="6168111" y="1709920"/>
            <a:ext cx="4693944" cy="4690877"/>
          </a:xfrm>
          <a:effectLst/>
        </p:spPr>
        <p:txBody>
          <a:bodyPr>
            <a:normAutofit/>
          </a:bodyPr>
          <a:lstStyle>
            <a:lvl1pPr marL="0" indent="0">
              <a:buNone/>
              <a:defRPr sz="2100">
                <a:ln>
                  <a:noFill/>
                </a:ln>
                <a:solidFill>
                  <a:schemeClr val="bg1">
                    <a:lumMod val="85000"/>
                  </a:schemeClr>
                </a:solidFill>
              </a:defRPr>
            </a:lvl1pPr>
          </a:lstStyle>
          <a:p>
            <a:endParaRPr lang="en-US"/>
          </a:p>
        </p:txBody>
      </p:sp>
      <p:sp>
        <p:nvSpPr>
          <p:cNvPr id="13" name="Picture Placeholder 13"/>
          <p:cNvSpPr>
            <a:spLocks noGrp="1"/>
          </p:cNvSpPr>
          <p:nvPr>
            <p:ph type="pic" sz="quarter" idx="16"/>
          </p:nvPr>
        </p:nvSpPr>
        <p:spPr>
          <a:xfrm>
            <a:off x="1397328" y="4085505"/>
            <a:ext cx="2286000" cy="2286000"/>
          </a:xfrm>
          <a:effectLst/>
        </p:spPr>
        <p:txBody>
          <a:bodyPr>
            <a:normAutofit/>
          </a:bodyPr>
          <a:lstStyle>
            <a:lvl1pPr marL="0" indent="0">
              <a:buNone/>
              <a:defRPr sz="2100">
                <a:ln>
                  <a:noFill/>
                </a:ln>
                <a:solidFill>
                  <a:schemeClr val="bg1">
                    <a:lumMod val="85000"/>
                  </a:schemeClr>
                </a:solidFill>
              </a:defRPr>
            </a:lvl1pPr>
          </a:lstStyle>
          <a:p>
            <a:endParaRPr lang="en-US"/>
          </a:p>
        </p:txBody>
      </p:sp>
      <p:sp>
        <p:nvSpPr>
          <p:cNvPr id="11" name="Rectangle 10"/>
          <p:cNvSpPr/>
          <p:nvPr userDrawn="1"/>
        </p:nvSpPr>
        <p:spPr>
          <a:xfrm>
            <a:off x="1397722" y="1683330"/>
            <a:ext cx="228600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a:xfrm>
            <a:off x="3780702" y="4100945"/>
            <a:ext cx="2286000"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832417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3C08BC4-BFFC-4E2A-8F71-509F1B66287C}" type="datetime1">
              <a:rPr lang="id-ID" smtClean="0"/>
              <a:t>07/06/2018</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C9F2E319-0919-499D-AD1F-7963255D1003}" type="slidenum">
              <a:rPr lang="id-ID" smtClean="0"/>
              <a:t>‹N°›</a:t>
            </a:fld>
            <a:endParaRPr lang="id-ID"/>
          </a:p>
        </p:txBody>
      </p:sp>
    </p:spTree>
    <p:extLst>
      <p:ext uri="{BB962C8B-B14F-4D97-AF65-F5344CB8AC3E}">
        <p14:creationId xmlns:p14="http://schemas.microsoft.com/office/powerpoint/2010/main" val="2539186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615440"/>
            <a:ext cx="12188825" cy="1813560"/>
          </a:xfrm>
        </p:spPr>
        <p:txBody>
          <a:bodyPr>
            <a:normAutofit/>
          </a:bodyPr>
          <a:lstStyle>
            <a:lvl1pPr>
              <a:defRPr sz="1500"/>
            </a:lvl1pPr>
          </a:lstStyle>
          <a:p>
            <a:endParaRPr lang="en-US"/>
          </a:p>
        </p:txBody>
      </p:sp>
    </p:spTree>
    <p:extLst>
      <p:ext uri="{BB962C8B-B14F-4D97-AF65-F5344CB8AC3E}">
        <p14:creationId xmlns:p14="http://schemas.microsoft.com/office/powerpoint/2010/main" val="28921343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 y="0"/>
            <a:ext cx="12188825" cy="6858000"/>
          </a:xfrm>
        </p:spPr>
        <p:txBody>
          <a:bodyPr/>
          <a:lstStyle/>
          <a:p>
            <a:endParaRPr lang="en-US"/>
          </a:p>
        </p:txBody>
      </p:sp>
    </p:spTree>
    <p:extLst>
      <p:ext uri="{BB962C8B-B14F-4D97-AF65-F5344CB8AC3E}">
        <p14:creationId xmlns:p14="http://schemas.microsoft.com/office/powerpoint/2010/main" val="2445606426"/>
      </p:ext>
    </p:extLst>
  </p:cSld>
  <p:clrMapOvr>
    <a:masterClrMapping/>
  </p:clrMapOvr>
  <p:transition spd="slow">
    <p:cover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Meet_the_team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089555"/>
      </p:ext>
    </p:extLst>
  </p:cSld>
  <p:clrMapOvr>
    <a:masterClrMapping/>
  </p:clrMapOvr>
  <p:transition spd="slow">
    <p:comb/>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BREAK">
    <p:bg>
      <p:bgRef idx="1003">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26665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VER">
    <p:bg>
      <p:bgRef idx="1003">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93138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cSld name="Vide">
    <p:spTree>
      <p:nvGrpSpPr>
        <p:cNvPr id="1" name=""/>
        <p:cNvGrpSpPr/>
        <p:nvPr/>
      </p:nvGrpSpPr>
      <p:grpSpPr>
        <a:xfrm>
          <a:off x="0" y="0"/>
          <a:ext cx="0" cy="0"/>
          <a:chOff x="0" y="0"/>
          <a:chExt cx="0" cy="0"/>
        </a:xfrm>
      </p:grpSpPr>
      <p:sp>
        <p:nvSpPr>
          <p:cNvPr id="5" name="Rectangle 4"/>
          <p:cNvSpPr/>
          <p:nvPr/>
        </p:nvSpPr>
        <p:spPr>
          <a:xfrm>
            <a:off x="3175" y="6400800"/>
            <a:ext cx="1218565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5651"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99DC2262-8D19-44C8-B1F7-72811DFE2D50}" type="datetime1">
              <a:rPr lang="id-ID" smtClean="0"/>
              <a:t>07/06/2018</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2070059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6" name="Rectangle 5"/>
          <p:cNvSpPr/>
          <p:nvPr userDrawn="1"/>
        </p:nvSpPr>
        <p:spPr>
          <a:xfrm>
            <a:off x="0" y="1"/>
            <a:ext cx="12188825" cy="5095569"/>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2299" dirty="0"/>
          </a:p>
        </p:txBody>
      </p:sp>
      <p:pic>
        <p:nvPicPr>
          <p:cNvPr id="29" name="Picture 28"/>
          <p:cNvPicPr>
            <a:picLocks noChangeAspect="1"/>
          </p:cNvPicPr>
          <p:nvPr userDrawn="1"/>
        </p:nvPicPr>
        <p:blipFill rotWithShape="1">
          <a:blip r:embed="rId2" cstate="print">
            <a:extLst>
              <a:ext uri="{28A0092B-C50C-407E-A947-70E740481C1C}">
                <a14:useLocalDpi xmlns:a14="http://schemas.microsoft.com/office/drawing/2010/main" val="0"/>
              </a:ext>
            </a:extLst>
          </a:blip>
          <a:srcRect l="5354" t="8440" r="6203" b="10137"/>
          <a:stretch/>
        </p:blipFill>
        <p:spPr>
          <a:xfrm rot="16200000">
            <a:off x="1971492" y="1094420"/>
            <a:ext cx="3478736" cy="4421962"/>
          </a:xfrm>
          <a:prstGeom prst="rect">
            <a:avLst/>
          </a:prstGeom>
          <a:effectLst/>
        </p:spPr>
      </p:pic>
      <p:sp>
        <p:nvSpPr>
          <p:cNvPr id="30" name="Rectangle 29"/>
          <p:cNvSpPr>
            <a:spLocks noChangeAspect="1"/>
          </p:cNvSpPr>
          <p:nvPr userDrawn="1"/>
        </p:nvSpPr>
        <p:spPr>
          <a:xfrm>
            <a:off x="2002450" y="2061576"/>
            <a:ext cx="3340611" cy="24451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99"/>
          </a:p>
        </p:txBody>
      </p:sp>
      <p:sp>
        <p:nvSpPr>
          <p:cNvPr id="41" name="Picture Placeholder 40"/>
          <p:cNvSpPr>
            <a:spLocks noGrp="1"/>
          </p:cNvSpPr>
          <p:nvPr>
            <p:ph type="pic" sz="quarter" idx="10"/>
          </p:nvPr>
        </p:nvSpPr>
        <p:spPr>
          <a:xfrm>
            <a:off x="2002450" y="2061576"/>
            <a:ext cx="3340611" cy="2445110"/>
          </a:xfrm>
        </p:spPr>
        <p:txBody>
          <a:bodyPr/>
          <a:lstStyle/>
          <a:p>
            <a:endParaRPr lang="en-US"/>
          </a:p>
        </p:txBody>
      </p:sp>
    </p:spTree>
    <p:extLst>
      <p:ext uri="{BB962C8B-B14F-4D97-AF65-F5344CB8AC3E}">
        <p14:creationId xmlns:p14="http://schemas.microsoft.com/office/powerpoint/2010/main" val="14231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250" fill="hold"/>
                                        <p:tgtEl>
                                          <p:spTgt spid="29"/>
                                        </p:tgtEl>
                                        <p:attrNameLst>
                                          <p:attrName>ppt_x</p:attrName>
                                        </p:attrNameLst>
                                      </p:cBhvr>
                                      <p:tavLst>
                                        <p:tav tm="0">
                                          <p:val>
                                            <p:strVal val="#ppt_x"/>
                                          </p:val>
                                        </p:tav>
                                        <p:tav tm="100000">
                                          <p:val>
                                            <p:strVal val="#ppt_x"/>
                                          </p:val>
                                        </p:tav>
                                      </p:tavLst>
                                    </p:anim>
                                    <p:anim calcmode="lin" valueType="num">
                                      <p:cBhvr additive="base">
                                        <p:cTn id="12" dur="250" fill="hold"/>
                                        <p:tgtEl>
                                          <p:spTgt spid="29"/>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4" fill="hold" grpId="0"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250" fill="hold"/>
                                        <p:tgtEl>
                                          <p:spTgt spid="30"/>
                                        </p:tgtEl>
                                        <p:attrNameLst>
                                          <p:attrName>ppt_x</p:attrName>
                                        </p:attrNameLst>
                                      </p:cBhvr>
                                      <p:tavLst>
                                        <p:tav tm="0">
                                          <p:val>
                                            <p:strVal val="#ppt_x"/>
                                          </p:val>
                                        </p:tav>
                                        <p:tav tm="100000">
                                          <p:val>
                                            <p:strVal val="#ppt_x"/>
                                          </p:val>
                                        </p:tav>
                                      </p:tavLst>
                                    </p:anim>
                                    <p:anim calcmode="lin" valueType="num">
                                      <p:cBhvr additive="base">
                                        <p:cTn id="17" dur="25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0"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6" name="Picture Placeholder 10"/>
          <p:cNvSpPr>
            <a:spLocks noGrp="1"/>
          </p:cNvSpPr>
          <p:nvPr>
            <p:ph type="pic" sz="quarter" idx="12"/>
          </p:nvPr>
        </p:nvSpPr>
        <p:spPr>
          <a:xfrm>
            <a:off x="8270424" y="4343400"/>
            <a:ext cx="731330" cy="658368"/>
          </a:xfrm>
          <a:prstGeom prst="ellipse">
            <a:avLst/>
          </a:prstGeom>
        </p:spPr>
        <p:txBody>
          <a:bodyPr/>
          <a:lstStyle/>
          <a:p>
            <a:endParaRPr lang="en-US" dirty="0"/>
          </a:p>
        </p:txBody>
      </p:sp>
      <p:sp>
        <p:nvSpPr>
          <p:cNvPr id="7" name="Picture Placeholder 10"/>
          <p:cNvSpPr>
            <a:spLocks noGrp="1"/>
          </p:cNvSpPr>
          <p:nvPr>
            <p:ph type="pic" sz="quarter" idx="10"/>
          </p:nvPr>
        </p:nvSpPr>
        <p:spPr>
          <a:xfrm>
            <a:off x="1518140" y="4343400"/>
            <a:ext cx="731330" cy="658368"/>
          </a:xfrm>
          <a:prstGeom prst="ellipse">
            <a:avLst/>
          </a:prstGeom>
        </p:spPr>
        <p:txBody>
          <a:bodyPr/>
          <a:lstStyle/>
          <a:p>
            <a:endParaRPr lang="en-US"/>
          </a:p>
        </p:txBody>
      </p:sp>
      <p:sp>
        <p:nvSpPr>
          <p:cNvPr id="8" name="Picture Placeholder 10"/>
          <p:cNvSpPr>
            <a:spLocks noGrp="1"/>
          </p:cNvSpPr>
          <p:nvPr>
            <p:ph type="pic" sz="quarter" idx="11"/>
          </p:nvPr>
        </p:nvSpPr>
        <p:spPr>
          <a:xfrm>
            <a:off x="4894729" y="4343400"/>
            <a:ext cx="731330" cy="658368"/>
          </a:xfrm>
          <a:prstGeom prst="ellipse">
            <a:avLst/>
          </a:prstGeom>
        </p:spPr>
        <p:txBody>
          <a:bodyPr/>
          <a:lstStyle/>
          <a:p>
            <a:endParaRPr lang="en-US"/>
          </a:p>
        </p:txBody>
      </p:sp>
    </p:spTree>
    <p:extLst>
      <p:ext uri="{BB962C8B-B14F-4D97-AF65-F5344CB8AC3E}">
        <p14:creationId xmlns:p14="http://schemas.microsoft.com/office/powerpoint/2010/main" val="2358786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sp>
        <p:nvSpPr>
          <p:cNvPr id="3" name="Picture Placeholder 2"/>
          <p:cNvSpPr>
            <a:spLocks noGrp="1"/>
          </p:cNvSpPr>
          <p:nvPr>
            <p:ph type="pic" sz="quarter" idx="22"/>
          </p:nvPr>
        </p:nvSpPr>
        <p:spPr>
          <a:xfrm>
            <a:off x="1217612" y="1867007"/>
            <a:ext cx="4145022" cy="2218342"/>
          </a:xfr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Tree>
    <p:extLst>
      <p:ext uri="{BB962C8B-B14F-4D97-AF65-F5344CB8AC3E}">
        <p14:creationId xmlns:p14="http://schemas.microsoft.com/office/powerpoint/2010/main" val="416465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4" name="Shape 216"/>
          <p:cNvSpPr/>
          <p:nvPr/>
        </p:nvSpPr>
        <p:spPr>
          <a:xfrm>
            <a:off x="1212821" y="4643323"/>
            <a:ext cx="4329166" cy="1437437"/>
          </a:xfrm>
          <a:prstGeom prst="rect">
            <a:avLst/>
          </a:prstGeom>
          <a:solidFill>
            <a:srgbClr val="254061"/>
          </a:solidFill>
          <a:ln w="12700" cap="flat">
            <a:noFill/>
            <a:miter lim="400000"/>
          </a:ln>
          <a:effectLst/>
        </p:spPr>
        <p:txBody>
          <a:bodyPr wrap="square" lIns="65115" tIns="65115" rIns="65115" bIns="65115"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15" name="Shape 217"/>
          <p:cNvSpPr/>
          <p:nvPr/>
        </p:nvSpPr>
        <p:spPr>
          <a:xfrm>
            <a:off x="4717539" y="4920665"/>
            <a:ext cx="323118" cy="305270"/>
          </a:xfrm>
          <a:custGeom>
            <a:avLst/>
            <a:gdLst/>
            <a:ahLst/>
            <a:cxnLst>
              <a:cxn ang="0">
                <a:pos x="wd2" y="hd2"/>
              </a:cxn>
              <a:cxn ang="5400000">
                <a:pos x="wd2" y="hd2"/>
              </a:cxn>
              <a:cxn ang="10800000">
                <a:pos x="wd2" y="hd2"/>
              </a:cxn>
              <a:cxn ang="16200000">
                <a:pos x="wd2" y="hd2"/>
              </a:cxn>
            </a:cxnLst>
            <a:rect l="0" t="0" r="r" b="b"/>
            <a:pathLst>
              <a:path w="21431" h="16923" extrusionOk="0">
                <a:moveTo>
                  <a:pt x="20819" y="3166"/>
                </a:moveTo>
                <a:cubicBezTo>
                  <a:pt x="7236" y="7712"/>
                  <a:pt x="12737" y="-4524"/>
                  <a:pt x="2202" y="1917"/>
                </a:cubicBezTo>
                <a:lnTo>
                  <a:pt x="0" y="2579"/>
                </a:lnTo>
                <a:lnTo>
                  <a:pt x="4363" y="16923"/>
                </a:lnTo>
                <a:lnTo>
                  <a:pt x="6767" y="16923"/>
                </a:lnTo>
                <a:lnTo>
                  <a:pt x="4629" y="9897"/>
                </a:lnTo>
                <a:cubicBezTo>
                  <a:pt x="14029" y="3309"/>
                  <a:pt x="10224" y="17076"/>
                  <a:pt x="21342" y="3569"/>
                </a:cubicBezTo>
                <a:cubicBezTo>
                  <a:pt x="21600" y="3255"/>
                  <a:pt x="21254" y="3020"/>
                  <a:pt x="20819" y="3166"/>
                </a:cubicBezTo>
                <a:close/>
              </a:path>
            </a:pathLst>
          </a:custGeom>
          <a:solidFill>
            <a:srgbClr val="FFFFFF"/>
          </a:solidFill>
          <a:ln w="12700" cap="flat">
            <a:noFill/>
            <a:miter lim="400000"/>
          </a:ln>
          <a:effectLst/>
        </p:spPr>
        <p:txBody>
          <a:bodyPr wrap="square" lIns="58603" tIns="58603" rIns="58603" bIns="58603"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7" name="Picture Placeholder 2"/>
          <p:cNvSpPr>
            <a:spLocks noGrp="1"/>
          </p:cNvSpPr>
          <p:nvPr userDrawn="1">
            <p:ph type="pic" sz="quarter" idx="25"/>
          </p:nvPr>
        </p:nvSpPr>
        <p:spPr>
          <a:xfrm>
            <a:off x="1685109" y="4226863"/>
            <a:ext cx="1877079" cy="1691640"/>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11" name="Shape 213"/>
          <p:cNvSpPr/>
          <p:nvPr userDrawn="1"/>
        </p:nvSpPr>
        <p:spPr>
          <a:xfrm>
            <a:off x="1212821" y="2573435"/>
            <a:ext cx="4329166" cy="1437437"/>
          </a:xfrm>
          <a:prstGeom prst="rect">
            <a:avLst/>
          </a:prstGeom>
          <a:solidFill>
            <a:schemeClr val="accent5"/>
          </a:solidFill>
          <a:ln w="12700" cap="flat">
            <a:noFill/>
            <a:miter lim="400000"/>
          </a:ln>
          <a:effectLst/>
        </p:spPr>
        <p:txBody>
          <a:bodyPr wrap="square" lIns="65115" tIns="65115" rIns="65115" bIns="65115"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12" name="Shape 214"/>
          <p:cNvSpPr/>
          <p:nvPr userDrawn="1"/>
        </p:nvSpPr>
        <p:spPr>
          <a:xfrm>
            <a:off x="4717539" y="2851798"/>
            <a:ext cx="323118" cy="309469"/>
          </a:xfrm>
          <a:custGeom>
            <a:avLst/>
            <a:gdLst/>
            <a:ahLst/>
            <a:cxnLst>
              <a:cxn ang="0">
                <a:pos x="wd2" y="hd2"/>
              </a:cxn>
              <a:cxn ang="5400000">
                <a:pos x="wd2" y="hd2"/>
              </a:cxn>
              <a:cxn ang="10800000">
                <a:pos x="wd2" y="hd2"/>
              </a:cxn>
              <a:cxn ang="16200000">
                <a:pos x="wd2" y="hd2"/>
              </a:cxn>
            </a:cxnLst>
            <a:rect l="0" t="0" r="r" b="b"/>
            <a:pathLst>
              <a:path w="21401" h="21363" extrusionOk="0">
                <a:moveTo>
                  <a:pt x="7274" y="21020"/>
                </a:moveTo>
                <a:cubicBezTo>
                  <a:pt x="7274" y="21376"/>
                  <a:pt x="7435" y="21475"/>
                  <a:pt x="7659" y="21222"/>
                </a:cubicBezTo>
                <a:cubicBezTo>
                  <a:pt x="7951" y="20894"/>
                  <a:pt x="10973" y="17529"/>
                  <a:pt x="10973" y="17529"/>
                </a:cubicBezTo>
                <a:lnTo>
                  <a:pt x="7274" y="15153"/>
                </a:lnTo>
                <a:cubicBezTo>
                  <a:pt x="7274" y="15153"/>
                  <a:pt x="7274" y="21020"/>
                  <a:pt x="7274" y="21020"/>
                </a:cubicBezTo>
                <a:close/>
                <a:moveTo>
                  <a:pt x="20812" y="50"/>
                </a:moveTo>
                <a:cubicBezTo>
                  <a:pt x="20412" y="224"/>
                  <a:pt x="667" y="8860"/>
                  <a:pt x="277" y="9030"/>
                </a:cubicBezTo>
                <a:cubicBezTo>
                  <a:pt x="-53" y="9174"/>
                  <a:pt x="-126" y="9528"/>
                  <a:pt x="266" y="9723"/>
                </a:cubicBezTo>
                <a:cubicBezTo>
                  <a:pt x="733" y="9955"/>
                  <a:pt x="4681" y="11919"/>
                  <a:pt x="4681" y="11919"/>
                </a:cubicBezTo>
                <a:lnTo>
                  <a:pt x="7298" y="13221"/>
                </a:lnTo>
                <a:cubicBezTo>
                  <a:pt x="7298" y="13221"/>
                  <a:pt x="19903" y="1732"/>
                  <a:pt x="20073" y="1577"/>
                </a:cubicBezTo>
                <a:cubicBezTo>
                  <a:pt x="20246" y="1420"/>
                  <a:pt x="20443" y="1713"/>
                  <a:pt x="20319" y="1881"/>
                </a:cubicBezTo>
                <a:cubicBezTo>
                  <a:pt x="20194" y="2050"/>
                  <a:pt x="11163" y="14170"/>
                  <a:pt x="11163" y="14170"/>
                </a:cubicBezTo>
                <a:cubicBezTo>
                  <a:pt x="11163" y="14170"/>
                  <a:pt x="11163" y="14170"/>
                  <a:pt x="11163" y="14171"/>
                </a:cubicBezTo>
                <a:lnTo>
                  <a:pt x="10637" y="14898"/>
                </a:lnTo>
                <a:lnTo>
                  <a:pt x="11333" y="15363"/>
                </a:lnTo>
                <a:cubicBezTo>
                  <a:pt x="11333" y="15363"/>
                  <a:pt x="16742" y="18976"/>
                  <a:pt x="17127" y="19234"/>
                </a:cubicBezTo>
                <a:cubicBezTo>
                  <a:pt x="17464" y="19459"/>
                  <a:pt x="17904" y="19272"/>
                  <a:pt x="18001" y="18750"/>
                </a:cubicBezTo>
                <a:cubicBezTo>
                  <a:pt x="18117" y="18135"/>
                  <a:pt x="21310" y="1052"/>
                  <a:pt x="21382" y="671"/>
                </a:cubicBezTo>
                <a:cubicBezTo>
                  <a:pt x="21474" y="177"/>
                  <a:pt x="21211" y="-125"/>
                  <a:pt x="20812" y="50"/>
                </a:cubicBezTo>
                <a:close/>
              </a:path>
            </a:pathLst>
          </a:custGeom>
          <a:solidFill>
            <a:srgbClr val="FFFFFF"/>
          </a:solidFill>
          <a:ln w="12700" cap="flat">
            <a:noFill/>
            <a:miter lim="400000"/>
          </a:ln>
          <a:effectLst/>
        </p:spPr>
        <p:txBody>
          <a:bodyPr wrap="square" lIns="58603" tIns="58603" rIns="58603" bIns="58603" numCol="1" anchor="ctr">
            <a:noAutofit/>
          </a:bodyPr>
          <a:lstStyle/>
          <a:p>
            <a:pPr defTabSz="228539">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dirty="0"/>
          </a:p>
        </p:txBody>
      </p:sp>
      <p:sp>
        <p:nvSpPr>
          <p:cNvPr id="26" name="Picture Placeholder 2"/>
          <p:cNvSpPr>
            <a:spLocks noGrp="1"/>
          </p:cNvSpPr>
          <p:nvPr userDrawn="1">
            <p:ph type="pic" sz="quarter" idx="24"/>
          </p:nvPr>
        </p:nvSpPr>
        <p:spPr>
          <a:xfrm>
            <a:off x="1685465" y="2157589"/>
            <a:ext cx="1877079" cy="1691640"/>
          </a:xfrm>
          <a:prstGeom prst="ellipse">
            <a:avLst/>
          </a:prstGeom>
          <a:ln w="19050">
            <a:noFill/>
          </a:ln>
        </p:spPr>
        <p:txBody>
          <a:bodyPr>
            <a:normAutofit/>
          </a:bodyPr>
          <a:lstStyle>
            <a:lvl1pPr marL="0" indent="0">
              <a:buNone/>
              <a:defRPr sz="1200">
                <a:solidFill>
                  <a:schemeClr val="bg1">
                    <a:lumMod val="50000"/>
                  </a:schemeClr>
                </a:solidFill>
                <a:latin typeface="Source Sans Pro Light"/>
              </a:defRPr>
            </a:lvl1pPr>
          </a:lstStyle>
          <a:p>
            <a:endParaRPr lang="en-US" dirty="0"/>
          </a:p>
        </p:txBody>
      </p:sp>
      <p:sp>
        <p:nvSpPr>
          <p:cNvPr id="9" name="Content Placeholder 20"/>
          <p:cNvSpPr>
            <a:spLocks noGrp="1"/>
          </p:cNvSpPr>
          <p:nvPr userDrawn="1">
            <p:ph sz="quarter" idx="16" hasCustomPrompt="1"/>
          </p:nvPr>
        </p:nvSpPr>
        <p:spPr>
          <a:xfrm>
            <a:off x="6087637" y="2667000"/>
            <a:ext cx="29718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a:t>Vision</a:t>
            </a:r>
          </a:p>
        </p:txBody>
      </p:sp>
      <p:sp>
        <p:nvSpPr>
          <p:cNvPr id="10" name="Text Placeholder 17"/>
          <p:cNvSpPr>
            <a:spLocks noGrp="1"/>
          </p:cNvSpPr>
          <p:nvPr userDrawn="1">
            <p:ph type="body" sz="quarter" idx="21" hasCustomPrompt="1"/>
          </p:nvPr>
        </p:nvSpPr>
        <p:spPr>
          <a:xfrm>
            <a:off x="6087636" y="3048001"/>
            <a:ext cx="5264578" cy="1036838"/>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err="1"/>
              <a:t>conseSed</a:t>
            </a:r>
            <a:r>
              <a:rPr lang="en-US" dirty="0"/>
              <a:t> </a:t>
            </a:r>
            <a:r>
              <a:rPr lang="en-US" dirty="0" err="1"/>
              <a:t>ut</a:t>
            </a:r>
            <a:r>
              <a:rPr lang="en-US" dirty="0"/>
              <a:t> </a:t>
            </a:r>
            <a:r>
              <a:rPr lang="en-US" dirty="0" err="1"/>
              <a:t>perspiciatis</a:t>
            </a:r>
            <a:r>
              <a:rPr lang="en-US" dirty="0"/>
              <a:t> </a:t>
            </a:r>
            <a:r>
              <a:rPr lang="en-US" dirty="0" err="1"/>
              <a:t>u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conseSed</a:t>
            </a:r>
            <a:r>
              <a:rPr lang="en-US" dirty="0"/>
              <a:t> </a:t>
            </a:r>
            <a:r>
              <a:rPr lang="en-US" dirty="0" err="1"/>
              <a:t>ut</a:t>
            </a:r>
            <a:r>
              <a:rPr lang="en-US" dirty="0"/>
              <a:t> </a:t>
            </a:r>
            <a:r>
              <a:rPr lang="en-US" dirty="0" err="1"/>
              <a:t>perspiciatis</a:t>
            </a:r>
            <a:r>
              <a:rPr lang="en-US" dirty="0"/>
              <a:t> </a:t>
            </a:r>
            <a:r>
              <a:rPr lang="en-US" dirty="0" err="1"/>
              <a:t>u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udantium</a:t>
            </a:r>
            <a:r>
              <a:rPr lang="en-US" dirty="0"/>
              <a:t>, </a:t>
            </a:r>
            <a:r>
              <a:rPr lang="en-US" dirty="0" err="1"/>
              <a:t>totamconseSed</a:t>
            </a:r>
            <a:r>
              <a:rPr lang="en-US" dirty="0"/>
              <a:t> </a:t>
            </a:r>
            <a:r>
              <a:rPr lang="en-US" dirty="0" err="1"/>
              <a:t>ut</a:t>
            </a:r>
            <a:r>
              <a:rPr lang="en-US" dirty="0"/>
              <a:t> </a:t>
            </a:r>
            <a:r>
              <a:rPr lang="en-US" dirty="0" err="1"/>
              <a:t>perspiciatis</a:t>
            </a:r>
            <a:endParaRPr lang="en-US" dirty="0"/>
          </a:p>
        </p:txBody>
      </p:sp>
      <p:sp>
        <p:nvSpPr>
          <p:cNvPr id="24" name="Content Placeholder 20"/>
          <p:cNvSpPr>
            <a:spLocks noGrp="1"/>
          </p:cNvSpPr>
          <p:nvPr userDrawn="1">
            <p:ph sz="quarter" idx="22" hasCustomPrompt="1"/>
          </p:nvPr>
        </p:nvSpPr>
        <p:spPr>
          <a:xfrm>
            <a:off x="6094414" y="4754362"/>
            <a:ext cx="2971801" cy="228600"/>
          </a:xfrm>
        </p:spPr>
        <p:txBody>
          <a:bodyPr lIns="0" tIns="0" rIns="0" bIns="0" anchor="ctr">
            <a:normAutofit/>
          </a:bodyPr>
          <a:lstStyle>
            <a:lvl1pPr marL="0" indent="0" algn="l">
              <a:buNone/>
              <a:defRPr sz="1200" b="1">
                <a:solidFill>
                  <a:schemeClr val="tx1">
                    <a:lumMod val="65000"/>
                    <a:lumOff val="35000"/>
                  </a:schemeClr>
                </a:solidFill>
                <a:latin typeface="Source Sans Pro Light"/>
              </a:defRPr>
            </a:lvl1pPr>
          </a:lstStyle>
          <a:p>
            <a:pPr lvl="0"/>
            <a:r>
              <a:rPr lang="en-GB" dirty="0"/>
              <a:t>Vision</a:t>
            </a:r>
          </a:p>
        </p:txBody>
      </p:sp>
      <p:sp>
        <p:nvSpPr>
          <p:cNvPr id="25" name="Text Placeholder 17"/>
          <p:cNvSpPr>
            <a:spLocks noGrp="1"/>
          </p:cNvSpPr>
          <p:nvPr userDrawn="1">
            <p:ph type="body" sz="quarter" idx="23" hasCustomPrompt="1"/>
          </p:nvPr>
        </p:nvSpPr>
        <p:spPr>
          <a:xfrm>
            <a:off x="6094412" y="5135362"/>
            <a:ext cx="5264578" cy="1036838"/>
          </a:xfrm>
        </p:spPr>
        <p:txBody>
          <a:bodyPr lIns="0" tIns="0" rIns="0" bIns="0">
            <a:normAutofit/>
          </a:bodyPr>
          <a:lstStyle>
            <a:lvl1pPr marL="0" indent="0" algn="l">
              <a:lnSpc>
                <a:spcPts val="1500"/>
              </a:lnSpc>
              <a:spcBef>
                <a:spcPts val="1500"/>
              </a:spcBef>
              <a:buNone/>
              <a:defRPr sz="1000">
                <a:solidFill>
                  <a:schemeClr val="tx1">
                    <a:lumMod val="65000"/>
                    <a:lumOff val="35000"/>
                  </a:schemeClr>
                </a:solidFill>
                <a:latin typeface="Source Sans Pro Light"/>
              </a:defRPr>
            </a:lvl1pPr>
          </a:lstStyle>
          <a:p>
            <a:pPr lvl="0"/>
            <a:r>
              <a:rPr lang="en-US" dirty="0" err="1"/>
              <a:t>conseSed</a:t>
            </a:r>
            <a:r>
              <a:rPr lang="en-US" dirty="0"/>
              <a:t> </a:t>
            </a:r>
            <a:r>
              <a:rPr lang="en-US" dirty="0" err="1"/>
              <a:t>ut</a:t>
            </a:r>
            <a:r>
              <a:rPr lang="en-US" dirty="0"/>
              <a:t> </a:t>
            </a:r>
            <a:r>
              <a:rPr lang="en-US" dirty="0" err="1"/>
              <a:t>perspiciatis</a:t>
            </a:r>
            <a:r>
              <a:rPr lang="en-US" dirty="0"/>
              <a:t> </a:t>
            </a:r>
            <a:r>
              <a:rPr lang="en-US" dirty="0" err="1"/>
              <a:t>u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conseSed</a:t>
            </a:r>
            <a:r>
              <a:rPr lang="en-US" dirty="0"/>
              <a:t> </a:t>
            </a:r>
            <a:r>
              <a:rPr lang="en-US" dirty="0" err="1"/>
              <a:t>ut</a:t>
            </a:r>
            <a:r>
              <a:rPr lang="en-US" dirty="0"/>
              <a:t> </a:t>
            </a:r>
            <a:r>
              <a:rPr lang="en-US" dirty="0" err="1"/>
              <a:t>perspiciatis</a:t>
            </a:r>
            <a:r>
              <a:rPr lang="en-US" dirty="0"/>
              <a:t> </a:t>
            </a:r>
            <a:r>
              <a:rPr lang="en-US" dirty="0" err="1"/>
              <a:t>u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udantium</a:t>
            </a:r>
            <a:r>
              <a:rPr lang="en-US" dirty="0"/>
              <a:t>, </a:t>
            </a:r>
            <a:r>
              <a:rPr lang="en-US" dirty="0" err="1"/>
              <a:t>totamconseSed</a:t>
            </a:r>
            <a:r>
              <a:rPr lang="en-US" dirty="0"/>
              <a:t> </a:t>
            </a:r>
            <a:r>
              <a:rPr lang="en-US" dirty="0" err="1"/>
              <a:t>ut</a:t>
            </a:r>
            <a:r>
              <a:rPr lang="en-US" dirty="0"/>
              <a:t> </a:t>
            </a:r>
            <a:r>
              <a:rPr lang="en-US" dirty="0" err="1"/>
              <a:t>perspiciatis</a:t>
            </a:r>
            <a:endParaRPr lang="en-US" dirty="0"/>
          </a:p>
        </p:txBody>
      </p:sp>
    </p:spTree>
    <p:extLst>
      <p:ext uri="{BB962C8B-B14F-4D97-AF65-F5344CB8AC3E}">
        <p14:creationId xmlns:p14="http://schemas.microsoft.com/office/powerpoint/2010/main" val="3190555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dissolve">
                                      <p:cBhvr>
                                        <p:cTn id="11" dur="500"/>
                                        <p:tgtEl>
                                          <p:spTgt spid="9">
                                            <p:txEl>
                                              <p:pRg st="0" end="0"/>
                                            </p:txEl>
                                          </p:spTgt>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animEffect transition="in" filter="dissolve">
                                      <p:cBhvr>
                                        <p:cTn id="15" dur="500"/>
                                        <p:tgtEl>
                                          <p:spTgt spid="10">
                                            <p:txEl>
                                              <p:pRg st="0" end="0"/>
                                            </p:txEl>
                                          </p:spTgt>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24">
                                            <p:txEl>
                                              <p:pRg st="0" end="0"/>
                                            </p:txEl>
                                          </p:spTgt>
                                        </p:tgtEl>
                                        <p:attrNameLst>
                                          <p:attrName>style.visibility</p:attrName>
                                        </p:attrNameLst>
                                      </p:cBhvr>
                                      <p:to>
                                        <p:strVal val="visible"/>
                                      </p:to>
                                    </p:set>
                                    <p:animEffect transition="in" filter="dissolve">
                                      <p:cBhvr>
                                        <p:cTn id="23" dur="500"/>
                                        <p:tgtEl>
                                          <p:spTgt spid="24">
                                            <p:txEl>
                                              <p:pRg st="0" end="0"/>
                                            </p:txEl>
                                          </p:spTgt>
                                        </p:tgtEl>
                                      </p:cBhvr>
                                    </p:animEffect>
                                  </p:childTnLst>
                                </p:cTn>
                              </p:par>
                            </p:childTnLst>
                          </p:cTn>
                        </p:par>
                        <p:par>
                          <p:cTn id="24" fill="hold">
                            <p:stCondLst>
                              <p:cond delay="2500"/>
                            </p:stCondLst>
                            <p:childTnLst>
                              <p:par>
                                <p:cTn id="25" presetID="9" presetClass="entr" presetSubtype="0" fill="hold" grpId="0" nodeType="afterEffect">
                                  <p:stCondLst>
                                    <p:cond delay="0"/>
                                  </p:stCondLst>
                                  <p:childTnLst>
                                    <p:set>
                                      <p:cBhvr>
                                        <p:cTn id="26" dur="1" fill="hold">
                                          <p:stCondLst>
                                            <p:cond delay="0"/>
                                          </p:stCondLst>
                                        </p:cTn>
                                        <p:tgtEl>
                                          <p:spTgt spid="25">
                                            <p:txEl>
                                              <p:pRg st="0" end="0"/>
                                            </p:txEl>
                                          </p:spTgt>
                                        </p:tgtEl>
                                        <p:attrNameLst>
                                          <p:attrName>style.visibility</p:attrName>
                                        </p:attrNameLst>
                                      </p:cBhvr>
                                      <p:to>
                                        <p:strVal val="visible"/>
                                      </p:to>
                                    </p:set>
                                    <p:animEffect transition="in" filter="dissolve">
                                      <p:cBhvr>
                                        <p:cTn id="27" dur="500"/>
                                        <p:tgtEl>
                                          <p:spTgt spid="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6" grpId="0"/>
      <p:bldP spid="9" grpId="0" build="p">
        <p:tmplLst>
          <p:tmpl lvl="1">
            <p:tnLst>
              <p:par>
                <p:cTn presetID="9"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dissolve">
                      <p:cBhvr>
                        <p:cTn dur="500"/>
                        <p:tgtEl>
                          <p:spTgt spid="9"/>
                        </p:tgtEl>
                      </p:cBhvr>
                    </p:animEffect>
                  </p:childTnLst>
                </p:cTn>
              </p:par>
            </p:tnLst>
          </p:tmpl>
        </p:tmplLst>
      </p:bldP>
      <p:bldP spid="10" grpId="0" build="p">
        <p:tmplLst>
          <p:tmpl lvl="1">
            <p:tnLst>
              <p:par>
                <p:cTn presetID="9"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dissolve">
                      <p:cBhvr>
                        <p:cTn dur="500"/>
                        <p:tgtEl>
                          <p:spTgt spid="10"/>
                        </p:tgtEl>
                      </p:cBhvr>
                    </p:animEffect>
                  </p:childTnLst>
                </p:cTn>
              </p:par>
            </p:tnLst>
          </p:tmpl>
        </p:tmplLst>
      </p:bldP>
      <p:bldP spid="24" grpId="0" build="p">
        <p:tmplLst>
          <p:tmpl lvl="1">
            <p:tnLst>
              <p:par>
                <p:cTn presetID="9"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dissolve">
                      <p:cBhvr>
                        <p:cTn dur="500"/>
                        <p:tgtEl>
                          <p:spTgt spid="24"/>
                        </p:tgtEl>
                      </p:cBhvr>
                    </p:animEffect>
                  </p:childTnLst>
                </p:cTn>
              </p:par>
            </p:tnLst>
          </p:tmpl>
        </p:tmplLst>
      </p:bldP>
      <p:bldP spid="25" grpId="0" build="p">
        <p:tmplLst>
          <p:tmpl lvl="1">
            <p:tnLst>
              <p:par>
                <p:cTn presetID="9" presetClass="entr" presetSubtype="0" fill="hold" nodeType="after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dissolve">
                      <p:cBhvr>
                        <p:cTn dur="500"/>
                        <p:tgtEl>
                          <p:spTgt spid="25"/>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88825" cy="6858000"/>
          </a:xfrm>
        </p:spPr>
        <p:txBody>
          <a:bodyPr/>
          <a:lstStyle/>
          <a:p>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9"/>
            <a:ext cx="10969943" cy="1143000"/>
          </a:xfrm>
          <a:prstGeom prst="rect">
            <a:avLst/>
          </a:prstGeom>
        </p:spPr>
        <p:txBody>
          <a:bodyPr vert="horz" lIns="117208" tIns="58604" rIns="117208" bIns="58604" rtlCol="0" anchor="ctr">
            <a:normAutofit/>
          </a:bodyPr>
          <a:lstStyle/>
          <a:p>
            <a:r>
              <a:rPr lang="en-US"/>
              <a:t>Click to edit Master title style</a:t>
            </a:r>
          </a:p>
        </p:txBody>
      </p:sp>
      <p:sp>
        <p:nvSpPr>
          <p:cNvPr id="3" name="Text Placeholder 2"/>
          <p:cNvSpPr>
            <a:spLocks noGrp="1"/>
          </p:cNvSpPr>
          <p:nvPr>
            <p:ph type="body" idx="1"/>
          </p:nvPr>
        </p:nvSpPr>
        <p:spPr>
          <a:xfrm>
            <a:off x="609441" y="1600200"/>
            <a:ext cx="10969943" cy="4525963"/>
          </a:xfrm>
          <a:prstGeom prst="rect">
            <a:avLst/>
          </a:prstGeom>
        </p:spPr>
        <p:txBody>
          <a:bodyPr vert="horz" lIns="117208" tIns="58604" rIns="117208" bIns="586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3"/>
            <a:ext cx="2844059" cy="365125"/>
          </a:xfrm>
          <a:prstGeom prst="rect">
            <a:avLst/>
          </a:prstGeom>
        </p:spPr>
        <p:txBody>
          <a:bodyPr vert="horz" lIns="117208" tIns="58604" rIns="117208" bIns="58604" rtlCol="0" anchor="ctr"/>
          <a:lstStyle>
            <a:lvl1pPr algn="l">
              <a:defRPr sz="1500">
                <a:solidFill>
                  <a:schemeClr val="tx1">
                    <a:tint val="75000"/>
                  </a:schemeClr>
                </a:solidFill>
              </a:defRPr>
            </a:lvl1pPr>
          </a:lstStyle>
          <a:p>
            <a:fld id="{4B07821C-AA36-4BFE-8785-5E7C62E45B53}" type="datetime1">
              <a:rPr lang="id-ID" smtClean="0"/>
              <a:t>07/06/2018</a:t>
            </a:fld>
            <a:endParaRPr lang="en-US"/>
          </a:p>
        </p:txBody>
      </p:sp>
      <p:sp>
        <p:nvSpPr>
          <p:cNvPr id="5" name="Footer Placeholder 4"/>
          <p:cNvSpPr>
            <a:spLocks noGrp="1"/>
          </p:cNvSpPr>
          <p:nvPr>
            <p:ph type="ftr" sz="quarter" idx="3"/>
          </p:nvPr>
        </p:nvSpPr>
        <p:spPr>
          <a:xfrm>
            <a:off x="4164515" y="6356353"/>
            <a:ext cx="3859795" cy="365125"/>
          </a:xfrm>
          <a:prstGeom prst="rect">
            <a:avLst/>
          </a:prstGeom>
        </p:spPr>
        <p:txBody>
          <a:bodyPr vert="horz" lIns="117208" tIns="58604" rIns="117208" bIns="58604"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5" y="6356353"/>
            <a:ext cx="2844059" cy="365125"/>
          </a:xfrm>
          <a:prstGeom prst="rect">
            <a:avLst/>
          </a:prstGeom>
        </p:spPr>
        <p:txBody>
          <a:bodyPr vert="horz" lIns="117208" tIns="58604" rIns="117208" bIns="58604" rtlCol="0" anchor="ctr"/>
          <a:lstStyle>
            <a:lvl1pPr algn="r">
              <a:defRPr sz="1500">
                <a:solidFill>
                  <a:schemeClr val="tx1">
                    <a:tint val="75000"/>
                  </a:schemeClr>
                </a:solidFill>
              </a:defRPr>
            </a:lvl1pPr>
          </a:lstStyle>
          <a:p>
            <a:fld id="{C2F52289-4012-4053-9770-FE82CEB9514F}" type="slidenum">
              <a:rPr lang="en-US" smtClean="0"/>
              <a:pPr/>
              <a:t>‹N°›</a:t>
            </a:fld>
            <a:endParaRPr lang="en-US"/>
          </a:p>
        </p:txBody>
      </p:sp>
    </p:spTree>
  </p:cSld>
  <p:clrMap bg1="lt1" tx1="dk1" bg2="lt2" tx2="dk2" accent1="accent1" accent2="accent2" accent3="accent3" accent4="accent4" accent5="accent5" accent6="accent6" hlink="hlink" folHlink="folHlink"/>
  <p:sldLayoutIdLst>
    <p:sldLayoutId id="2147483654" r:id="rId1"/>
    <p:sldLayoutId id="2147483668" r:id="rId2"/>
    <p:sldLayoutId id="2147483661" r:id="rId3"/>
    <p:sldLayoutId id="2147483651" r:id="rId4"/>
    <p:sldLayoutId id="2147483699" r:id="rId5"/>
    <p:sldLayoutId id="2147483662" r:id="rId6"/>
    <p:sldLayoutId id="2147483653" r:id="rId7"/>
    <p:sldLayoutId id="2147483655" r:id="rId8"/>
    <p:sldLayoutId id="2147483649" r:id="rId9"/>
    <p:sldLayoutId id="2147483652" r:id="rId10"/>
    <p:sldLayoutId id="2147483700" r:id="rId11"/>
    <p:sldLayoutId id="2147483683"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50" r:id="rId23"/>
    <p:sldLayoutId id="2147483656" r:id="rId24"/>
    <p:sldLayoutId id="2147483657" r:id="rId25"/>
    <p:sldLayoutId id="2147483658" r:id="rId26"/>
    <p:sldLayoutId id="2147483669" r:id="rId27"/>
    <p:sldLayoutId id="2147483659" r:id="rId28"/>
    <p:sldLayoutId id="2147483698" r:id="rId29"/>
    <p:sldLayoutId id="2147483660" r:id="rId30"/>
    <p:sldLayoutId id="2147483663" r:id="rId31"/>
    <p:sldLayoutId id="2147483664" r:id="rId32"/>
    <p:sldLayoutId id="2147483665" r:id="rId33"/>
    <p:sldLayoutId id="2147483666" r:id="rId34"/>
    <p:sldLayoutId id="2147483667" r:id="rId35"/>
    <p:sldLayoutId id="2147483681" r:id="rId36"/>
    <p:sldLayoutId id="2147483680" r:id="rId37"/>
    <p:sldLayoutId id="2147483682" r:id="rId38"/>
    <p:sldLayoutId id="2147483686" r:id="rId39"/>
    <p:sldLayoutId id="2147483694" r:id="rId40"/>
    <p:sldLayoutId id="2147483701" r:id="rId41"/>
    <p:sldLayoutId id="2147483704" r:id="rId42"/>
    <p:sldLayoutId id="2147483708" r:id="rId43"/>
    <p:sldLayoutId id="2147483709" r:id="rId44"/>
  </p:sldLayoutIdLst>
  <p:hf hdr="0" ftr="0" dt="0"/>
  <p:txStyles>
    <p:titleStyle>
      <a:lvl1pPr algn="ctr" defTabSz="1172078" rtl="0" eaLnBrk="1" latinLnBrk="0" hangingPunct="1">
        <a:spcBef>
          <a:spcPct val="0"/>
        </a:spcBef>
        <a:buNone/>
        <a:defRPr sz="5600" kern="1200">
          <a:solidFill>
            <a:schemeClr val="tx1"/>
          </a:solidFill>
          <a:latin typeface="+mj-lt"/>
          <a:ea typeface="+mj-ea"/>
          <a:cs typeface="+mj-cs"/>
        </a:defRPr>
      </a:lvl1pPr>
    </p:titleStyle>
    <p:bodyStyle>
      <a:lvl1pPr marL="439529" indent="-439529" algn="l" defTabSz="1172078" rtl="0" eaLnBrk="1" latinLnBrk="0" hangingPunct="1">
        <a:spcBef>
          <a:spcPct val="20000"/>
        </a:spcBef>
        <a:buFont typeface="Arial" pitchFamily="34" charset="0"/>
        <a:buChar char="•"/>
        <a:defRPr sz="4100" kern="1200">
          <a:solidFill>
            <a:schemeClr val="tx1"/>
          </a:solidFill>
          <a:latin typeface="+mn-lt"/>
          <a:ea typeface="+mn-ea"/>
          <a:cs typeface="+mn-cs"/>
        </a:defRPr>
      </a:lvl1pPr>
      <a:lvl2pPr marL="952313" indent="-366274" algn="l" defTabSz="1172078" rtl="0" eaLnBrk="1" latinLnBrk="0" hangingPunct="1">
        <a:spcBef>
          <a:spcPct val="20000"/>
        </a:spcBef>
        <a:buFont typeface="Arial" pitchFamily="34" charset="0"/>
        <a:buChar char="–"/>
        <a:defRPr sz="3600" kern="1200">
          <a:solidFill>
            <a:schemeClr val="tx1"/>
          </a:solidFill>
          <a:latin typeface="+mn-lt"/>
          <a:ea typeface="+mn-ea"/>
          <a:cs typeface="+mn-cs"/>
        </a:defRPr>
      </a:lvl2pPr>
      <a:lvl3pPr marL="1465097" indent="-293019" algn="l" defTabSz="1172078" rtl="0" eaLnBrk="1" latinLnBrk="0" hangingPunct="1">
        <a:spcBef>
          <a:spcPct val="20000"/>
        </a:spcBef>
        <a:buFont typeface="Arial" pitchFamily="34" charset="0"/>
        <a:buChar char="•"/>
        <a:defRPr sz="3100" kern="1200">
          <a:solidFill>
            <a:schemeClr val="tx1"/>
          </a:solidFill>
          <a:latin typeface="+mn-lt"/>
          <a:ea typeface="+mn-ea"/>
          <a:cs typeface="+mn-cs"/>
        </a:defRPr>
      </a:lvl3pPr>
      <a:lvl4pPr marL="2051136"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637175"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72078" rtl="0" eaLnBrk="1" latinLnBrk="0" hangingPunct="1">
        <a:defRPr sz="2300" kern="1200">
          <a:solidFill>
            <a:schemeClr val="tx1"/>
          </a:solidFill>
          <a:latin typeface="+mn-lt"/>
          <a:ea typeface="+mn-ea"/>
          <a:cs typeface="+mn-cs"/>
        </a:defRPr>
      </a:lvl1pPr>
      <a:lvl2pPr marL="586039" algn="l" defTabSz="1172078" rtl="0" eaLnBrk="1" latinLnBrk="0" hangingPunct="1">
        <a:defRPr sz="2300" kern="1200">
          <a:solidFill>
            <a:schemeClr val="tx1"/>
          </a:solidFill>
          <a:latin typeface="+mn-lt"/>
          <a:ea typeface="+mn-ea"/>
          <a:cs typeface="+mn-cs"/>
        </a:defRPr>
      </a:lvl2pPr>
      <a:lvl3pPr marL="1172078" algn="l" defTabSz="1172078" rtl="0" eaLnBrk="1" latinLnBrk="0" hangingPunct="1">
        <a:defRPr sz="2300" kern="1200">
          <a:solidFill>
            <a:schemeClr val="tx1"/>
          </a:solidFill>
          <a:latin typeface="+mn-lt"/>
          <a:ea typeface="+mn-ea"/>
          <a:cs typeface="+mn-cs"/>
        </a:defRPr>
      </a:lvl3pPr>
      <a:lvl4pPr marL="1758117" algn="l" defTabSz="1172078" rtl="0" eaLnBrk="1" latinLnBrk="0" hangingPunct="1">
        <a:defRPr sz="2300" kern="1200">
          <a:solidFill>
            <a:schemeClr val="tx1"/>
          </a:solidFill>
          <a:latin typeface="+mn-lt"/>
          <a:ea typeface="+mn-ea"/>
          <a:cs typeface="+mn-cs"/>
        </a:defRPr>
      </a:lvl4pPr>
      <a:lvl5pPr marL="2344156" algn="l" defTabSz="1172078" rtl="0" eaLnBrk="1" latinLnBrk="0" hangingPunct="1">
        <a:defRPr sz="2300" kern="1200">
          <a:solidFill>
            <a:schemeClr val="tx1"/>
          </a:solidFill>
          <a:latin typeface="+mn-lt"/>
          <a:ea typeface="+mn-ea"/>
          <a:cs typeface="+mn-cs"/>
        </a:defRPr>
      </a:lvl5pPr>
      <a:lvl6pPr marL="2930195" algn="l" defTabSz="1172078" rtl="0" eaLnBrk="1" latinLnBrk="0" hangingPunct="1">
        <a:defRPr sz="2300" kern="1200">
          <a:solidFill>
            <a:schemeClr val="tx1"/>
          </a:solidFill>
          <a:latin typeface="+mn-lt"/>
          <a:ea typeface="+mn-ea"/>
          <a:cs typeface="+mn-cs"/>
        </a:defRPr>
      </a:lvl6pPr>
      <a:lvl7pPr marL="3516234" algn="l" defTabSz="1172078" rtl="0" eaLnBrk="1" latinLnBrk="0" hangingPunct="1">
        <a:defRPr sz="2300" kern="1200">
          <a:solidFill>
            <a:schemeClr val="tx1"/>
          </a:solidFill>
          <a:latin typeface="+mn-lt"/>
          <a:ea typeface="+mn-ea"/>
          <a:cs typeface="+mn-cs"/>
        </a:defRPr>
      </a:lvl7pPr>
      <a:lvl8pPr marL="4102273" algn="l" defTabSz="1172078" rtl="0" eaLnBrk="1" latinLnBrk="0" hangingPunct="1">
        <a:defRPr sz="2300" kern="1200">
          <a:solidFill>
            <a:schemeClr val="tx1"/>
          </a:solidFill>
          <a:latin typeface="+mn-lt"/>
          <a:ea typeface="+mn-ea"/>
          <a:cs typeface="+mn-cs"/>
        </a:defRPr>
      </a:lvl8pPr>
      <a:lvl9pPr marL="4688312" algn="l" defTabSz="1172078"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15.jpeg"/></Relationships>
</file>

<file path=ppt/slides/_rels/slide1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28.png"/><Relationship Id="rId7" Type="http://schemas.openxmlformats.org/officeDocument/2006/relationships/diagramColors" Target="../diagrams/colors7.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23.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30.png"/><Relationship Id="rId7" Type="http://schemas.openxmlformats.org/officeDocument/2006/relationships/diagramQuickStyle" Target="../diagrams/quickStyle12.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image" Target="../media/image31.png"/><Relationship Id="rId9" Type="http://schemas.microsoft.com/office/2007/relationships/diagramDrawing" Target="../diagrams/drawing12.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image" Target="../media/image32.png"/><Relationship Id="rId7" Type="http://schemas.openxmlformats.org/officeDocument/2006/relationships/diagramQuickStyle" Target="../diagrams/quickStyle13.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image" Target="../media/image31.png"/><Relationship Id="rId9" Type="http://schemas.microsoft.com/office/2007/relationships/diagramDrawing" Target="../diagrams/drawing1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image" Target="../media/image31.png"/><Relationship Id="rId1" Type="http://schemas.openxmlformats.org/officeDocument/2006/relationships/slideLayout" Target="../slideLayouts/slideLayout4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33.png"/><Relationship Id="rId7" Type="http://schemas.openxmlformats.org/officeDocument/2006/relationships/diagramQuickStyle" Target="../diagrams/quickStyle15.xml"/><Relationship Id="rId2" Type="http://schemas.openxmlformats.org/officeDocument/2006/relationships/notesSlide" Target="../notesSlides/notesSlide13.xml"/><Relationship Id="rId1" Type="http://schemas.openxmlformats.org/officeDocument/2006/relationships/slideLayout" Target="../slideLayouts/slideLayout39.x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image" Target="../media/image31.png"/><Relationship Id="rId9" Type="http://schemas.microsoft.com/office/2007/relationships/diagramDrawing" Target="../diagrams/drawing1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image" Target="../media/image31.png"/><Relationship Id="rId1" Type="http://schemas.openxmlformats.org/officeDocument/2006/relationships/slideLayout" Target="../slideLayouts/slideLayout3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image" Target="../media/image34.png"/><Relationship Id="rId7" Type="http://schemas.openxmlformats.org/officeDocument/2006/relationships/diagramQuickStyle" Target="../diagrams/quickStyle17.xml"/><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diagramLayout" Target="../diagrams/layout17.xml"/><Relationship Id="rId5" Type="http://schemas.openxmlformats.org/officeDocument/2006/relationships/diagramData" Target="../diagrams/data17.xml"/><Relationship Id="rId10" Type="http://schemas.openxmlformats.org/officeDocument/2006/relationships/chart" Target="../charts/chart1.xml"/><Relationship Id="rId4" Type="http://schemas.openxmlformats.org/officeDocument/2006/relationships/image" Target="../media/image31.png"/><Relationship Id="rId9" Type="http://schemas.microsoft.com/office/2007/relationships/diagramDrawing" Target="../diagrams/drawing1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31.png"/><Relationship Id="rId7" Type="http://schemas.openxmlformats.org/officeDocument/2006/relationships/diagramColors" Target="../diagrams/colors18.xml"/><Relationship Id="rId2" Type="http://schemas.openxmlformats.org/officeDocument/2006/relationships/chart" Target="../charts/chart2.xml"/><Relationship Id="rId1" Type="http://schemas.openxmlformats.org/officeDocument/2006/relationships/slideLayout" Target="../slideLayouts/slideLayout39.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chart" Target="../charts/chart3.xml"/><Relationship Id="rId7" Type="http://schemas.openxmlformats.org/officeDocument/2006/relationships/diagramQuickStyle" Target="../diagrams/quickStyle19.xml"/><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image" Target="../media/image31.png"/><Relationship Id="rId9" Type="http://schemas.microsoft.com/office/2007/relationships/diagramDrawing" Target="../diagrams/drawing19.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chart" Target="../charts/chart4.xml"/><Relationship Id="rId7" Type="http://schemas.openxmlformats.org/officeDocument/2006/relationships/diagramQuickStyle" Target="../diagrams/quickStyle20.xml"/><Relationship Id="rId2" Type="http://schemas.openxmlformats.org/officeDocument/2006/relationships/notesSlide" Target="../notesSlides/notesSlide16.xml"/><Relationship Id="rId1" Type="http://schemas.openxmlformats.org/officeDocument/2006/relationships/slideLayout" Target="../slideLayouts/slideLayout39.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chart" Target="../charts/chart5.xml"/><Relationship Id="rId4" Type="http://schemas.openxmlformats.org/officeDocument/2006/relationships/image" Target="../media/image31.png"/><Relationship Id="rId9" Type="http://schemas.microsoft.com/office/2007/relationships/diagramDrawing" Target="../diagrams/drawing20.xml"/></Relationships>
</file>

<file path=ppt/slides/_rels/slide23.xml.rels><?xml version="1.0" encoding="UTF-8" standalone="yes"?>
<Relationships xmlns="http://schemas.openxmlformats.org/package/2006/relationships"><Relationship Id="rId8" Type="http://schemas.openxmlformats.org/officeDocument/2006/relationships/diagramQuickStyle" Target="../diagrams/quickStyle21.xml"/><Relationship Id="rId3" Type="http://schemas.openxmlformats.org/officeDocument/2006/relationships/chart" Target="../charts/chart6.xml"/><Relationship Id="rId7" Type="http://schemas.openxmlformats.org/officeDocument/2006/relationships/diagramLayout" Target="../diagrams/layout21.xml"/><Relationship Id="rId2" Type="http://schemas.openxmlformats.org/officeDocument/2006/relationships/notesSlide" Target="../notesSlides/notesSlide17.xml"/><Relationship Id="rId1" Type="http://schemas.openxmlformats.org/officeDocument/2006/relationships/slideLayout" Target="../slideLayouts/slideLayout23.xml"/><Relationship Id="rId6" Type="http://schemas.openxmlformats.org/officeDocument/2006/relationships/diagramData" Target="../diagrams/data21.xml"/><Relationship Id="rId5" Type="http://schemas.openxmlformats.org/officeDocument/2006/relationships/image" Target="../media/image31.png"/><Relationship Id="rId10" Type="http://schemas.microsoft.com/office/2007/relationships/diagramDrawing" Target="../diagrams/drawing21.xml"/><Relationship Id="rId4" Type="http://schemas.openxmlformats.org/officeDocument/2006/relationships/chart" Target="../charts/chart7.xml"/><Relationship Id="rId9" Type="http://schemas.openxmlformats.org/officeDocument/2006/relationships/diagramColors" Target="../diagrams/colors21.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chart" Target="../charts/chart9.xml"/><Relationship Id="rId7" Type="http://schemas.openxmlformats.org/officeDocument/2006/relationships/diagramQuickStyle" Target="../diagrams/quickStyle22.xml"/><Relationship Id="rId2" Type="http://schemas.openxmlformats.org/officeDocument/2006/relationships/chart" Target="../charts/chart8.xml"/><Relationship Id="rId1" Type="http://schemas.openxmlformats.org/officeDocument/2006/relationships/slideLayout" Target="../slideLayouts/slideLayout23.xml"/><Relationship Id="rId6" Type="http://schemas.openxmlformats.org/officeDocument/2006/relationships/diagramLayout" Target="../diagrams/layout22.xml"/><Relationship Id="rId5" Type="http://schemas.openxmlformats.org/officeDocument/2006/relationships/diagramData" Target="../diagrams/data22.xml"/><Relationship Id="rId4" Type="http://schemas.openxmlformats.org/officeDocument/2006/relationships/image" Target="../media/image31.png"/><Relationship Id="rId9" Type="http://schemas.microsoft.com/office/2007/relationships/diagramDrawing" Target="../diagrams/drawing22.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23.xml"/><Relationship Id="rId3" Type="http://schemas.openxmlformats.org/officeDocument/2006/relationships/chart" Target="../charts/chart11.xml"/><Relationship Id="rId7" Type="http://schemas.openxmlformats.org/officeDocument/2006/relationships/diagramQuickStyle" Target="../diagrams/quickStyle23.xml"/><Relationship Id="rId2" Type="http://schemas.openxmlformats.org/officeDocument/2006/relationships/chart" Target="../charts/chart10.xml"/><Relationship Id="rId1" Type="http://schemas.openxmlformats.org/officeDocument/2006/relationships/slideLayout" Target="../slideLayouts/slideLayout23.xml"/><Relationship Id="rId6" Type="http://schemas.openxmlformats.org/officeDocument/2006/relationships/diagramLayout" Target="../diagrams/layout23.xml"/><Relationship Id="rId5" Type="http://schemas.openxmlformats.org/officeDocument/2006/relationships/diagramData" Target="../diagrams/data23.xml"/><Relationship Id="rId4" Type="http://schemas.openxmlformats.org/officeDocument/2006/relationships/image" Target="../media/image31.png"/><Relationship Id="rId9" Type="http://schemas.microsoft.com/office/2007/relationships/diagramDrawing" Target="../diagrams/drawing23.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25.xml"/><Relationship Id="rId13" Type="http://schemas.openxmlformats.org/officeDocument/2006/relationships/image" Target="../media/image31.png"/><Relationship Id="rId18" Type="http://schemas.microsoft.com/office/2007/relationships/diagramDrawing" Target="../diagrams/drawing26.xml"/><Relationship Id="rId3" Type="http://schemas.openxmlformats.org/officeDocument/2006/relationships/diagramData" Target="../diagrams/data24.xml"/><Relationship Id="rId7" Type="http://schemas.microsoft.com/office/2007/relationships/diagramDrawing" Target="../diagrams/drawing24.xml"/><Relationship Id="rId12" Type="http://schemas.microsoft.com/office/2007/relationships/diagramDrawing" Target="../diagrams/drawing25.xml"/><Relationship Id="rId17" Type="http://schemas.openxmlformats.org/officeDocument/2006/relationships/diagramColors" Target="../diagrams/colors26.xml"/><Relationship Id="rId2" Type="http://schemas.openxmlformats.org/officeDocument/2006/relationships/notesSlide" Target="../notesSlides/notesSlide18.xml"/><Relationship Id="rId16" Type="http://schemas.openxmlformats.org/officeDocument/2006/relationships/diagramQuickStyle" Target="../diagrams/quickStyle26.xml"/><Relationship Id="rId1" Type="http://schemas.openxmlformats.org/officeDocument/2006/relationships/slideLayout" Target="../slideLayouts/slideLayout39.xml"/><Relationship Id="rId6" Type="http://schemas.openxmlformats.org/officeDocument/2006/relationships/diagramColors" Target="../diagrams/colors24.xml"/><Relationship Id="rId11" Type="http://schemas.openxmlformats.org/officeDocument/2006/relationships/diagramColors" Target="../diagrams/colors25.xml"/><Relationship Id="rId5" Type="http://schemas.openxmlformats.org/officeDocument/2006/relationships/diagramQuickStyle" Target="../diagrams/quickStyle24.xml"/><Relationship Id="rId15" Type="http://schemas.openxmlformats.org/officeDocument/2006/relationships/diagramLayout" Target="../diagrams/layout26.xml"/><Relationship Id="rId10" Type="http://schemas.openxmlformats.org/officeDocument/2006/relationships/diagramQuickStyle" Target="../diagrams/quickStyle25.xml"/><Relationship Id="rId4" Type="http://schemas.openxmlformats.org/officeDocument/2006/relationships/diagramLayout" Target="../diagrams/layout24.xml"/><Relationship Id="rId9" Type="http://schemas.openxmlformats.org/officeDocument/2006/relationships/diagramLayout" Target="../diagrams/layout25.xml"/><Relationship Id="rId14" Type="http://schemas.openxmlformats.org/officeDocument/2006/relationships/diagramData" Target="../diagrams/data26.xml"/></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27.xml"/><Relationship Id="rId3" Type="http://schemas.openxmlformats.org/officeDocument/2006/relationships/image" Target="../media/image35.png"/><Relationship Id="rId7" Type="http://schemas.openxmlformats.org/officeDocument/2006/relationships/diagramQuickStyle" Target="../diagrams/quickStyle27.xml"/><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diagramLayout" Target="../diagrams/layout27.xml"/><Relationship Id="rId5" Type="http://schemas.openxmlformats.org/officeDocument/2006/relationships/diagramData" Target="../diagrams/data27.xml"/><Relationship Id="rId4" Type="http://schemas.openxmlformats.org/officeDocument/2006/relationships/image" Target="../media/image31.png"/><Relationship Id="rId9" Type="http://schemas.microsoft.com/office/2007/relationships/diagramDrawing" Target="../diagrams/drawing27.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chart" Target="../charts/chart12.xml"/><Relationship Id="rId7" Type="http://schemas.openxmlformats.org/officeDocument/2006/relationships/diagramQuickStyle" Target="../diagrams/quickStyle28.xml"/><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diagramLayout" Target="../diagrams/layout28.xml"/><Relationship Id="rId5" Type="http://schemas.openxmlformats.org/officeDocument/2006/relationships/diagramData" Target="../diagrams/data28.xml"/><Relationship Id="rId4" Type="http://schemas.openxmlformats.org/officeDocument/2006/relationships/image" Target="../media/image31.png"/><Relationship Id="rId9" Type="http://schemas.microsoft.com/office/2007/relationships/diagramDrawing" Target="../diagrams/drawing28.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9.xml"/><Relationship Id="rId3" Type="http://schemas.openxmlformats.org/officeDocument/2006/relationships/image" Target="../media/image31.png"/><Relationship Id="rId7" Type="http://schemas.openxmlformats.org/officeDocument/2006/relationships/diagramQuickStyle" Target="../diagrams/quickStyle29.xml"/><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diagramLayout" Target="../diagrams/layout29.xml"/><Relationship Id="rId5" Type="http://schemas.openxmlformats.org/officeDocument/2006/relationships/diagramData" Target="../diagrams/data29.xml"/><Relationship Id="rId4" Type="http://schemas.openxmlformats.org/officeDocument/2006/relationships/image" Target="../media/image36.jpg"/><Relationship Id="rId9" Type="http://schemas.microsoft.com/office/2007/relationships/diagramDrawing" Target="../diagrams/drawing29.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6.pn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image" Target="../media/image37.jpeg"/><Relationship Id="rId1" Type="http://schemas.openxmlformats.org/officeDocument/2006/relationships/slideLayout" Target="../slideLayouts/slideLayout10.xml"/><Relationship Id="rId6" Type="http://schemas.openxmlformats.org/officeDocument/2006/relationships/diagramColors" Target="../diagrams/colors30.xml"/><Relationship Id="rId5" Type="http://schemas.openxmlformats.org/officeDocument/2006/relationships/diagramQuickStyle" Target="../diagrams/quickStyle30.xml"/><Relationship Id="rId10" Type="http://schemas.openxmlformats.org/officeDocument/2006/relationships/image" Target="../media/image39.png"/><Relationship Id="rId4" Type="http://schemas.openxmlformats.org/officeDocument/2006/relationships/diagramLayout" Target="../diagrams/layout30.xml"/><Relationship Id="rId9" Type="http://schemas.openxmlformats.org/officeDocument/2006/relationships/image" Target="../media/image38.jpeg"/></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31.xml"/><Relationship Id="rId3" Type="http://schemas.openxmlformats.org/officeDocument/2006/relationships/image" Target="../media/image40.png"/><Relationship Id="rId7" Type="http://schemas.openxmlformats.org/officeDocument/2006/relationships/diagramLayout" Target="../diagrams/layout31.xml"/><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diagramData" Target="../diagrams/data31.xml"/><Relationship Id="rId5" Type="http://schemas.openxmlformats.org/officeDocument/2006/relationships/image" Target="../media/image41.png"/><Relationship Id="rId10" Type="http://schemas.microsoft.com/office/2007/relationships/diagramDrawing" Target="../diagrams/drawing31.xml"/><Relationship Id="rId4" Type="http://schemas.openxmlformats.org/officeDocument/2006/relationships/image" Target="../media/image31.png"/><Relationship Id="rId9" Type="http://schemas.openxmlformats.org/officeDocument/2006/relationships/diagramColors" Target="../diagrams/colors3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image" Target="../media/image31.png"/><Relationship Id="rId1" Type="http://schemas.openxmlformats.org/officeDocument/2006/relationships/slideLayout" Target="../slideLayouts/slideLayout39.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33.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image" Target="../media/image31.png"/><Relationship Id="rId7" Type="http://schemas.openxmlformats.org/officeDocument/2006/relationships/diagramColors" Target="../diagrams/colors33.xml"/><Relationship Id="rId2" Type="http://schemas.openxmlformats.org/officeDocument/2006/relationships/image" Target="../media/image42.png"/><Relationship Id="rId1" Type="http://schemas.openxmlformats.org/officeDocument/2006/relationships/slideLayout" Target="../slideLayouts/slideLayout10.xml"/><Relationship Id="rId6" Type="http://schemas.openxmlformats.org/officeDocument/2006/relationships/diagramQuickStyle" Target="../diagrams/quickStyle33.xml"/><Relationship Id="rId5" Type="http://schemas.openxmlformats.org/officeDocument/2006/relationships/diagramLayout" Target="../diagrams/layout33.xml"/><Relationship Id="rId4" Type="http://schemas.openxmlformats.org/officeDocument/2006/relationships/diagramData" Target="../diagrams/data33.xml"/></Relationships>
</file>

<file path=ppt/slides/_rels/slide34.xml.rels><?xml version="1.0" encoding="UTF-8" standalone="yes"?>
<Relationships xmlns="http://schemas.openxmlformats.org/package/2006/relationships"><Relationship Id="rId8" Type="http://schemas.microsoft.com/office/2007/relationships/diagramDrawing" Target="../diagrams/drawing34.xml"/><Relationship Id="rId3" Type="http://schemas.openxmlformats.org/officeDocument/2006/relationships/image" Target="../media/image31.png"/><Relationship Id="rId7" Type="http://schemas.openxmlformats.org/officeDocument/2006/relationships/diagramColors" Target="../diagrams/colors34.xml"/><Relationship Id="rId2" Type="http://schemas.openxmlformats.org/officeDocument/2006/relationships/notesSlide" Target="../notesSlides/notesSlide23.xml"/><Relationship Id="rId1" Type="http://schemas.openxmlformats.org/officeDocument/2006/relationships/slideLayout" Target="../slideLayouts/slideLayout39.xml"/><Relationship Id="rId6" Type="http://schemas.openxmlformats.org/officeDocument/2006/relationships/diagramQuickStyle" Target="../diagrams/quickStyle34.xml"/><Relationship Id="rId5" Type="http://schemas.openxmlformats.org/officeDocument/2006/relationships/diagramLayout" Target="../diagrams/layout34.xml"/><Relationship Id="rId4" Type="http://schemas.openxmlformats.org/officeDocument/2006/relationships/diagramData" Target="../diagrams/data34.xml"/></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35.xml"/><Relationship Id="rId3" Type="http://schemas.openxmlformats.org/officeDocument/2006/relationships/image" Target="../media/image43.png"/><Relationship Id="rId7" Type="http://schemas.openxmlformats.org/officeDocument/2006/relationships/diagramLayout" Target="../diagrams/layout35.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diagramData" Target="../diagrams/data35.xml"/><Relationship Id="rId5" Type="http://schemas.openxmlformats.org/officeDocument/2006/relationships/image" Target="../media/image31.png"/><Relationship Id="rId10" Type="http://schemas.microsoft.com/office/2007/relationships/diagramDrawing" Target="../diagrams/drawing35.xml"/><Relationship Id="rId4" Type="http://schemas.openxmlformats.org/officeDocument/2006/relationships/image" Target="../media/image44.png"/><Relationship Id="rId9" Type="http://schemas.openxmlformats.org/officeDocument/2006/relationships/diagramColors" Target="../diagrams/colors35.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36.xml"/><Relationship Id="rId3" Type="http://schemas.openxmlformats.org/officeDocument/2006/relationships/image" Target="../media/image33.png"/><Relationship Id="rId7" Type="http://schemas.openxmlformats.org/officeDocument/2006/relationships/diagramQuickStyle" Target="../diagrams/quickStyle36.xml"/><Relationship Id="rId2" Type="http://schemas.openxmlformats.org/officeDocument/2006/relationships/notesSlide" Target="../notesSlides/notesSlide25.xml"/><Relationship Id="rId1" Type="http://schemas.openxmlformats.org/officeDocument/2006/relationships/slideLayout" Target="../slideLayouts/slideLayout23.xml"/><Relationship Id="rId6" Type="http://schemas.openxmlformats.org/officeDocument/2006/relationships/diagramLayout" Target="../diagrams/layout36.xml"/><Relationship Id="rId5" Type="http://schemas.openxmlformats.org/officeDocument/2006/relationships/diagramData" Target="../diagrams/data36.xml"/><Relationship Id="rId10" Type="http://schemas.openxmlformats.org/officeDocument/2006/relationships/image" Target="../media/image46.png"/><Relationship Id="rId4" Type="http://schemas.openxmlformats.org/officeDocument/2006/relationships/image" Target="../media/image45.png"/><Relationship Id="rId9" Type="http://schemas.microsoft.com/office/2007/relationships/diagramDrawing" Target="../diagrams/drawing36.xml"/></Relationships>
</file>

<file path=ppt/slides/_rels/slide37.xml.rels><?xml version="1.0" encoding="UTF-8" standalone="yes"?>
<Relationships xmlns="http://schemas.openxmlformats.org/package/2006/relationships"><Relationship Id="rId8" Type="http://schemas.microsoft.com/office/2007/relationships/diagramDrawing" Target="../diagrams/drawing37.xml"/><Relationship Id="rId3" Type="http://schemas.openxmlformats.org/officeDocument/2006/relationships/chart" Target="../charts/chart14.xml"/><Relationship Id="rId7" Type="http://schemas.openxmlformats.org/officeDocument/2006/relationships/diagramColors" Target="../diagrams/colors37.xml"/><Relationship Id="rId2" Type="http://schemas.openxmlformats.org/officeDocument/2006/relationships/chart" Target="../charts/chart13.xml"/><Relationship Id="rId1" Type="http://schemas.openxmlformats.org/officeDocument/2006/relationships/slideLayout" Target="../slideLayouts/slideLayout23.xml"/><Relationship Id="rId6" Type="http://schemas.openxmlformats.org/officeDocument/2006/relationships/diagramQuickStyle" Target="../diagrams/quickStyle37.xml"/><Relationship Id="rId5" Type="http://schemas.openxmlformats.org/officeDocument/2006/relationships/diagramLayout" Target="../diagrams/layout37.xml"/><Relationship Id="rId4" Type="http://schemas.openxmlformats.org/officeDocument/2006/relationships/diagramData" Target="../diagrams/data37.xml"/><Relationship Id="rId9" Type="http://schemas.openxmlformats.org/officeDocument/2006/relationships/image" Target="../media/image47.png"/></Relationships>
</file>

<file path=ppt/slides/_rels/slide38.xml.rels><?xml version="1.0" encoding="UTF-8" standalone="yes"?>
<Relationships xmlns="http://schemas.openxmlformats.org/package/2006/relationships"><Relationship Id="rId8" Type="http://schemas.openxmlformats.org/officeDocument/2006/relationships/diagramData" Target="../diagrams/data39.xml"/><Relationship Id="rId3" Type="http://schemas.openxmlformats.org/officeDocument/2006/relationships/diagramData" Target="../diagrams/data38.xml"/><Relationship Id="rId7" Type="http://schemas.microsoft.com/office/2007/relationships/diagramDrawing" Target="../diagrams/drawing38.xml"/><Relationship Id="rId12" Type="http://schemas.microsoft.com/office/2007/relationships/diagramDrawing" Target="../diagrams/drawing39.xml"/><Relationship Id="rId2" Type="http://schemas.openxmlformats.org/officeDocument/2006/relationships/notesSlide" Target="../notesSlides/notesSlide26.xml"/><Relationship Id="rId1" Type="http://schemas.openxmlformats.org/officeDocument/2006/relationships/slideLayout" Target="../slideLayouts/slideLayout39.xml"/><Relationship Id="rId6" Type="http://schemas.openxmlformats.org/officeDocument/2006/relationships/diagramColors" Target="../diagrams/colors38.xml"/><Relationship Id="rId11" Type="http://schemas.openxmlformats.org/officeDocument/2006/relationships/diagramColors" Target="../diagrams/colors39.xml"/><Relationship Id="rId5" Type="http://schemas.openxmlformats.org/officeDocument/2006/relationships/diagramQuickStyle" Target="../diagrams/quickStyle38.xml"/><Relationship Id="rId10" Type="http://schemas.openxmlformats.org/officeDocument/2006/relationships/diagramQuickStyle" Target="../diagrams/quickStyle39.xml"/><Relationship Id="rId4" Type="http://schemas.openxmlformats.org/officeDocument/2006/relationships/diagramLayout" Target="../diagrams/layout38.xml"/><Relationship Id="rId9" Type="http://schemas.openxmlformats.org/officeDocument/2006/relationships/diagramLayout" Target="../diagrams/layout3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17.png"/><Relationship Id="rId7" Type="http://schemas.openxmlformats.org/officeDocument/2006/relationships/image" Target="../media/image21.png"/><Relationship Id="rId12"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20.jpeg"/><Relationship Id="rId11" Type="http://schemas.openxmlformats.org/officeDocument/2006/relationships/diagramColors" Target="../diagrams/colors3.xml"/><Relationship Id="rId5" Type="http://schemas.openxmlformats.org/officeDocument/2006/relationships/image" Target="../media/image19.png"/><Relationship Id="rId10" Type="http://schemas.openxmlformats.org/officeDocument/2006/relationships/diagramQuickStyle" Target="../diagrams/quickStyle3.xml"/><Relationship Id="rId4" Type="http://schemas.openxmlformats.org/officeDocument/2006/relationships/image" Target="../media/image18.png"/><Relationship Id="rId9" Type="http://schemas.openxmlformats.org/officeDocument/2006/relationships/diagramLayout" Target="../diagrams/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39.xml"/><Relationship Id="rId4" Type="http://schemas.openxmlformats.org/officeDocument/2006/relationships/image" Target="../media/image15.jpe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43.xml"/><Relationship Id="rId4" Type="http://schemas.openxmlformats.org/officeDocument/2006/relationships/image" Target="../media/image49.jp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23.png"/><Relationship Id="rId7" Type="http://schemas.openxmlformats.org/officeDocument/2006/relationships/diagramQuickStyle" Target="../diagrams/quickStyle4.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4.PNG"/><Relationship Id="rId9" Type="http://schemas.microsoft.com/office/2007/relationships/diagramDrawing" Target="../diagrams/drawing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23.xml"/><Relationship Id="rId1" Type="http://schemas.openxmlformats.org/officeDocument/2006/relationships/tags" Target="../tags/tag1.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40.xml"/><Relationship Id="rId2" Type="http://schemas.openxmlformats.org/officeDocument/2006/relationships/diagramData" Target="../diagrams/data40.xml"/><Relationship Id="rId1" Type="http://schemas.openxmlformats.org/officeDocument/2006/relationships/slideLayout" Target="../slideLayouts/slideLayout39.xml"/><Relationship Id="rId6" Type="http://schemas.microsoft.com/office/2007/relationships/diagramDrawing" Target="../diagrams/drawing40.xml"/><Relationship Id="rId5" Type="http://schemas.openxmlformats.org/officeDocument/2006/relationships/diagramColors" Target="../diagrams/colors40.xml"/><Relationship Id="rId4" Type="http://schemas.openxmlformats.org/officeDocument/2006/relationships/diagramQuickStyle" Target="../diagrams/quickStyle40.xml"/></Relationships>
</file>

<file path=ppt/slides/_rels/slide58.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57.png"/><Relationship Id="rId7" Type="http://schemas.openxmlformats.org/officeDocument/2006/relationships/image" Target="../media/image53.jpg"/><Relationship Id="rId2" Type="http://schemas.openxmlformats.org/officeDocument/2006/relationships/notesSlide" Target="../notesSlides/notesSlide36.xml"/><Relationship Id="rId1" Type="http://schemas.openxmlformats.org/officeDocument/2006/relationships/slideLayout" Target="../slideLayouts/slideLayout39.xml"/><Relationship Id="rId6" Type="http://schemas.openxmlformats.org/officeDocument/2006/relationships/image" Target="../media/image54.jpg"/><Relationship Id="rId5" Type="http://schemas.openxmlformats.org/officeDocument/2006/relationships/chart" Target="../charts/chart16.xml"/><Relationship Id="rId4" Type="http://schemas.openxmlformats.org/officeDocument/2006/relationships/chart" Target="../charts/chart15.xml"/><Relationship Id="rId9" Type="http://schemas.openxmlformats.org/officeDocument/2006/relationships/image" Target="../media/image56.jpg"/></Relationships>
</file>

<file path=ppt/slides/_rels/slide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6.png"/><Relationship Id="rId7" Type="http://schemas.openxmlformats.org/officeDocument/2006/relationships/diagramColors" Target="../diagrams/colors5.xml"/><Relationship Id="rId2" Type="http://schemas.openxmlformats.org/officeDocument/2006/relationships/image" Target="../media/image25.jpg"/><Relationship Id="rId1" Type="http://schemas.openxmlformats.org/officeDocument/2006/relationships/slideLayout" Target="../slideLayouts/slideLayout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3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031471" y="381000"/>
            <a:ext cx="7719589" cy="1015663"/>
          </a:xfrm>
          <a:prstGeom prst="rect">
            <a:avLst/>
          </a:prstGeom>
          <a:noFill/>
        </p:spPr>
        <p:txBody>
          <a:bodyPr wrap="square" rtlCol="0">
            <a:spAutoFit/>
          </a:bodyPr>
          <a:lstStyle/>
          <a:p>
            <a:pPr algn="ctr"/>
            <a:r>
              <a:rPr lang="fr-FR" sz="2000" b="1" dirty="0"/>
              <a:t>Ecole supérieure des industries </a:t>
            </a:r>
          </a:p>
          <a:p>
            <a:pPr algn="ctr"/>
            <a:r>
              <a:rPr lang="fr-FR" sz="2000" b="1" dirty="0"/>
              <a:t>de textile et d’habillements  - </a:t>
            </a:r>
          </a:p>
          <a:p>
            <a:pPr algn="ctr"/>
            <a:r>
              <a:rPr lang="fr-FR" sz="2000" b="1" dirty="0"/>
              <a:t>Nestlé Maroc </a:t>
            </a:r>
          </a:p>
        </p:txBody>
      </p:sp>
      <p:sp>
        <p:nvSpPr>
          <p:cNvPr id="8" name="TextBox 7"/>
          <p:cNvSpPr txBox="1"/>
          <p:nvPr/>
        </p:nvSpPr>
        <p:spPr>
          <a:xfrm>
            <a:off x="0" y="2667001"/>
            <a:ext cx="12188825" cy="954107"/>
          </a:xfrm>
          <a:prstGeom prst="rect">
            <a:avLst/>
          </a:prstGeom>
          <a:solidFill>
            <a:schemeClr val="tx2">
              <a:lumMod val="50000"/>
              <a:lumOff val="50000"/>
            </a:schemeClr>
          </a:solidFill>
        </p:spPr>
        <p:txBody>
          <a:bodyPr wrap="square" rtlCol="0">
            <a:spAutoFit/>
          </a:bodyPr>
          <a:lstStyle/>
          <a:p>
            <a:pPr algn="ctr"/>
            <a:r>
              <a:rPr lang="fr-FR" sz="3200" b="1" i="1" dirty="0">
                <a:solidFill>
                  <a:schemeClr val="bg2"/>
                </a:solidFill>
              </a:rPr>
              <a:t>   Evaluation de la performance fournisseurs</a:t>
            </a:r>
          </a:p>
          <a:p>
            <a:pPr algn="ctr"/>
            <a:r>
              <a:rPr lang="fr-FR" sz="2400" dirty="0">
                <a:solidFill>
                  <a:schemeClr val="bg2"/>
                </a:solidFill>
              </a:rPr>
              <a:t>Matière première et emballages </a:t>
            </a:r>
            <a:endParaRPr lang="fr-FR" sz="3200" b="1" i="1" dirty="0">
              <a:solidFill>
                <a:schemeClr val="bg2"/>
              </a:solidFill>
            </a:endParaRPr>
          </a:p>
        </p:txBody>
      </p:sp>
      <p:sp>
        <p:nvSpPr>
          <p:cNvPr id="9" name="TextBox 8"/>
          <p:cNvSpPr txBox="1"/>
          <p:nvPr/>
        </p:nvSpPr>
        <p:spPr>
          <a:xfrm>
            <a:off x="301622" y="4957226"/>
            <a:ext cx="3351927" cy="800219"/>
          </a:xfrm>
          <a:prstGeom prst="rect">
            <a:avLst/>
          </a:prstGeom>
          <a:noFill/>
        </p:spPr>
        <p:txBody>
          <a:bodyPr wrap="square" rtlCol="0">
            <a:spAutoFit/>
          </a:bodyPr>
          <a:lstStyle/>
          <a:p>
            <a:r>
              <a:rPr lang="fr-FR" b="1" dirty="0"/>
              <a:t>Réalisé par :</a:t>
            </a:r>
          </a:p>
          <a:p>
            <a:r>
              <a:rPr lang="fr-FR" dirty="0"/>
              <a:t>Fatina EL KTAM</a:t>
            </a:r>
          </a:p>
        </p:txBody>
      </p:sp>
      <p:sp>
        <p:nvSpPr>
          <p:cNvPr id="10" name="TextBox 9"/>
          <p:cNvSpPr txBox="1"/>
          <p:nvPr/>
        </p:nvSpPr>
        <p:spPr>
          <a:xfrm>
            <a:off x="4062941" y="4957225"/>
            <a:ext cx="3656648" cy="800219"/>
          </a:xfrm>
          <a:prstGeom prst="rect">
            <a:avLst/>
          </a:prstGeom>
          <a:noFill/>
        </p:spPr>
        <p:txBody>
          <a:bodyPr wrap="square" rtlCol="0">
            <a:spAutoFit/>
          </a:bodyPr>
          <a:lstStyle/>
          <a:p>
            <a:r>
              <a:rPr lang="fr-FR" b="1" dirty="0"/>
              <a:t>Encadré par :</a:t>
            </a:r>
          </a:p>
          <a:p>
            <a:r>
              <a:rPr lang="fr-FR" dirty="0" err="1"/>
              <a:t>Mme.DJOUDI</a:t>
            </a:r>
            <a:r>
              <a:rPr lang="fr-FR" dirty="0"/>
              <a:t> Fatna </a:t>
            </a:r>
          </a:p>
        </p:txBody>
      </p:sp>
      <p:sp>
        <p:nvSpPr>
          <p:cNvPr id="11" name="TextBox 10"/>
          <p:cNvSpPr txBox="1"/>
          <p:nvPr/>
        </p:nvSpPr>
        <p:spPr>
          <a:xfrm>
            <a:off x="8329029" y="4957225"/>
            <a:ext cx="3351927" cy="1508105"/>
          </a:xfrm>
          <a:prstGeom prst="rect">
            <a:avLst/>
          </a:prstGeom>
          <a:noFill/>
        </p:spPr>
        <p:txBody>
          <a:bodyPr wrap="square" rtlCol="0">
            <a:spAutoFit/>
          </a:bodyPr>
          <a:lstStyle/>
          <a:p>
            <a:r>
              <a:rPr lang="fr-FR" b="1" dirty="0"/>
              <a:t>Membre de jury :</a:t>
            </a:r>
          </a:p>
          <a:p>
            <a:r>
              <a:rPr lang="fr-FR" dirty="0" err="1"/>
              <a:t>Mme.DJOUDI</a:t>
            </a:r>
            <a:r>
              <a:rPr lang="fr-FR" dirty="0"/>
              <a:t> Fatna</a:t>
            </a:r>
          </a:p>
          <a:p>
            <a:r>
              <a:rPr lang="fr-FR" dirty="0"/>
              <a:t>M.MITRAB Abdelatif</a:t>
            </a:r>
          </a:p>
          <a:p>
            <a:r>
              <a:rPr lang="fr-FR" dirty="0"/>
              <a:t>M.BRICHA Saad </a:t>
            </a:r>
          </a:p>
        </p:txBody>
      </p:sp>
      <p:sp>
        <p:nvSpPr>
          <p:cNvPr id="12" name="TextBox 11"/>
          <p:cNvSpPr txBox="1"/>
          <p:nvPr/>
        </p:nvSpPr>
        <p:spPr>
          <a:xfrm>
            <a:off x="3504286" y="6277065"/>
            <a:ext cx="5180251" cy="400110"/>
          </a:xfrm>
          <a:prstGeom prst="rect">
            <a:avLst/>
          </a:prstGeom>
          <a:noFill/>
        </p:spPr>
        <p:txBody>
          <a:bodyPr wrap="square" rtlCol="0">
            <a:spAutoFit/>
          </a:bodyPr>
          <a:lstStyle/>
          <a:p>
            <a:r>
              <a:rPr lang="fr-FR" sz="2000" b="1" dirty="0"/>
              <a:t>Année universitaire : 2017 - 2018 </a:t>
            </a:r>
          </a:p>
        </p:txBody>
      </p:sp>
      <p:sp>
        <p:nvSpPr>
          <p:cNvPr id="13" name="TextBox 12"/>
          <p:cNvSpPr txBox="1"/>
          <p:nvPr/>
        </p:nvSpPr>
        <p:spPr>
          <a:xfrm>
            <a:off x="2133044" y="1600200"/>
            <a:ext cx="8024310" cy="707886"/>
          </a:xfrm>
          <a:prstGeom prst="rect">
            <a:avLst/>
          </a:prstGeom>
          <a:noFill/>
        </p:spPr>
        <p:txBody>
          <a:bodyPr wrap="square" rtlCol="0">
            <a:spAutoFit/>
          </a:bodyPr>
          <a:lstStyle/>
          <a:p>
            <a:pPr algn="ctr"/>
            <a:r>
              <a:rPr lang="fr-FR" sz="2000" i="1" dirty="0"/>
              <a:t>Soutenance de projet de fin d’étude </a:t>
            </a:r>
          </a:p>
          <a:p>
            <a:pPr algn="ctr"/>
            <a:r>
              <a:rPr lang="fr-FR" sz="2000" i="1" dirty="0"/>
              <a:t>Licence professionnelle : Gestion des Achats et Sourcing</a:t>
            </a:r>
          </a:p>
        </p:txBody>
      </p:sp>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1880" y="88732"/>
            <a:ext cx="2473352" cy="1307932"/>
          </a:xfrm>
          <a:prstGeom prst="rect">
            <a:avLst/>
          </a:prstGeom>
        </p:spPr>
      </p:pic>
      <p:pic>
        <p:nvPicPr>
          <p:cNvPr id="14" name="Picture 4" descr="Image associÃ©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57355" y="103912"/>
            <a:ext cx="1626149" cy="981268"/>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numéro de diapositive 3"/>
          <p:cNvSpPr>
            <a:spLocks noGrp="1"/>
          </p:cNvSpPr>
          <p:nvPr>
            <p:ph type="sldNum" sz="quarter" idx="12"/>
          </p:nvPr>
        </p:nvSpPr>
        <p:spPr/>
        <p:txBody>
          <a:bodyPr/>
          <a:lstStyle/>
          <a:p>
            <a:fld id="{C9F2E319-0919-499D-AD1F-7963255D1003}" type="slidenum">
              <a:rPr lang="id-ID" smtClean="0"/>
              <a:t>1</a:t>
            </a:fld>
            <a:endParaRPr lang="id-ID" dirty="0"/>
          </a:p>
        </p:txBody>
      </p:sp>
    </p:spTree>
    <p:extLst>
      <p:ext uri="{BB962C8B-B14F-4D97-AF65-F5344CB8AC3E}">
        <p14:creationId xmlns:p14="http://schemas.microsoft.com/office/powerpoint/2010/main" val="855514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8349" t="42518" r="13513" b="17284"/>
          <a:stretch/>
        </p:blipFill>
        <p:spPr bwMode="auto">
          <a:xfrm>
            <a:off x="2513012" y="2438400"/>
            <a:ext cx="9675813" cy="405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Ellipse 4"/>
          <p:cNvSpPr/>
          <p:nvPr/>
        </p:nvSpPr>
        <p:spPr>
          <a:xfrm>
            <a:off x="6430168" y="4467224"/>
            <a:ext cx="2559843" cy="114299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2" name="ZoneTexte 1"/>
          <p:cNvSpPr txBox="1"/>
          <p:nvPr/>
        </p:nvSpPr>
        <p:spPr>
          <a:xfrm>
            <a:off x="1751012" y="1399593"/>
            <a:ext cx="4876800" cy="461665"/>
          </a:xfrm>
          <a:prstGeom prst="rect">
            <a:avLst/>
          </a:prstGeom>
          <a:noFill/>
        </p:spPr>
        <p:txBody>
          <a:bodyPr wrap="square" rtlCol="0">
            <a:spAutoFit/>
          </a:bodyPr>
          <a:lstStyle/>
          <a:p>
            <a:r>
              <a:rPr lang="fr-FR" sz="2400" b="1" dirty="0">
                <a:latin typeface="+mj-lt"/>
                <a:ea typeface="+mj-ea"/>
                <a:cs typeface="+mj-cs"/>
              </a:rPr>
              <a:t>La chaine de la valeur </a:t>
            </a:r>
          </a:p>
        </p:txBody>
      </p:sp>
      <p:graphicFrame>
        <p:nvGraphicFramePr>
          <p:cNvPr id="8" name="Diagramme 54"/>
          <p:cNvGraphicFramePr/>
          <p:nvPr>
            <p:extLst>
              <p:ext uri="{D42A27DB-BD31-4B8C-83A1-F6EECF244321}">
                <p14:modId xmlns:p14="http://schemas.microsoft.com/office/powerpoint/2010/main" val="247889548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Arrondir un rectangle avec un coin diagonal 8"/>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11" name="Rectangle 10"/>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12" name="Rectangle 11"/>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13" name="Rectangle 12"/>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14" name="Rectangle 13"/>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ervice achat </a:t>
            </a:r>
          </a:p>
        </p:txBody>
      </p:sp>
      <p:sp>
        <p:nvSpPr>
          <p:cNvPr id="15" name="Rectangle 14"/>
          <p:cNvSpPr/>
          <p:nvPr/>
        </p:nvSpPr>
        <p:spPr>
          <a:xfrm>
            <a:off x="3258343" y="46653"/>
            <a:ext cx="2345736" cy="718782"/>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35572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5"/>
                                        </p:tgtEl>
                                      </p:cBhvr>
                                      <p:by x="150000" y="150000"/>
                                    </p:animScale>
                                  </p:childTnLst>
                                </p:cTn>
                              </p:par>
                              <p:par>
                                <p:cTn id="7" presetID="24" presetClass="emph" presetSubtype="0" fill="hold" grpId="0" nodeType="withEffect">
                                  <p:stCondLst>
                                    <p:cond delay="0"/>
                                  </p:stCondLst>
                                  <p:childTnLst>
                                    <p:animClr clrSpc="hsl" dir="cw">
                                      <p:cBhvr override="childStyle">
                                        <p:cTn id="8" dur="500" fill="hold"/>
                                        <p:tgtEl>
                                          <p:spTgt spid="15"/>
                                        </p:tgtEl>
                                        <p:attrNameLst>
                                          <p:attrName>style.color</p:attrName>
                                        </p:attrNameLst>
                                      </p:cBhvr>
                                      <p:by>
                                        <p:hsl h="0" s="-12549" l="-25098"/>
                                      </p:by>
                                    </p:animClr>
                                    <p:animClr clrSpc="hsl" dir="cw">
                                      <p:cBhvr>
                                        <p:cTn id="9" dur="500" fill="hold"/>
                                        <p:tgtEl>
                                          <p:spTgt spid="15"/>
                                        </p:tgtEl>
                                        <p:attrNameLst>
                                          <p:attrName>fillcolor</p:attrName>
                                        </p:attrNameLst>
                                      </p:cBhvr>
                                      <p:by>
                                        <p:hsl h="0" s="-12549" l="-25098"/>
                                      </p:by>
                                    </p:animClr>
                                    <p:animClr clrSpc="hsl" dir="cw">
                                      <p:cBhvr>
                                        <p:cTn id="10" dur="500" fill="hold"/>
                                        <p:tgtEl>
                                          <p:spTgt spid="15"/>
                                        </p:tgtEl>
                                        <p:attrNameLst>
                                          <p:attrName>stroke.color</p:attrName>
                                        </p:attrNameLst>
                                      </p:cBhvr>
                                      <p:by>
                                        <p:hsl h="0" s="-12549" l="-25098"/>
                                      </p:by>
                                    </p:animClr>
                                    <p:set>
                                      <p:cBhvr>
                                        <p:cTn id="11"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2588" y="1145333"/>
            <a:ext cx="8432363" cy="1143000"/>
          </a:xfrm>
        </p:spPr>
        <p:txBody>
          <a:bodyPr>
            <a:normAutofit/>
          </a:bodyPr>
          <a:lstStyle/>
          <a:p>
            <a:r>
              <a:rPr lang="fr-FR" sz="2400" b="1" dirty="0"/>
              <a:t>Organigramme </a:t>
            </a:r>
            <a:r>
              <a:rPr lang="fr-FR" sz="2400" b="1" dirty="0" err="1"/>
              <a:t>supply</a:t>
            </a:r>
            <a:r>
              <a:rPr lang="fr-FR" sz="2400" b="1" dirty="0"/>
              <a:t> chain:</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3503746145"/>
              </p:ext>
            </p:extLst>
          </p:nvPr>
        </p:nvGraphicFramePr>
        <p:xfrm>
          <a:off x="1751012" y="2362200"/>
          <a:ext cx="10437813"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u numéro de diapositive 2"/>
          <p:cNvSpPr>
            <a:spLocks noGrp="1"/>
          </p:cNvSpPr>
          <p:nvPr>
            <p:ph type="sldNum" sz="quarter" idx="12"/>
          </p:nvPr>
        </p:nvSpPr>
        <p:spPr/>
        <p:txBody>
          <a:bodyPr/>
          <a:lstStyle/>
          <a:p>
            <a:fld id="{C2F52289-4012-4053-9770-FE82CEB9514F}" type="slidenum">
              <a:rPr lang="en-US" smtClean="0"/>
              <a:pPr/>
              <a:t>11</a:t>
            </a:fld>
            <a:endParaRPr lang="en-US"/>
          </a:p>
        </p:txBody>
      </p:sp>
      <p:graphicFrame>
        <p:nvGraphicFramePr>
          <p:cNvPr id="7" name="Diagramme 54"/>
          <p:cNvGraphicFramePr/>
          <p:nvPr>
            <p:extLst>
              <p:ext uri="{D42A27DB-BD31-4B8C-83A1-F6EECF244321}">
                <p14:modId xmlns:p14="http://schemas.microsoft.com/office/powerpoint/2010/main" val="247889548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Arrondir un rectangle avec un coin diagonal 7"/>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10" name="Rectangle 9"/>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11" name="Rectangle 10"/>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12" name="Rectangle 11"/>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13" name="Rectangle 12"/>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ervice achat </a:t>
            </a:r>
          </a:p>
        </p:txBody>
      </p:sp>
      <p:sp>
        <p:nvSpPr>
          <p:cNvPr id="14" name="Rectangle 13"/>
          <p:cNvSpPr/>
          <p:nvPr/>
        </p:nvSpPr>
        <p:spPr>
          <a:xfrm>
            <a:off x="3258343" y="46653"/>
            <a:ext cx="2345736" cy="718782"/>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40617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4"/>
                                        </p:tgtEl>
                                        <p:attrNameLst>
                                          <p:attrName>style.color</p:attrName>
                                        </p:attrNameLst>
                                      </p:cBhvr>
                                      <p:by>
                                        <p:hsl h="0" s="-12549" l="-25098"/>
                                      </p:by>
                                    </p:animClr>
                                    <p:animClr clrSpc="hsl" dir="cw">
                                      <p:cBhvr>
                                        <p:cTn id="7" dur="500" fill="hold"/>
                                        <p:tgtEl>
                                          <p:spTgt spid="14"/>
                                        </p:tgtEl>
                                        <p:attrNameLst>
                                          <p:attrName>fillcolor</p:attrName>
                                        </p:attrNameLst>
                                      </p:cBhvr>
                                      <p:by>
                                        <p:hsl h="0" s="-12549" l="-25098"/>
                                      </p:by>
                                    </p:animClr>
                                    <p:animClr clrSpc="hsl" dir="cw">
                                      <p:cBhvr>
                                        <p:cTn id="8" dur="500" fill="hold"/>
                                        <p:tgtEl>
                                          <p:spTgt spid="14"/>
                                        </p:tgtEl>
                                        <p:attrNameLst>
                                          <p:attrName>stroke.color</p:attrName>
                                        </p:attrNameLst>
                                      </p:cBhvr>
                                      <p:by>
                                        <p:hsl h="0" s="-12549" l="-25098"/>
                                      </p:by>
                                    </p:animClr>
                                    <p:set>
                                      <p:cBhvr>
                                        <p:cTn id="9" dur="500" fill="hold"/>
                                        <p:tgtEl>
                                          <p:spTgt spid="1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51012" y="1457509"/>
            <a:ext cx="3429213" cy="1143000"/>
          </a:xfrm>
        </p:spPr>
        <p:txBody>
          <a:bodyPr>
            <a:normAutofit/>
          </a:bodyPr>
          <a:lstStyle/>
          <a:p>
            <a:pPr algn="l"/>
            <a:r>
              <a:rPr lang="fr-FR" sz="2400" dirty="0"/>
              <a:t>Le processus achats</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1504094216"/>
              </p:ext>
            </p:extLst>
          </p:nvPr>
        </p:nvGraphicFramePr>
        <p:xfrm>
          <a:off x="1751012" y="1066800"/>
          <a:ext cx="9826625"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Espace réservé du numéro de diapositive 5"/>
          <p:cNvSpPr>
            <a:spLocks noGrp="1"/>
          </p:cNvSpPr>
          <p:nvPr>
            <p:ph type="sldNum" sz="quarter" idx="12"/>
          </p:nvPr>
        </p:nvSpPr>
        <p:spPr/>
        <p:txBody>
          <a:bodyPr/>
          <a:lstStyle/>
          <a:p>
            <a:fld id="{C2F52289-4012-4053-9770-FE82CEB9514F}" type="slidenum">
              <a:rPr lang="en-US" smtClean="0"/>
              <a:pPr/>
              <a:t>12</a:t>
            </a:fld>
            <a:endParaRPr lang="en-US"/>
          </a:p>
        </p:txBody>
      </p:sp>
      <p:graphicFrame>
        <p:nvGraphicFramePr>
          <p:cNvPr id="9" name="Diagramme 54"/>
          <p:cNvGraphicFramePr/>
          <p:nvPr>
            <p:extLst>
              <p:ext uri="{D42A27DB-BD31-4B8C-83A1-F6EECF244321}">
                <p14:modId xmlns:p14="http://schemas.microsoft.com/office/powerpoint/2010/main" val="247889548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Arrondir un rectangle avec un coin diagonal 9"/>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12" name="Rectangle 11"/>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13" name="Rectangle 12"/>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14" name="Rectangle 13"/>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15" name="Rectangle 14"/>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ervice achat </a:t>
            </a:r>
          </a:p>
        </p:txBody>
      </p:sp>
      <p:sp>
        <p:nvSpPr>
          <p:cNvPr id="17" name="Rectangle 16"/>
          <p:cNvSpPr/>
          <p:nvPr/>
        </p:nvSpPr>
        <p:spPr>
          <a:xfrm>
            <a:off x="3258343" y="46653"/>
            <a:ext cx="2345736" cy="718782"/>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47889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1750156" y="4708451"/>
            <a:ext cx="8688514" cy="1382018"/>
          </a:xfrm>
          <a:prstGeom prst="rect">
            <a:avLst/>
          </a:prstGeom>
        </p:spPr>
        <p:txBody>
          <a:bodyPr vert="horz" lIns="91416" tIns="45708" rIns="91416" bIns="45708"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dirty="0">
                <a:solidFill>
                  <a:schemeClr val="bg1">
                    <a:lumMod val="50000"/>
                  </a:schemeClr>
                </a:solidFill>
              </a:rPr>
              <a:t>Lorem </a:t>
            </a:r>
            <a:endParaRPr lang="en-US" sz="1200" dirty="0">
              <a:solidFill>
                <a:schemeClr val="bg1">
                  <a:lumMod val="65000"/>
                </a:schemeClr>
              </a:solidFill>
            </a:endParaRPr>
          </a:p>
        </p:txBody>
      </p:sp>
      <p:sp>
        <p:nvSpPr>
          <p:cNvPr id="31" name="Title 13"/>
          <p:cNvSpPr txBox="1">
            <a:spLocks/>
          </p:cNvSpPr>
          <p:nvPr/>
        </p:nvSpPr>
        <p:spPr>
          <a:xfrm>
            <a:off x="1750156" y="4115499"/>
            <a:ext cx="4115620" cy="585362"/>
          </a:xfrm>
          <a:prstGeom prst="rect">
            <a:avLst/>
          </a:prstGeom>
        </p:spPr>
        <p:txBody>
          <a:bodyPr vert="horz" lIns="91416" tIns="45708" rIns="91416" bIns="45708"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sz="2799" dirty="0">
                <a:solidFill>
                  <a:schemeClr val="tx1">
                    <a:lumMod val="50000"/>
                    <a:lumOff val="50000"/>
                  </a:schemeClr>
                </a:solidFill>
                <a:latin typeface="+mn-lt"/>
              </a:rPr>
              <a:t>5 Important Keys</a:t>
            </a:r>
          </a:p>
        </p:txBody>
      </p:sp>
      <p:sp>
        <p:nvSpPr>
          <p:cNvPr id="24" name="Content Placeholder 2"/>
          <p:cNvSpPr txBox="1">
            <a:spLocks/>
          </p:cNvSpPr>
          <p:nvPr/>
        </p:nvSpPr>
        <p:spPr>
          <a:xfrm>
            <a:off x="294235" y="2676383"/>
            <a:ext cx="1999151" cy="1111744"/>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Définir</a:t>
            </a:r>
            <a:r>
              <a:rPr lang="en-US" sz="4399"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32" name="Content Placeholder 2"/>
          <p:cNvSpPr txBox="1">
            <a:spLocks/>
          </p:cNvSpPr>
          <p:nvPr/>
        </p:nvSpPr>
        <p:spPr>
          <a:xfrm>
            <a:off x="803027" y="1828801"/>
            <a:ext cx="981568" cy="458578"/>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01</a:t>
            </a:r>
          </a:p>
        </p:txBody>
      </p:sp>
      <p:grpSp>
        <p:nvGrpSpPr>
          <p:cNvPr id="6" name="Group 5"/>
          <p:cNvGrpSpPr/>
          <p:nvPr/>
        </p:nvGrpSpPr>
        <p:grpSpPr>
          <a:xfrm>
            <a:off x="2273655" y="1828800"/>
            <a:ext cx="2400686" cy="2033171"/>
            <a:chOff x="3204671" y="2141908"/>
            <a:chExt cx="2401311" cy="2033701"/>
          </a:xfrm>
        </p:grpSpPr>
        <p:sp>
          <p:nvSpPr>
            <p:cNvPr id="25" name="Content Placeholder 2"/>
            <p:cNvSpPr txBox="1">
              <a:spLocks/>
            </p:cNvSpPr>
            <p:nvPr/>
          </p:nvSpPr>
          <p:spPr>
            <a:xfrm>
              <a:off x="3204671" y="3063575"/>
              <a:ext cx="2401311" cy="1112034"/>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b="1" dirty="0" err="1">
                  <a:solidFill>
                    <a:schemeClr val="accent4"/>
                  </a:solidFill>
                  <a:latin typeface="Open Sans" panose="020B0606030504020204" pitchFamily="34" charset="0"/>
                  <a:ea typeface="Open Sans" panose="020B0606030504020204" pitchFamily="34" charset="0"/>
                  <a:cs typeface="Open Sans" panose="020B0606030504020204" pitchFamily="34" charset="0"/>
                </a:rPr>
                <a:t>Mesurer</a:t>
              </a:r>
              <a:r>
                <a:rPr lang="en-US" sz="4000" b="1" dirty="0">
                  <a:solidFill>
                    <a:schemeClr val="accent4"/>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33" name="Content Placeholder 2"/>
            <p:cNvSpPr txBox="1">
              <a:spLocks/>
            </p:cNvSpPr>
            <p:nvPr/>
          </p:nvSpPr>
          <p:spPr>
            <a:xfrm>
              <a:off x="3604885" y="2141908"/>
              <a:ext cx="981824" cy="458697"/>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a:solidFill>
                    <a:schemeClr val="accent4"/>
                  </a:solidFill>
                  <a:latin typeface="Open Sans" panose="020B0606030504020204" pitchFamily="34" charset="0"/>
                  <a:ea typeface="Open Sans" panose="020B0606030504020204" pitchFamily="34" charset="0"/>
                  <a:cs typeface="Open Sans" panose="020B0606030504020204" pitchFamily="34" charset="0"/>
                </a:rPr>
                <a:t>02</a:t>
              </a:r>
            </a:p>
          </p:txBody>
        </p:sp>
      </p:grpSp>
      <p:grpSp>
        <p:nvGrpSpPr>
          <p:cNvPr id="7" name="Group 6"/>
          <p:cNvGrpSpPr/>
          <p:nvPr/>
        </p:nvGrpSpPr>
        <p:grpSpPr>
          <a:xfrm>
            <a:off x="4556561" y="1926008"/>
            <a:ext cx="2251742" cy="1959328"/>
            <a:chOff x="5251331" y="2141908"/>
            <a:chExt cx="2252328" cy="1959838"/>
          </a:xfrm>
        </p:grpSpPr>
        <p:sp>
          <p:nvSpPr>
            <p:cNvPr id="26" name="Content Placeholder 2"/>
            <p:cNvSpPr txBox="1">
              <a:spLocks/>
            </p:cNvSpPr>
            <p:nvPr/>
          </p:nvSpPr>
          <p:spPr>
            <a:xfrm>
              <a:off x="5251331" y="2989712"/>
              <a:ext cx="2252328" cy="1112034"/>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b="1" dirty="0" err="1">
                  <a:solidFill>
                    <a:srgbClr val="F0534B"/>
                  </a:solidFill>
                  <a:latin typeface="Open Sans" panose="020B0606030504020204" pitchFamily="34" charset="0"/>
                  <a:ea typeface="Open Sans" panose="020B0606030504020204" pitchFamily="34" charset="0"/>
                  <a:cs typeface="Open Sans" panose="020B0606030504020204" pitchFamily="34" charset="0"/>
                </a:rPr>
                <a:t>Analyser</a:t>
              </a:r>
              <a:endParaRPr lang="en-US" sz="3600" b="1" dirty="0">
                <a:solidFill>
                  <a:srgbClr val="F0534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Content Placeholder 2"/>
            <p:cNvSpPr txBox="1">
              <a:spLocks/>
            </p:cNvSpPr>
            <p:nvPr/>
          </p:nvSpPr>
          <p:spPr>
            <a:xfrm>
              <a:off x="5251332" y="2141908"/>
              <a:ext cx="981824" cy="458697"/>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a:solidFill>
                    <a:srgbClr val="F0534B"/>
                  </a:solidFill>
                  <a:latin typeface="Open Sans" panose="020B0606030504020204" pitchFamily="34" charset="0"/>
                  <a:ea typeface="Open Sans" panose="020B0606030504020204" pitchFamily="34" charset="0"/>
                  <a:cs typeface="Open Sans" panose="020B0606030504020204" pitchFamily="34" charset="0"/>
                </a:rPr>
                <a:t>03</a:t>
              </a:r>
            </a:p>
          </p:txBody>
        </p:sp>
      </p:grpSp>
      <p:grpSp>
        <p:nvGrpSpPr>
          <p:cNvPr id="8" name="Group 7"/>
          <p:cNvGrpSpPr/>
          <p:nvPr/>
        </p:nvGrpSpPr>
        <p:grpSpPr>
          <a:xfrm>
            <a:off x="6797717" y="1926008"/>
            <a:ext cx="2941493" cy="2081336"/>
            <a:chOff x="6878038" y="2141908"/>
            <a:chExt cx="2942259" cy="2081878"/>
          </a:xfrm>
        </p:grpSpPr>
        <p:sp>
          <p:nvSpPr>
            <p:cNvPr id="27" name="Content Placeholder 2"/>
            <p:cNvSpPr txBox="1">
              <a:spLocks/>
            </p:cNvSpPr>
            <p:nvPr/>
          </p:nvSpPr>
          <p:spPr>
            <a:xfrm>
              <a:off x="6878038" y="3111752"/>
              <a:ext cx="2942259" cy="1112034"/>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b="1" dirty="0">
                  <a:solidFill>
                    <a:schemeClr val="accent6"/>
                  </a:solidFill>
                  <a:latin typeface="Open Sans" panose="020B0606030504020204" pitchFamily="34" charset="0"/>
                  <a:ea typeface="Open Sans" panose="020B0606030504020204" pitchFamily="34" charset="0"/>
                  <a:cs typeface="Open Sans" panose="020B0606030504020204" pitchFamily="34" charset="0"/>
                </a:rPr>
                <a:t>Implementer/</a:t>
              </a:r>
              <a:r>
                <a:rPr lang="en-US" sz="3200" b="1" dirty="0" err="1">
                  <a:solidFill>
                    <a:schemeClr val="accent6"/>
                  </a:solidFill>
                  <a:latin typeface="Open Sans" panose="020B0606030504020204" pitchFamily="34" charset="0"/>
                  <a:ea typeface="Open Sans" panose="020B0606030504020204" pitchFamily="34" charset="0"/>
                  <a:cs typeface="Open Sans" panose="020B0606030504020204" pitchFamily="34" charset="0"/>
                </a:rPr>
                <a:t>Améliorer</a:t>
              </a:r>
              <a:endParaRPr lang="en-US" sz="3200" b="1" dirty="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Content Placeholder 2"/>
            <p:cNvSpPr txBox="1">
              <a:spLocks/>
            </p:cNvSpPr>
            <p:nvPr/>
          </p:nvSpPr>
          <p:spPr>
            <a:xfrm>
              <a:off x="6890669" y="2141908"/>
              <a:ext cx="981824" cy="458697"/>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a:solidFill>
                    <a:schemeClr val="accent6"/>
                  </a:solidFill>
                  <a:latin typeface="Open Sans" panose="020B0606030504020204" pitchFamily="34" charset="0"/>
                  <a:ea typeface="Open Sans" panose="020B0606030504020204" pitchFamily="34" charset="0"/>
                  <a:cs typeface="Open Sans" panose="020B0606030504020204" pitchFamily="34" charset="0"/>
                </a:rPr>
                <a:t>04</a:t>
              </a:r>
            </a:p>
          </p:txBody>
        </p:sp>
      </p:grpSp>
      <p:grpSp>
        <p:nvGrpSpPr>
          <p:cNvPr id="9" name="Group 8"/>
          <p:cNvGrpSpPr/>
          <p:nvPr/>
        </p:nvGrpSpPr>
        <p:grpSpPr>
          <a:xfrm>
            <a:off x="9599613" y="1793926"/>
            <a:ext cx="2215934" cy="2213418"/>
            <a:chOff x="8461088" y="2141906"/>
            <a:chExt cx="2216511" cy="2213994"/>
          </a:xfrm>
        </p:grpSpPr>
        <p:sp>
          <p:nvSpPr>
            <p:cNvPr id="28" name="Content Placeholder 2"/>
            <p:cNvSpPr txBox="1">
              <a:spLocks/>
            </p:cNvSpPr>
            <p:nvPr/>
          </p:nvSpPr>
          <p:spPr>
            <a:xfrm>
              <a:off x="8461088" y="3243866"/>
              <a:ext cx="2216511" cy="1112034"/>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b="1" dirty="0" err="1">
                  <a:solidFill>
                    <a:srgbClr val="7030A0"/>
                  </a:solidFill>
                  <a:latin typeface="Open Sans" panose="020B0606030504020204" pitchFamily="34" charset="0"/>
                  <a:ea typeface="Open Sans" panose="020B0606030504020204" pitchFamily="34" charset="0"/>
                  <a:cs typeface="Open Sans" panose="020B0606030504020204" pitchFamily="34" charset="0"/>
                </a:rPr>
                <a:t>Controler</a:t>
              </a:r>
              <a:endParaRPr lang="en-US" sz="3200" b="1" dirty="0">
                <a:solidFill>
                  <a:srgbClr val="7030A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Content Placeholder 2"/>
            <p:cNvSpPr txBox="1">
              <a:spLocks/>
            </p:cNvSpPr>
            <p:nvPr/>
          </p:nvSpPr>
          <p:spPr>
            <a:xfrm>
              <a:off x="8546280" y="2141906"/>
              <a:ext cx="981824" cy="458697"/>
            </a:xfrm>
            <a:prstGeom prst="rect">
              <a:avLst/>
            </a:prstGeom>
          </p:spPr>
          <p:txBody>
            <a:bodyPr vert="horz" lIns="91416" tIns="45708" rIns="91416" bIns="45708"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399" b="1" dirty="0">
                  <a:solidFill>
                    <a:srgbClr val="7030A0"/>
                  </a:solidFill>
                  <a:latin typeface="Open Sans" panose="020B0606030504020204" pitchFamily="34" charset="0"/>
                  <a:ea typeface="Open Sans" panose="020B0606030504020204" pitchFamily="34" charset="0"/>
                  <a:cs typeface="Open Sans" panose="020B0606030504020204" pitchFamily="34" charset="0"/>
                </a:rPr>
                <a:t>05</a:t>
              </a:r>
            </a:p>
          </p:txBody>
        </p:sp>
      </p:grpSp>
      <p:sp>
        <p:nvSpPr>
          <p:cNvPr id="20" name="Title 2"/>
          <p:cNvSpPr txBox="1">
            <a:spLocks/>
          </p:cNvSpPr>
          <p:nvPr/>
        </p:nvSpPr>
        <p:spPr>
          <a:xfrm>
            <a:off x="2480684" y="365162"/>
            <a:ext cx="7227457" cy="445972"/>
          </a:xfrm>
          <a:prstGeom prst="rect">
            <a:avLst/>
          </a:prstGeom>
        </p:spPr>
        <p:txBody>
          <a:bodyPr vert="horz" lIns="91416" tIns="45708" rIns="91416" bIns="45708" rtlCol="0" anchor="ctr">
            <a:noAutofit/>
          </a:bodyPr>
          <a:lstStyle/>
          <a:p>
            <a:pPr algn="ctr" defTabSz="914126">
              <a:spcBef>
                <a:spcPct val="0"/>
              </a:spcBef>
              <a:defRPr/>
            </a:pPr>
            <a:r>
              <a:rPr lang="en-US" sz="2799" dirty="0" err="1">
                <a:latin typeface="Open Sans Extrabold" panose="020B0906030804020204" pitchFamily="34" charset="0"/>
                <a:ea typeface="Open Sans Extrabold" panose="020B0906030804020204" pitchFamily="34" charset="0"/>
                <a:cs typeface="Open Sans Extrabold" panose="020B0906030804020204" pitchFamily="34" charset="0"/>
              </a:rPr>
              <a:t>Démarche</a:t>
            </a:r>
            <a:r>
              <a:rPr lang="en-US" sz="2799" dirty="0">
                <a:latin typeface="Open Sans Extrabold" panose="020B0906030804020204" pitchFamily="34" charset="0"/>
                <a:ea typeface="Open Sans Extrabold" panose="020B0906030804020204" pitchFamily="34" charset="0"/>
                <a:cs typeface="Open Sans Extrabold" panose="020B0906030804020204" pitchFamily="34" charset="0"/>
              </a:rPr>
              <a:t> DMAIC</a:t>
            </a:r>
          </a:p>
        </p:txBody>
      </p:sp>
      <p:grpSp>
        <p:nvGrpSpPr>
          <p:cNvPr id="22" name="Group 21"/>
          <p:cNvGrpSpPr/>
          <p:nvPr/>
        </p:nvGrpSpPr>
        <p:grpSpPr>
          <a:xfrm rot="10800000" flipV="1">
            <a:off x="5380522" y="1080697"/>
            <a:ext cx="1427781" cy="45707"/>
            <a:chOff x="3965945" y="1385354"/>
            <a:chExt cx="4572000" cy="79107"/>
          </a:xfrm>
        </p:grpSpPr>
        <p:sp>
          <p:nvSpPr>
            <p:cNvPr id="23" name="Rectangle 22"/>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37" name="Rectangle 36"/>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38" name="Rectangle 37"/>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39" name="Rectangle 38"/>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41" name="Rectangle 40"/>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pic>
        <p:nvPicPr>
          <p:cNvPr id="29" name="Picture 4"/>
          <p:cNvPicPr>
            <a:picLocks noChangeAspect="1" noChangeArrowheads="1"/>
          </p:cNvPicPr>
          <p:nvPr/>
        </p:nvPicPr>
        <p:blipFill>
          <a:blip r:embed="rId3" cstate="print"/>
          <a:srcRect/>
          <a:stretch>
            <a:fillRect/>
          </a:stretch>
        </p:blipFill>
        <p:spPr bwMode="auto">
          <a:xfrm>
            <a:off x="294235" y="4627450"/>
            <a:ext cx="11057977" cy="1992619"/>
          </a:xfrm>
          <a:prstGeom prst="rect">
            <a:avLst/>
          </a:prstGeom>
          <a:noFill/>
          <a:ln w="9525">
            <a:noFill/>
            <a:miter lim="800000"/>
            <a:headEnd/>
            <a:tailEnd/>
          </a:ln>
          <a:effectLst/>
        </p:spPr>
      </p:pic>
      <p:sp>
        <p:nvSpPr>
          <p:cNvPr id="2" name="Espace réservé du numéro de diapositive 1"/>
          <p:cNvSpPr>
            <a:spLocks noGrp="1"/>
          </p:cNvSpPr>
          <p:nvPr>
            <p:ph type="sldNum" sz="quarter" idx="12"/>
          </p:nvPr>
        </p:nvSpPr>
        <p:spPr/>
        <p:txBody>
          <a:bodyPr/>
          <a:lstStyle/>
          <a:p>
            <a:fld id="{C9F2E319-0919-499D-AD1F-7963255D1003}" type="slidenum">
              <a:rPr lang="id-ID" smtClean="0"/>
              <a:t>13</a:t>
            </a:fld>
            <a:endParaRPr lang="id-ID"/>
          </a:p>
        </p:txBody>
      </p:sp>
    </p:spTree>
    <p:extLst>
      <p:ext uri="{BB962C8B-B14F-4D97-AF65-F5344CB8AC3E}">
        <p14:creationId xmlns:p14="http://schemas.microsoft.com/office/powerpoint/2010/main" val="3558091466"/>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barn(inVertical)">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childTnLst>
                          </p:cTn>
                        </p:par>
                        <p:par>
                          <p:cTn id="12" fill="hold">
                            <p:stCondLst>
                              <p:cond delay="1000"/>
                            </p:stCondLst>
                            <p:childTnLst>
                              <p:par>
                                <p:cTn id="13" presetID="49" presetClass="entr" presetSubtype="0" decel="10000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p:cTn id="15" dur="500" fill="hold"/>
                                        <p:tgtEl>
                                          <p:spTgt spid="22"/>
                                        </p:tgtEl>
                                        <p:attrNameLst>
                                          <p:attrName>ppt_w</p:attrName>
                                        </p:attrNameLst>
                                      </p:cBhvr>
                                      <p:tavLst>
                                        <p:tav tm="0">
                                          <p:val>
                                            <p:fltVal val="0"/>
                                          </p:val>
                                        </p:tav>
                                        <p:tav tm="100000">
                                          <p:val>
                                            <p:strVal val="#ppt_w"/>
                                          </p:val>
                                        </p:tav>
                                      </p:tavLst>
                                    </p:anim>
                                    <p:anim calcmode="lin" valueType="num">
                                      <p:cBhvr>
                                        <p:cTn id="16" dur="500" fill="hold"/>
                                        <p:tgtEl>
                                          <p:spTgt spid="22"/>
                                        </p:tgtEl>
                                        <p:attrNameLst>
                                          <p:attrName>ppt_h</p:attrName>
                                        </p:attrNameLst>
                                      </p:cBhvr>
                                      <p:tavLst>
                                        <p:tav tm="0">
                                          <p:val>
                                            <p:fltVal val="0"/>
                                          </p:val>
                                        </p:tav>
                                        <p:tav tm="100000">
                                          <p:val>
                                            <p:strVal val="#ppt_h"/>
                                          </p:val>
                                        </p:tav>
                                      </p:tavLst>
                                    </p:anim>
                                    <p:anim calcmode="lin" valueType="num">
                                      <p:cBhvr>
                                        <p:cTn id="17" dur="500" fill="hold"/>
                                        <p:tgtEl>
                                          <p:spTgt spid="22"/>
                                        </p:tgtEl>
                                        <p:attrNameLst>
                                          <p:attrName>style.rotation</p:attrName>
                                        </p:attrNameLst>
                                      </p:cBhvr>
                                      <p:tavLst>
                                        <p:tav tm="0">
                                          <p:val>
                                            <p:fltVal val="360"/>
                                          </p:val>
                                        </p:tav>
                                        <p:tav tm="100000">
                                          <p:val>
                                            <p:fltVal val="0"/>
                                          </p:val>
                                        </p:tav>
                                      </p:tavLst>
                                    </p:anim>
                                    <p:animEffect transition="in" filter="fade">
                                      <p:cBhvr>
                                        <p:cTn id="1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046412" y="1524000"/>
            <a:ext cx="8915400" cy="5181600"/>
          </a:xfrm>
        </p:spPr>
        <p:txBody>
          <a:bodyPr>
            <a:normAutofit/>
          </a:bodyPr>
          <a:lstStyle/>
          <a:p>
            <a:r>
              <a:rPr lang="fr-FR" sz="2000" b="1" u="sng" dirty="0">
                <a:solidFill>
                  <a:schemeClr val="accent5">
                    <a:lumMod val="50000"/>
                  </a:schemeClr>
                </a:solidFill>
              </a:rPr>
              <a:t>Définir le problème</a:t>
            </a:r>
          </a:p>
          <a:p>
            <a:pPr marL="0" indent="0">
              <a:buNone/>
            </a:pPr>
            <a:r>
              <a:rPr lang="fr-FR" sz="2000" dirty="0"/>
              <a:t>En termes de délais(qualité), le service achats a constaté la présence d’un écart notable entre les performances attendues et celles réalisées au niveau de service fournisseurs, </a:t>
            </a:r>
          </a:p>
          <a:p>
            <a:pPr marL="0" indent="0">
              <a:buNone/>
            </a:pPr>
            <a:r>
              <a:rPr lang="fr-FR" sz="2000" b="1" u="sng" dirty="0">
                <a:solidFill>
                  <a:schemeClr val="accent5">
                    <a:lumMod val="50000"/>
                  </a:schemeClr>
                </a:solidFill>
              </a:rPr>
              <a:t>Définir le périmètre de l’étude</a:t>
            </a:r>
          </a:p>
          <a:p>
            <a:pPr marL="0" indent="0">
              <a:buNone/>
            </a:pPr>
            <a:endParaRPr lang="fr-FR" sz="2000" b="1" u="sng" dirty="0">
              <a:solidFill>
                <a:schemeClr val="accent5">
                  <a:lumMod val="50000"/>
                </a:schemeClr>
              </a:solidFill>
            </a:endParaRPr>
          </a:p>
          <a:p>
            <a:pPr marL="0" indent="0">
              <a:buNone/>
            </a:pPr>
            <a:endParaRPr lang="fr-FR" sz="2000" dirty="0"/>
          </a:p>
          <a:p>
            <a:pPr marL="0" indent="0">
              <a:buNone/>
            </a:pPr>
            <a:endParaRPr lang="fr-FR" sz="2000" dirty="0"/>
          </a:p>
          <a:p>
            <a:pPr marL="0" indent="0">
              <a:buNone/>
            </a:pPr>
            <a:endParaRPr lang="fr-FR" sz="2000" dirty="0"/>
          </a:p>
          <a:p>
            <a:endParaRPr lang="fr-FR" sz="2000" b="1" u="sng" dirty="0">
              <a:solidFill>
                <a:schemeClr val="accent5">
                  <a:lumMod val="50000"/>
                </a:schemeClr>
              </a:solidFill>
            </a:endParaRPr>
          </a:p>
          <a:p>
            <a:r>
              <a:rPr lang="fr-FR" sz="2000" b="1" u="sng" dirty="0">
                <a:solidFill>
                  <a:schemeClr val="accent5">
                    <a:lumMod val="50000"/>
                  </a:schemeClr>
                </a:solidFill>
              </a:rPr>
              <a:t>Définir l’objectif à atteindre </a:t>
            </a:r>
          </a:p>
          <a:p>
            <a:pPr marL="0" indent="0">
              <a:buNone/>
            </a:pPr>
            <a:r>
              <a:rPr lang="fr-FR" sz="1800" dirty="0"/>
              <a:t>Intervalle de tolérance = +/- 3 jours </a:t>
            </a:r>
          </a:p>
          <a:p>
            <a:pPr marL="0" indent="0">
              <a:buNone/>
            </a:pPr>
            <a:r>
              <a:rPr lang="fr-FR" sz="1800" dirty="0"/>
              <a:t>Niveau de service de 90%  </a:t>
            </a:r>
            <a:endParaRPr lang="fr-FR" dirty="0"/>
          </a:p>
        </p:txBody>
      </p:sp>
      <p:pic>
        <p:nvPicPr>
          <p:cNvPr id="71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4613" t="41426" r="25019" b="48090"/>
          <a:stretch/>
        </p:blipFill>
        <p:spPr bwMode="auto">
          <a:xfrm>
            <a:off x="4799012" y="3687580"/>
            <a:ext cx="6367168" cy="126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10" name="Trapezoid 40"/>
          <p:cNvSpPr/>
          <p:nvPr/>
        </p:nvSpPr>
        <p:spPr bwMode="auto">
          <a:xfrm rot="12924969">
            <a:off x="789955" y="2694620"/>
            <a:ext cx="1984715" cy="850644"/>
          </a:xfrm>
          <a:prstGeom prst="trapezoid">
            <a:avLst>
              <a:gd name="adj" fmla="val 60955"/>
            </a:avLst>
          </a:prstGeom>
          <a:noFill/>
          <a:ln w="28575"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a:off x="1488173" y="2964429"/>
            <a:ext cx="705721" cy="1077218"/>
          </a:xfrm>
          <a:prstGeom prst="rect">
            <a:avLst/>
          </a:prstGeom>
          <a:noFill/>
        </p:spPr>
        <p:txBody>
          <a:bodyPr wrap="square" rtlCol="0">
            <a:spAutoFit/>
          </a:bodyPr>
          <a:lstStyle/>
          <a:p>
            <a:r>
              <a:rPr lang="fr-FR" sz="3200" b="1" dirty="0">
                <a:solidFill>
                  <a:srgbClr val="FF0000"/>
                </a:solidFill>
              </a:rPr>
              <a:t>D</a:t>
            </a:r>
          </a:p>
          <a:p>
            <a:endParaRPr lang="fr-FR" sz="3200" b="1" dirty="0">
              <a:solidFill>
                <a:srgbClr val="FF0000"/>
              </a:solidFill>
            </a:endParaRPr>
          </a:p>
        </p:txBody>
      </p:sp>
      <p:sp>
        <p:nvSpPr>
          <p:cNvPr id="5" name="Espace réservé du numéro de diapositive 4"/>
          <p:cNvSpPr>
            <a:spLocks noGrp="1"/>
          </p:cNvSpPr>
          <p:nvPr>
            <p:ph type="sldNum" sz="quarter" idx="12"/>
          </p:nvPr>
        </p:nvSpPr>
        <p:spPr/>
        <p:txBody>
          <a:bodyPr/>
          <a:lstStyle/>
          <a:p>
            <a:fld id="{C2F52289-4012-4053-9770-FE82CEB9514F}" type="slidenum">
              <a:rPr lang="en-US" smtClean="0"/>
              <a:pPr/>
              <a:t>14</a:t>
            </a:fld>
            <a:endParaRPr lang="en-US"/>
          </a:p>
        </p:txBody>
      </p:sp>
      <p:graphicFrame>
        <p:nvGraphicFramePr>
          <p:cNvPr id="21"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2" name="Rectangle 21"/>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3" name="Rectangle 22"/>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52675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par>
                                <p:cTn id="8" presetID="24" presetClass="emph" presetSubtype="0" fill="hold" grpId="0" nodeType="withEffect">
                                  <p:stCondLst>
                                    <p:cond delay="0"/>
                                  </p:stCondLst>
                                  <p:childTnLst>
                                    <p:animClr clrSpc="hsl" dir="cw">
                                      <p:cBhvr override="childStyle">
                                        <p:cTn id="9" dur="500" fill="hold"/>
                                        <p:tgtEl>
                                          <p:spTgt spid="23"/>
                                        </p:tgtEl>
                                        <p:attrNameLst>
                                          <p:attrName>style.color</p:attrName>
                                        </p:attrNameLst>
                                      </p:cBhvr>
                                      <p:by>
                                        <p:hsl h="0" s="-12549" l="-25098"/>
                                      </p:by>
                                    </p:animClr>
                                    <p:animClr clrSpc="hsl" dir="cw">
                                      <p:cBhvr>
                                        <p:cTn id="10" dur="500" fill="hold"/>
                                        <p:tgtEl>
                                          <p:spTgt spid="23"/>
                                        </p:tgtEl>
                                        <p:attrNameLst>
                                          <p:attrName>fillcolor</p:attrName>
                                        </p:attrNameLst>
                                      </p:cBhvr>
                                      <p:by>
                                        <p:hsl h="0" s="-12549" l="-25098"/>
                                      </p:by>
                                    </p:animClr>
                                    <p:animClr clrSpc="hsl" dir="cw">
                                      <p:cBhvr>
                                        <p:cTn id="11" dur="500" fill="hold"/>
                                        <p:tgtEl>
                                          <p:spTgt spid="23"/>
                                        </p:tgtEl>
                                        <p:attrNameLst>
                                          <p:attrName>stroke.color</p:attrName>
                                        </p:attrNameLst>
                                      </p:cBhvr>
                                      <p:by>
                                        <p:hsl h="0" s="-12549" l="-25098"/>
                                      </p:by>
                                    </p:animClr>
                                    <p:set>
                                      <p:cBhvr>
                                        <p:cTn id="12" dur="500" fill="hold"/>
                                        <p:tgtEl>
                                          <p:spTgt spid="2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647444" y="1474839"/>
            <a:ext cx="10969943" cy="639761"/>
          </a:xfrm>
        </p:spPr>
        <p:txBody>
          <a:bodyPr>
            <a:normAutofit fontScale="90000"/>
          </a:bodyPr>
          <a:lstStyle/>
          <a:p>
            <a:r>
              <a:rPr lang="fr-FR" dirty="0"/>
              <a:t>SIPOC</a:t>
            </a: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5027" t="31840" r="16308" b="13302"/>
          <a:stretch/>
        </p:blipFill>
        <p:spPr bwMode="auto">
          <a:xfrm>
            <a:off x="3501294" y="2381250"/>
            <a:ext cx="8460518" cy="40129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10"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11" name="Trapezoid 40"/>
          <p:cNvSpPr/>
          <p:nvPr/>
        </p:nvSpPr>
        <p:spPr bwMode="auto">
          <a:xfrm rot="12924969">
            <a:off x="789955" y="2694620"/>
            <a:ext cx="1984715" cy="850644"/>
          </a:xfrm>
          <a:prstGeom prst="trapezoid">
            <a:avLst>
              <a:gd name="adj" fmla="val 60955"/>
            </a:avLst>
          </a:prstGeom>
          <a:noFill/>
          <a:ln w="28575"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3" name="ZoneTexte 12"/>
          <p:cNvSpPr txBox="1"/>
          <p:nvPr/>
        </p:nvSpPr>
        <p:spPr>
          <a:xfrm>
            <a:off x="1488173" y="2964429"/>
            <a:ext cx="705721" cy="1077218"/>
          </a:xfrm>
          <a:prstGeom prst="rect">
            <a:avLst/>
          </a:prstGeom>
          <a:noFill/>
        </p:spPr>
        <p:txBody>
          <a:bodyPr wrap="square" rtlCol="0">
            <a:spAutoFit/>
          </a:bodyPr>
          <a:lstStyle/>
          <a:p>
            <a:r>
              <a:rPr lang="fr-FR" sz="3200" b="1" dirty="0">
                <a:solidFill>
                  <a:srgbClr val="FF0000"/>
                </a:solidFill>
              </a:rPr>
              <a:t>D</a:t>
            </a:r>
          </a:p>
          <a:p>
            <a:endParaRPr lang="fr-FR" sz="3200" b="1" dirty="0">
              <a:solidFill>
                <a:srgbClr val="FF0000"/>
              </a:solidFill>
            </a:endParaRPr>
          </a:p>
        </p:txBody>
      </p:sp>
      <p:sp>
        <p:nvSpPr>
          <p:cNvPr id="3" name="Espace réservé du numéro de diapositive 2"/>
          <p:cNvSpPr>
            <a:spLocks noGrp="1"/>
          </p:cNvSpPr>
          <p:nvPr>
            <p:ph type="sldNum" sz="quarter" idx="12"/>
          </p:nvPr>
        </p:nvSpPr>
        <p:spPr/>
        <p:txBody>
          <a:bodyPr/>
          <a:lstStyle/>
          <a:p>
            <a:fld id="{C2F52289-4012-4053-9770-FE82CEB9514F}" type="slidenum">
              <a:rPr lang="en-US" smtClean="0"/>
              <a:pPr/>
              <a:t>15</a:t>
            </a:fld>
            <a:endParaRPr lang="en-US"/>
          </a:p>
        </p:txBody>
      </p:sp>
      <p:graphicFrame>
        <p:nvGraphicFramePr>
          <p:cNvPr id="15"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9" name="Rectangle 18"/>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0" name="Rectangle 19"/>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63285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0"/>
                                        </p:tgtEl>
                                        <p:attrNameLst>
                                          <p:attrName>style.color</p:attrName>
                                        </p:attrNameLst>
                                      </p:cBhvr>
                                      <p:by>
                                        <p:hsl h="0" s="-12549" l="-25098"/>
                                      </p:by>
                                    </p:animClr>
                                    <p:animClr clrSpc="hsl" dir="cw">
                                      <p:cBhvr>
                                        <p:cTn id="7" dur="500" fill="hold"/>
                                        <p:tgtEl>
                                          <p:spTgt spid="20"/>
                                        </p:tgtEl>
                                        <p:attrNameLst>
                                          <p:attrName>fillcolor</p:attrName>
                                        </p:attrNameLst>
                                      </p:cBhvr>
                                      <p:by>
                                        <p:hsl h="0" s="-12549" l="-25098"/>
                                      </p:by>
                                    </p:animClr>
                                    <p:animClr clrSpc="hsl" dir="cw">
                                      <p:cBhvr>
                                        <p:cTn id="8" dur="500" fill="hold"/>
                                        <p:tgtEl>
                                          <p:spTgt spid="20"/>
                                        </p:tgtEl>
                                        <p:attrNameLst>
                                          <p:attrName>stroke.color</p:attrName>
                                        </p:attrNameLst>
                                      </p:cBhvr>
                                      <p:by>
                                        <p:hsl h="0" s="-12549" l="-25098"/>
                                      </p:by>
                                    </p:animClr>
                                    <p:set>
                                      <p:cBhvr>
                                        <p:cTn id="9" dur="500" fill="hold"/>
                                        <p:tgtEl>
                                          <p:spTgt spid="2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Oval 80"/>
          <p:cNvSpPr>
            <a:spLocks noChangeAspect="1"/>
          </p:cNvSpPr>
          <p:nvPr/>
        </p:nvSpPr>
        <p:spPr>
          <a:xfrm>
            <a:off x="8451099" y="4162215"/>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nvGrpSpPr>
          <p:cNvPr id="82" name="Group 21"/>
          <p:cNvGrpSpPr/>
          <p:nvPr/>
        </p:nvGrpSpPr>
        <p:grpSpPr>
          <a:xfrm>
            <a:off x="8651363" y="4355238"/>
            <a:ext cx="348778" cy="349374"/>
            <a:chOff x="7287419" y="3505994"/>
            <a:chExt cx="464344" cy="465138"/>
          </a:xfrm>
          <a:solidFill>
            <a:schemeClr val="accent1"/>
          </a:solidFill>
        </p:grpSpPr>
        <p:sp>
          <p:nvSpPr>
            <p:cNvPr id="83" name="AutoShape 37"/>
            <p:cNvSpPr>
              <a:spLocks/>
            </p:cNvSpPr>
            <p:nvPr/>
          </p:nvSpPr>
          <p:spPr bwMode="auto">
            <a:xfrm>
              <a:off x="7287419" y="354965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4" name="AutoShape 38"/>
            <p:cNvSpPr>
              <a:spLocks/>
            </p:cNvSpPr>
            <p:nvPr/>
          </p:nvSpPr>
          <p:spPr bwMode="auto">
            <a:xfrm>
              <a:off x="7490619" y="373856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5" name="AutoShape 39"/>
            <p:cNvSpPr>
              <a:spLocks/>
            </p:cNvSpPr>
            <p:nvPr/>
          </p:nvSpPr>
          <p:spPr bwMode="auto">
            <a:xfrm>
              <a:off x="7679532" y="350599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6" name="AutoShape 40"/>
            <p:cNvSpPr>
              <a:spLocks/>
            </p:cNvSpPr>
            <p:nvPr/>
          </p:nvSpPr>
          <p:spPr bwMode="auto">
            <a:xfrm>
              <a:off x="7403307" y="372427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7" name="AutoShape 41"/>
            <p:cNvSpPr>
              <a:spLocks/>
            </p:cNvSpPr>
            <p:nvPr/>
          </p:nvSpPr>
          <p:spPr bwMode="auto">
            <a:xfrm>
              <a:off x="7461250" y="382587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8" name="AutoShape 42"/>
            <p:cNvSpPr>
              <a:spLocks/>
            </p:cNvSpPr>
            <p:nvPr/>
          </p:nvSpPr>
          <p:spPr bwMode="auto">
            <a:xfrm>
              <a:off x="7693819" y="360759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sp>
        <p:nvSpPr>
          <p:cNvPr id="90" name="Oval 89"/>
          <p:cNvSpPr>
            <a:spLocks noChangeAspect="1"/>
          </p:cNvSpPr>
          <p:nvPr/>
        </p:nvSpPr>
        <p:spPr>
          <a:xfrm>
            <a:off x="8451099" y="2043270"/>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nvGrpSpPr>
          <p:cNvPr id="91" name="Group 28"/>
          <p:cNvGrpSpPr/>
          <p:nvPr/>
        </p:nvGrpSpPr>
        <p:grpSpPr>
          <a:xfrm>
            <a:off x="8661319" y="2241953"/>
            <a:ext cx="348777" cy="348777"/>
            <a:chOff x="8216107" y="1647825"/>
            <a:chExt cx="464344" cy="464344"/>
          </a:xfrm>
          <a:solidFill>
            <a:schemeClr val="accent1"/>
          </a:solidFill>
        </p:grpSpPr>
        <p:sp>
          <p:nvSpPr>
            <p:cNvPr id="92" name="AutoShape 81"/>
            <p:cNvSpPr>
              <a:spLocks/>
            </p:cNvSpPr>
            <p:nvPr/>
          </p:nvSpPr>
          <p:spPr bwMode="auto">
            <a:xfrm>
              <a:off x="8216107" y="1647825"/>
              <a:ext cx="464344"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35" y="9811"/>
                  </a:moveTo>
                  <a:cubicBezTo>
                    <a:pt x="20220" y="10144"/>
                    <a:pt x="20081" y="10800"/>
                    <a:pt x="18899" y="10800"/>
                  </a:cubicBezTo>
                  <a:lnTo>
                    <a:pt x="17549" y="10800"/>
                  </a:lnTo>
                  <a:cubicBezTo>
                    <a:pt x="17363" y="10800"/>
                    <a:pt x="17212" y="10950"/>
                    <a:pt x="17212" y="11137"/>
                  </a:cubicBezTo>
                  <a:cubicBezTo>
                    <a:pt x="17212" y="11324"/>
                    <a:pt x="17363" y="11475"/>
                    <a:pt x="17549" y="11475"/>
                  </a:cubicBezTo>
                  <a:lnTo>
                    <a:pt x="18858" y="11475"/>
                  </a:lnTo>
                  <a:cubicBezTo>
                    <a:pt x="19870" y="11475"/>
                    <a:pt x="20003" y="12314"/>
                    <a:pt x="19938" y="12719"/>
                  </a:cubicBezTo>
                  <a:cubicBezTo>
                    <a:pt x="19855" y="13223"/>
                    <a:pt x="19618" y="14175"/>
                    <a:pt x="18478" y="14175"/>
                  </a:cubicBezTo>
                  <a:lnTo>
                    <a:pt x="16874" y="14175"/>
                  </a:lnTo>
                  <a:cubicBezTo>
                    <a:pt x="16688" y="14175"/>
                    <a:pt x="16537" y="14325"/>
                    <a:pt x="16537" y="14512"/>
                  </a:cubicBezTo>
                  <a:cubicBezTo>
                    <a:pt x="16537" y="14699"/>
                    <a:pt x="16688" y="14850"/>
                    <a:pt x="16874" y="14850"/>
                  </a:cubicBezTo>
                  <a:lnTo>
                    <a:pt x="18203" y="14850"/>
                  </a:lnTo>
                  <a:cubicBezTo>
                    <a:pt x="19343" y="14850"/>
                    <a:pt x="19243" y="15718"/>
                    <a:pt x="19079" y="16237"/>
                  </a:cubicBezTo>
                  <a:cubicBezTo>
                    <a:pt x="18864" y="16918"/>
                    <a:pt x="18732" y="17549"/>
                    <a:pt x="17297" y="17549"/>
                  </a:cubicBezTo>
                  <a:lnTo>
                    <a:pt x="16196" y="17549"/>
                  </a:lnTo>
                  <a:cubicBezTo>
                    <a:pt x="16009" y="17549"/>
                    <a:pt x="15859" y="17700"/>
                    <a:pt x="15859" y="17887"/>
                  </a:cubicBezTo>
                  <a:cubicBezTo>
                    <a:pt x="15859" y="18073"/>
                    <a:pt x="16009" y="18225"/>
                    <a:pt x="16196" y="18225"/>
                  </a:cubicBezTo>
                  <a:lnTo>
                    <a:pt x="17255" y="18225"/>
                  </a:lnTo>
                  <a:cubicBezTo>
                    <a:pt x="17993" y="18225"/>
                    <a:pt x="18027" y="18923"/>
                    <a:pt x="17950" y="19174"/>
                  </a:cubicBezTo>
                  <a:cubicBezTo>
                    <a:pt x="17866" y="19448"/>
                    <a:pt x="17767" y="19651"/>
                    <a:pt x="17762" y="19660"/>
                  </a:cubicBezTo>
                  <a:cubicBezTo>
                    <a:pt x="17558" y="20028"/>
                    <a:pt x="17229" y="20249"/>
                    <a:pt x="16534" y="20249"/>
                  </a:cubicBezTo>
                  <a:lnTo>
                    <a:pt x="12844" y="20249"/>
                  </a:lnTo>
                  <a:cubicBezTo>
                    <a:pt x="10990" y="20249"/>
                    <a:pt x="9151" y="19829"/>
                    <a:pt x="9104" y="19818"/>
                  </a:cubicBezTo>
                  <a:cubicBezTo>
                    <a:pt x="6299" y="19172"/>
                    <a:pt x="6152" y="19122"/>
                    <a:pt x="5976" y="19072"/>
                  </a:cubicBezTo>
                  <a:cubicBezTo>
                    <a:pt x="5976" y="19072"/>
                    <a:pt x="5405" y="18976"/>
                    <a:pt x="5405" y="18478"/>
                  </a:cubicBezTo>
                  <a:lnTo>
                    <a:pt x="5399" y="9155"/>
                  </a:lnTo>
                  <a:cubicBezTo>
                    <a:pt x="5399" y="8839"/>
                    <a:pt x="5601" y="8552"/>
                    <a:pt x="5935" y="8452"/>
                  </a:cubicBezTo>
                  <a:cubicBezTo>
                    <a:pt x="5977" y="8435"/>
                    <a:pt x="6034" y="8419"/>
                    <a:pt x="6074" y="8401"/>
                  </a:cubicBezTo>
                  <a:cubicBezTo>
                    <a:pt x="9158" y="7125"/>
                    <a:pt x="10097" y="4324"/>
                    <a:pt x="10124" y="2025"/>
                  </a:cubicBezTo>
                  <a:cubicBezTo>
                    <a:pt x="10128" y="1702"/>
                    <a:pt x="10378" y="1350"/>
                    <a:pt x="10800" y="1350"/>
                  </a:cubicBezTo>
                  <a:cubicBezTo>
                    <a:pt x="11514" y="1350"/>
                    <a:pt x="12774" y="2782"/>
                    <a:pt x="12774" y="4554"/>
                  </a:cubicBezTo>
                  <a:cubicBezTo>
                    <a:pt x="12774" y="6155"/>
                    <a:pt x="12711" y="6432"/>
                    <a:pt x="12149" y="8100"/>
                  </a:cubicBezTo>
                  <a:cubicBezTo>
                    <a:pt x="18899" y="8100"/>
                    <a:pt x="18852" y="8196"/>
                    <a:pt x="19448" y="8353"/>
                  </a:cubicBezTo>
                  <a:cubicBezTo>
                    <a:pt x="20187" y="8564"/>
                    <a:pt x="20249" y="9175"/>
                    <a:pt x="20249" y="9386"/>
                  </a:cubicBezTo>
                  <a:cubicBezTo>
                    <a:pt x="20249" y="9618"/>
                    <a:pt x="20243" y="9584"/>
                    <a:pt x="20235" y="9811"/>
                  </a:cubicBezTo>
                  <a:moveTo>
                    <a:pt x="4724" y="19575"/>
                  </a:moveTo>
                  <a:cubicBezTo>
                    <a:pt x="4724" y="19948"/>
                    <a:pt x="4423" y="20249"/>
                    <a:pt x="4049" y="20249"/>
                  </a:cubicBezTo>
                  <a:lnTo>
                    <a:pt x="2024" y="20249"/>
                  </a:lnTo>
                  <a:cubicBezTo>
                    <a:pt x="1652" y="20249"/>
                    <a:pt x="1349" y="19948"/>
                    <a:pt x="1349" y="19575"/>
                  </a:cubicBezTo>
                  <a:lnTo>
                    <a:pt x="1349" y="8774"/>
                  </a:lnTo>
                  <a:cubicBezTo>
                    <a:pt x="1349" y="8401"/>
                    <a:pt x="1652" y="8100"/>
                    <a:pt x="2024" y="8100"/>
                  </a:cubicBezTo>
                  <a:lnTo>
                    <a:pt x="4049" y="8100"/>
                  </a:lnTo>
                  <a:cubicBezTo>
                    <a:pt x="4423" y="8100"/>
                    <a:pt x="4724" y="8401"/>
                    <a:pt x="4724" y="8774"/>
                  </a:cubicBezTo>
                  <a:cubicBezTo>
                    <a:pt x="4724" y="8774"/>
                    <a:pt x="4724" y="19575"/>
                    <a:pt x="4724" y="19575"/>
                  </a:cubicBezTo>
                  <a:close/>
                  <a:moveTo>
                    <a:pt x="19686" y="7069"/>
                  </a:moveTo>
                  <a:cubicBezTo>
                    <a:pt x="18842" y="6846"/>
                    <a:pt x="16858" y="6849"/>
                    <a:pt x="13956" y="6773"/>
                  </a:cubicBezTo>
                  <a:cubicBezTo>
                    <a:pt x="14093" y="6139"/>
                    <a:pt x="14124" y="5568"/>
                    <a:pt x="14124" y="4554"/>
                  </a:cubicBezTo>
                  <a:cubicBezTo>
                    <a:pt x="14124" y="2133"/>
                    <a:pt x="12361" y="0"/>
                    <a:pt x="10800" y="0"/>
                  </a:cubicBezTo>
                  <a:cubicBezTo>
                    <a:pt x="9698" y="0"/>
                    <a:pt x="8789" y="901"/>
                    <a:pt x="8774" y="2009"/>
                  </a:cubicBezTo>
                  <a:cubicBezTo>
                    <a:pt x="8760" y="3368"/>
                    <a:pt x="8340" y="5716"/>
                    <a:pt x="6074" y="6906"/>
                  </a:cubicBezTo>
                  <a:cubicBezTo>
                    <a:pt x="5908" y="6994"/>
                    <a:pt x="5433" y="7228"/>
                    <a:pt x="5364" y="7259"/>
                  </a:cubicBezTo>
                  <a:lnTo>
                    <a:pt x="5399" y="7289"/>
                  </a:lnTo>
                  <a:cubicBezTo>
                    <a:pt x="5045" y="6984"/>
                    <a:pt x="4554" y="6750"/>
                    <a:pt x="4049" y="6750"/>
                  </a:cubicBezTo>
                  <a:lnTo>
                    <a:pt x="2024" y="6750"/>
                  </a:lnTo>
                  <a:cubicBezTo>
                    <a:pt x="908" y="6750"/>
                    <a:pt x="0" y="7658"/>
                    <a:pt x="0" y="8774"/>
                  </a:cubicBezTo>
                  <a:lnTo>
                    <a:pt x="0" y="19575"/>
                  </a:lnTo>
                  <a:cubicBezTo>
                    <a:pt x="0" y="20691"/>
                    <a:pt x="908" y="21599"/>
                    <a:pt x="2024" y="21599"/>
                  </a:cubicBezTo>
                  <a:lnTo>
                    <a:pt x="4049" y="21599"/>
                  </a:lnTo>
                  <a:cubicBezTo>
                    <a:pt x="4853" y="21599"/>
                    <a:pt x="5525" y="21114"/>
                    <a:pt x="5850" y="20434"/>
                  </a:cubicBezTo>
                  <a:cubicBezTo>
                    <a:pt x="5859" y="20437"/>
                    <a:pt x="5873" y="20441"/>
                    <a:pt x="5882" y="20442"/>
                  </a:cubicBezTo>
                  <a:cubicBezTo>
                    <a:pt x="5927" y="20454"/>
                    <a:pt x="5979" y="20467"/>
                    <a:pt x="6044" y="20485"/>
                  </a:cubicBezTo>
                  <a:cubicBezTo>
                    <a:pt x="6056" y="20487"/>
                    <a:pt x="6062" y="20488"/>
                    <a:pt x="6074" y="20492"/>
                  </a:cubicBezTo>
                  <a:cubicBezTo>
                    <a:pt x="6464" y="20588"/>
                    <a:pt x="7212" y="20768"/>
                    <a:pt x="8812" y="21135"/>
                  </a:cubicBezTo>
                  <a:cubicBezTo>
                    <a:pt x="9155" y="21213"/>
                    <a:pt x="10966" y="21599"/>
                    <a:pt x="12844" y="21599"/>
                  </a:cubicBezTo>
                  <a:lnTo>
                    <a:pt x="16534" y="21599"/>
                  </a:lnTo>
                  <a:cubicBezTo>
                    <a:pt x="17659" y="21599"/>
                    <a:pt x="18469" y="21167"/>
                    <a:pt x="18952" y="20298"/>
                  </a:cubicBezTo>
                  <a:cubicBezTo>
                    <a:pt x="18958" y="20285"/>
                    <a:pt x="19114" y="19982"/>
                    <a:pt x="19240" y="19572"/>
                  </a:cubicBezTo>
                  <a:cubicBezTo>
                    <a:pt x="19336" y="19263"/>
                    <a:pt x="19371" y="18827"/>
                    <a:pt x="19256" y="18384"/>
                  </a:cubicBezTo>
                  <a:cubicBezTo>
                    <a:pt x="19981" y="17886"/>
                    <a:pt x="20214" y="17133"/>
                    <a:pt x="20366" y="16643"/>
                  </a:cubicBezTo>
                  <a:cubicBezTo>
                    <a:pt x="20620" y="15838"/>
                    <a:pt x="20544" y="15235"/>
                    <a:pt x="20367" y="14803"/>
                  </a:cubicBezTo>
                  <a:cubicBezTo>
                    <a:pt x="20775" y="14418"/>
                    <a:pt x="21122" y="13831"/>
                    <a:pt x="21269" y="12935"/>
                  </a:cubicBezTo>
                  <a:cubicBezTo>
                    <a:pt x="21361" y="12380"/>
                    <a:pt x="21263" y="11809"/>
                    <a:pt x="21007" y="11334"/>
                  </a:cubicBezTo>
                  <a:cubicBezTo>
                    <a:pt x="21389" y="10905"/>
                    <a:pt x="21564" y="10365"/>
                    <a:pt x="21583" y="9865"/>
                  </a:cubicBezTo>
                  <a:lnTo>
                    <a:pt x="21591" y="9724"/>
                  </a:lnTo>
                  <a:cubicBezTo>
                    <a:pt x="21596" y="9635"/>
                    <a:pt x="21600" y="9581"/>
                    <a:pt x="21600" y="9386"/>
                  </a:cubicBezTo>
                  <a:cubicBezTo>
                    <a:pt x="21600" y="8533"/>
                    <a:pt x="21010" y="7446"/>
                    <a:pt x="19686" y="706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chemeClr val="tx1">
                    <a:lumMod val="65000"/>
                    <a:lumOff val="35000"/>
                  </a:schemeClr>
                </a:solidFill>
                <a:effectLst>
                  <a:outerShdw blurRad="38100" dist="38100" dir="2700000" algn="tl">
                    <a:srgbClr val="000000"/>
                  </a:outerShdw>
                </a:effectLst>
                <a:latin typeface="Gill Sans" charset="0"/>
                <a:sym typeface="Gill Sans" charset="0"/>
              </a:endParaRPr>
            </a:p>
          </p:txBody>
        </p:sp>
        <p:sp>
          <p:nvSpPr>
            <p:cNvPr id="93" name="AutoShape 82"/>
            <p:cNvSpPr>
              <a:spLocks/>
            </p:cNvSpPr>
            <p:nvPr/>
          </p:nvSpPr>
          <p:spPr bwMode="auto">
            <a:xfrm>
              <a:off x="8259763" y="2024857"/>
              <a:ext cx="43657" cy="436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4400"/>
                  </a:moveTo>
                  <a:cubicBezTo>
                    <a:pt x="8820" y="14400"/>
                    <a:pt x="7200" y="12782"/>
                    <a:pt x="7200" y="10800"/>
                  </a:cubicBezTo>
                  <a:cubicBezTo>
                    <a:pt x="7200" y="8817"/>
                    <a:pt x="8820" y="7200"/>
                    <a:pt x="10800" y="7200"/>
                  </a:cubicBezTo>
                  <a:cubicBezTo>
                    <a:pt x="12779" y="7200"/>
                    <a:pt x="14400" y="8817"/>
                    <a:pt x="14400" y="10800"/>
                  </a:cubicBezTo>
                  <a:cubicBezTo>
                    <a:pt x="14400" y="12782"/>
                    <a:pt x="12779" y="14400"/>
                    <a:pt x="10800" y="14400"/>
                  </a:cubicBezTo>
                  <a:moveTo>
                    <a:pt x="10800" y="0"/>
                  </a:moveTo>
                  <a:cubicBezTo>
                    <a:pt x="4837" y="0"/>
                    <a:pt x="0" y="4837"/>
                    <a:pt x="0" y="10800"/>
                  </a:cubicBezTo>
                  <a:cubicBezTo>
                    <a:pt x="0" y="16762"/>
                    <a:pt x="4837" y="21599"/>
                    <a:pt x="10800" y="21599"/>
                  </a:cubicBezTo>
                  <a:cubicBezTo>
                    <a:pt x="16762" y="21599"/>
                    <a:pt x="21600" y="16762"/>
                    <a:pt x="21600" y="10800"/>
                  </a:cubicBezTo>
                  <a:cubicBezTo>
                    <a:pt x="21600" y="4837"/>
                    <a:pt x="16762"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chemeClr val="tx1">
                    <a:lumMod val="65000"/>
                    <a:lumOff val="35000"/>
                  </a:schemeClr>
                </a:solidFill>
                <a:effectLst>
                  <a:outerShdw blurRad="38100" dist="38100" dir="2700000" algn="tl">
                    <a:srgbClr val="000000"/>
                  </a:outerShdw>
                </a:effectLst>
                <a:latin typeface="Gill Sans" charset="0"/>
                <a:sym typeface="Gill Sans" charset="0"/>
              </a:endParaRPr>
            </a:p>
          </p:txBody>
        </p:sp>
      </p:grpSp>
      <p:sp>
        <p:nvSpPr>
          <p:cNvPr id="95" name="Oval 13"/>
          <p:cNvSpPr>
            <a:spLocks noChangeAspect="1"/>
          </p:cNvSpPr>
          <p:nvPr/>
        </p:nvSpPr>
        <p:spPr>
          <a:xfrm>
            <a:off x="5719779" y="4162215"/>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nvGrpSpPr>
          <p:cNvPr id="96" name="Group 31"/>
          <p:cNvGrpSpPr/>
          <p:nvPr/>
        </p:nvGrpSpPr>
        <p:grpSpPr>
          <a:xfrm>
            <a:off x="5962594" y="4355237"/>
            <a:ext cx="263640" cy="384312"/>
            <a:chOff x="3582988" y="3510757"/>
            <a:chExt cx="319088" cy="465138"/>
          </a:xfrm>
          <a:solidFill>
            <a:schemeClr val="accent1"/>
          </a:solidFill>
        </p:grpSpPr>
        <p:sp>
          <p:nvSpPr>
            <p:cNvPr id="97" name="AutoShape 113"/>
            <p:cNvSpPr>
              <a:spLocks/>
            </p:cNvSpPr>
            <p:nvPr/>
          </p:nvSpPr>
          <p:spPr bwMode="auto">
            <a:xfrm>
              <a:off x="3582988" y="3510757"/>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98" name="AutoShape 114"/>
            <p:cNvSpPr>
              <a:spLocks/>
            </p:cNvSpPr>
            <p:nvPr/>
          </p:nvSpPr>
          <p:spPr bwMode="auto">
            <a:xfrm>
              <a:off x="3655219" y="3583782"/>
              <a:ext cx="94456" cy="94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sp>
        <p:nvSpPr>
          <p:cNvPr id="100" name="Oval 99"/>
          <p:cNvSpPr>
            <a:spLocks noChangeAspect="1"/>
          </p:cNvSpPr>
          <p:nvPr/>
        </p:nvSpPr>
        <p:spPr>
          <a:xfrm>
            <a:off x="2988458" y="4162215"/>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nvGrpSpPr>
          <p:cNvPr id="101" name="Group 34"/>
          <p:cNvGrpSpPr/>
          <p:nvPr/>
        </p:nvGrpSpPr>
        <p:grpSpPr>
          <a:xfrm>
            <a:off x="3194972" y="4373004"/>
            <a:ext cx="349374" cy="348777"/>
            <a:chOff x="2581275" y="2582069"/>
            <a:chExt cx="465138" cy="464344"/>
          </a:xfrm>
          <a:solidFill>
            <a:schemeClr val="accent1"/>
          </a:solidFill>
        </p:grpSpPr>
        <p:sp>
          <p:nvSpPr>
            <p:cNvPr id="102" name="AutoShape 128"/>
            <p:cNvSpPr>
              <a:spLocks/>
            </p:cNvSpPr>
            <p:nvPr/>
          </p:nvSpPr>
          <p:spPr bwMode="auto">
            <a:xfrm>
              <a:off x="2581275" y="2582069"/>
              <a:ext cx="465138"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850" y="12150"/>
                  </a:moveTo>
                  <a:cubicBezTo>
                    <a:pt x="13851" y="12150"/>
                    <a:pt x="12926" y="11859"/>
                    <a:pt x="12124" y="11386"/>
                  </a:cubicBezTo>
                  <a:lnTo>
                    <a:pt x="11892" y="11618"/>
                  </a:lnTo>
                  <a:lnTo>
                    <a:pt x="11132" y="12377"/>
                  </a:lnTo>
                  <a:lnTo>
                    <a:pt x="9846" y="13663"/>
                  </a:lnTo>
                  <a:cubicBezTo>
                    <a:pt x="9593" y="13916"/>
                    <a:pt x="9451" y="14260"/>
                    <a:pt x="9451" y="14617"/>
                  </a:cubicBezTo>
                  <a:lnTo>
                    <a:pt x="9451" y="16200"/>
                  </a:lnTo>
                  <a:lnTo>
                    <a:pt x="8101" y="16200"/>
                  </a:lnTo>
                  <a:cubicBezTo>
                    <a:pt x="7356" y="16200"/>
                    <a:pt x="6751" y="16804"/>
                    <a:pt x="6751" y="17549"/>
                  </a:cubicBezTo>
                  <a:lnTo>
                    <a:pt x="6751" y="18900"/>
                  </a:lnTo>
                  <a:lnTo>
                    <a:pt x="5170" y="18900"/>
                  </a:lnTo>
                  <a:cubicBezTo>
                    <a:pt x="4812" y="18900"/>
                    <a:pt x="4469" y="19042"/>
                    <a:pt x="4216" y="19295"/>
                  </a:cubicBezTo>
                  <a:lnTo>
                    <a:pt x="3259" y="20252"/>
                  </a:lnTo>
                  <a:lnTo>
                    <a:pt x="1352" y="20249"/>
                  </a:lnTo>
                  <a:lnTo>
                    <a:pt x="1350" y="18326"/>
                  </a:lnTo>
                  <a:lnTo>
                    <a:pt x="9223" y="10467"/>
                  </a:lnTo>
                  <a:cubicBezTo>
                    <a:pt x="9223" y="10467"/>
                    <a:pt x="9223" y="10467"/>
                    <a:pt x="9224" y="10468"/>
                  </a:cubicBezTo>
                  <a:lnTo>
                    <a:pt x="10215" y="9477"/>
                  </a:lnTo>
                  <a:cubicBezTo>
                    <a:pt x="9741" y="8674"/>
                    <a:pt x="9451" y="7748"/>
                    <a:pt x="9451" y="6750"/>
                  </a:cubicBezTo>
                  <a:cubicBezTo>
                    <a:pt x="9451" y="3767"/>
                    <a:pt x="11869" y="1350"/>
                    <a:pt x="14850" y="1350"/>
                  </a:cubicBezTo>
                  <a:cubicBezTo>
                    <a:pt x="17832" y="1350"/>
                    <a:pt x="20250" y="3767"/>
                    <a:pt x="20250" y="6750"/>
                  </a:cubicBezTo>
                  <a:cubicBezTo>
                    <a:pt x="20250" y="9732"/>
                    <a:pt x="17832" y="12150"/>
                    <a:pt x="14850" y="12150"/>
                  </a:cubicBezTo>
                  <a:moveTo>
                    <a:pt x="14850" y="0"/>
                  </a:moveTo>
                  <a:cubicBezTo>
                    <a:pt x="11123" y="0"/>
                    <a:pt x="8101" y="3022"/>
                    <a:pt x="8101" y="6750"/>
                  </a:cubicBezTo>
                  <a:cubicBezTo>
                    <a:pt x="8101" y="7617"/>
                    <a:pt x="8283" y="8438"/>
                    <a:pt x="8582" y="9199"/>
                  </a:cubicBezTo>
                  <a:lnTo>
                    <a:pt x="383" y="17400"/>
                  </a:lnTo>
                  <a:cubicBezTo>
                    <a:pt x="146" y="17637"/>
                    <a:pt x="0" y="17863"/>
                    <a:pt x="0" y="18225"/>
                  </a:cubicBezTo>
                  <a:lnTo>
                    <a:pt x="0" y="20249"/>
                  </a:lnTo>
                  <a:cubicBezTo>
                    <a:pt x="0" y="20972"/>
                    <a:pt x="626" y="21599"/>
                    <a:pt x="1349" y="21599"/>
                  </a:cubicBezTo>
                  <a:lnTo>
                    <a:pt x="3374" y="21599"/>
                  </a:lnTo>
                  <a:cubicBezTo>
                    <a:pt x="3736" y="21599"/>
                    <a:pt x="3965" y="21455"/>
                    <a:pt x="4202" y="21219"/>
                  </a:cubicBezTo>
                  <a:lnTo>
                    <a:pt x="5170" y="20249"/>
                  </a:lnTo>
                  <a:lnTo>
                    <a:pt x="6751" y="20249"/>
                  </a:lnTo>
                  <a:cubicBezTo>
                    <a:pt x="7496" y="20249"/>
                    <a:pt x="8101" y="19645"/>
                    <a:pt x="8101" y="18900"/>
                  </a:cubicBezTo>
                  <a:lnTo>
                    <a:pt x="8101" y="17549"/>
                  </a:lnTo>
                  <a:lnTo>
                    <a:pt x="9451" y="17549"/>
                  </a:lnTo>
                  <a:cubicBezTo>
                    <a:pt x="10196" y="17549"/>
                    <a:pt x="10801" y="16945"/>
                    <a:pt x="10801" y="16200"/>
                  </a:cubicBezTo>
                  <a:lnTo>
                    <a:pt x="10801" y="14617"/>
                  </a:lnTo>
                  <a:lnTo>
                    <a:pt x="12400" y="13018"/>
                  </a:lnTo>
                  <a:cubicBezTo>
                    <a:pt x="13162" y="13317"/>
                    <a:pt x="13982" y="13500"/>
                    <a:pt x="14850" y="13500"/>
                  </a:cubicBezTo>
                  <a:cubicBezTo>
                    <a:pt x="18577" y="13500"/>
                    <a:pt x="21599" y="10477"/>
                    <a:pt x="21599" y="6750"/>
                  </a:cubicBezTo>
                  <a:cubicBezTo>
                    <a:pt x="21599" y="3022"/>
                    <a:pt x="18577" y="0"/>
                    <a:pt x="1485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103" name="AutoShape 129"/>
            <p:cNvSpPr>
              <a:spLocks/>
            </p:cNvSpPr>
            <p:nvPr/>
          </p:nvSpPr>
          <p:spPr bwMode="auto">
            <a:xfrm>
              <a:off x="2871788" y="2640013"/>
              <a:ext cx="115888" cy="115888"/>
            </a:xfrm>
            <a:custGeom>
              <a:avLst/>
              <a:gdLst>
                <a:gd name="T0" fmla="*/ 10800 w 21600"/>
                <a:gd name="T1" fmla="+- 0 10800 134"/>
                <a:gd name="T2" fmla="*/ 10800 h 21333"/>
                <a:gd name="T3" fmla="*/ 10800 w 21600"/>
                <a:gd name="T4" fmla="+- 0 10800 134"/>
                <a:gd name="T5" fmla="*/ 10800 h 21333"/>
                <a:gd name="T6" fmla="*/ 10800 w 21600"/>
                <a:gd name="T7" fmla="+- 0 10800 134"/>
                <a:gd name="T8" fmla="*/ 10800 h 21333"/>
                <a:gd name="T9" fmla="*/ 10800 w 21600"/>
                <a:gd name="T10" fmla="+- 0 10800 134"/>
                <a:gd name="T11" fmla="*/ 10800 h 21333"/>
              </a:gdLst>
              <a:ahLst/>
              <a:cxnLst>
                <a:cxn ang="0">
                  <a:pos x="T0" y="T2"/>
                </a:cxn>
                <a:cxn ang="0">
                  <a:pos x="T3" y="T5"/>
                </a:cxn>
                <a:cxn ang="0">
                  <a:pos x="T6" y="T8"/>
                </a:cxn>
                <a:cxn ang="0">
                  <a:pos x="T9" y="T11"/>
                </a:cxn>
              </a:cxnLst>
              <a:rect l="0" t="0" r="r" b="b"/>
              <a:pathLst>
                <a:path w="21600" h="21333">
                  <a:moveTo>
                    <a:pt x="13008" y="18684"/>
                  </a:moveTo>
                  <a:cubicBezTo>
                    <a:pt x="9017" y="15850"/>
                    <a:pt x="5542" y="12415"/>
                    <a:pt x="2694" y="8570"/>
                  </a:cubicBezTo>
                  <a:cubicBezTo>
                    <a:pt x="3736" y="5628"/>
                    <a:pt x="5693" y="3697"/>
                    <a:pt x="8585" y="2647"/>
                  </a:cubicBezTo>
                  <a:cubicBezTo>
                    <a:pt x="12578" y="5489"/>
                    <a:pt x="16048" y="8911"/>
                    <a:pt x="18889" y="12809"/>
                  </a:cubicBezTo>
                  <a:cubicBezTo>
                    <a:pt x="17836" y="15730"/>
                    <a:pt x="15883" y="17647"/>
                    <a:pt x="13008" y="18684"/>
                  </a:cubicBezTo>
                  <a:moveTo>
                    <a:pt x="21110" y="11295"/>
                  </a:moveTo>
                  <a:cubicBezTo>
                    <a:pt x="18081" y="7130"/>
                    <a:pt x="14396" y="3496"/>
                    <a:pt x="10161" y="484"/>
                  </a:cubicBezTo>
                  <a:cubicBezTo>
                    <a:pt x="9468" y="-8"/>
                    <a:pt x="8579" y="-134"/>
                    <a:pt x="7778" y="145"/>
                  </a:cubicBezTo>
                  <a:cubicBezTo>
                    <a:pt x="4027" y="1450"/>
                    <a:pt x="1463" y="3983"/>
                    <a:pt x="145" y="7687"/>
                  </a:cubicBezTo>
                  <a:cubicBezTo>
                    <a:pt x="46" y="7962"/>
                    <a:pt x="0" y="8252"/>
                    <a:pt x="0" y="8537"/>
                  </a:cubicBezTo>
                  <a:cubicBezTo>
                    <a:pt x="0" y="9071"/>
                    <a:pt x="167" y="9596"/>
                    <a:pt x="487" y="10041"/>
                  </a:cubicBezTo>
                  <a:cubicBezTo>
                    <a:pt x="3525" y="14213"/>
                    <a:pt x="7211" y="17850"/>
                    <a:pt x="11431" y="20850"/>
                  </a:cubicBezTo>
                  <a:cubicBezTo>
                    <a:pt x="12122" y="21338"/>
                    <a:pt x="13010" y="21466"/>
                    <a:pt x="13812" y="21188"/>
                  </a:cubicBezTo>
                  <a:cubicBezTo>
                    <a:pt x="17563" y="19893"/>
                    <a:pt x="20133" y="17356"/>
                    <a:pt x="21451" y="13647"/>
                  </a:cubicBezTo>
                  <a:cubicBezTo>
                    <a:pt x="21551" y="13372"/>
                    <a:pt x="21600" y="13081"/>
                    <a:pt x="21600" y="12796"/>
                  </a:cubicBezTo>
                  <a:cubicBezTo>
                    <a:pt x="21600" y="12265"/>
                    <a:pt x="21429" y="11740"/>
                    <a:pt x="21110" y="1129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sp>
        <p:nvSpPr>
          <p:cNvPr id="105" name="Oval 104"/>
          <p:cNvSpPr>
            <a:spLocks noChangeAspect="1"/>
          </p:cNvSpPr>
          <p:nvPr/>
        </p:nvSpPr>
        <p:spPr>
          <a:xfrm>
            <a:off x="2988458" y="2043270"/>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106" name="AutoShape 130"/>
          <p:cNvSpPr>
            <a:spLocks/>
          </p:cNvSpPr>
          <p:nvPr/>
        </p:nvSpPr>
        <p:spPr bwMode="auto">
          <a:xfrm>
            <a:off x="3171266" y="2217411"/>
            <a:ext cx="383655" cy="383655"/>
          </a:xfrm>
          <a:custGeom>
            <a:avLst/>
            <a:gdLst>
              <a:gd name="T0" fmla="+- 0 10799 113"/>
              <a:gd name="T1" fmla="*/ T0 w 21373"/>
              <a:gd name="T2" fmla="*/ 10800 h 21600"/>
              <a:gd name="T3" fmla="+- 0 10799 113"/>
              <a:gd name="T4" fmla="*/ T3 w 21373"/>
              <a:gd name="T5" fmla="*/ 10800 h 21600"/>
              <a:gd name="T6" fmla="+- 0 10799 113"/>
              <a:gd name="T7" fmla="*/ T6 w 21373"/>
              <a:gd name="T8" fmla="*/ 10800 h 21600"/>
              <a:gd name="T9" fmla="+- 0 10799 113"/>
              <a:gd name="T10" fmla="*/ T9 w 21373"/>
              <a:gd name="T11" fmla="*/ 10800 h 21600"/>
            </a:gdLst>
            <a:ahLst/>
            <a:cxnLst>
              <a:cxn ang="0">
                <a:pos x="T1" y="T2"/>
              </a:cxn>
              <a:cxn ang="0">
                <a:pos x="T4" y="T5"/>
              </a:cxn>
              <a:cxn ang="0">
                <a:pos x="T7" y="T8"/>
              </a:cxn>
              <a:cxn ang="0">
                <a:pos x="T10" y="T11"/>
              </a:cxn>
            </a:cxnLst>
            <a:rect l="0" t="0" r="r" b="b"/>
            <a:pathLst>
              <a:path w="21373" h="21600">
                <a:moveTo>
                  <a:pt x="1336" y="20249"/>
                </a:moveTo>
                <a:cubicBezTo>
                  <a:pt x="1428" y="20188"/>
                  <a:pt x="3691" y="18688"/>
                  <a:pt x="7070" y="17950"/>
                </a:cubicBezTo>
                <a:lnTo>
                  <a:pt x="8729" y="17587"/>
                </a:lnTo>
                <a:cubicBezTo>
                  <a:pt x="9321" y="17980"/>
                  <a:pt x="9972" y="18225"/>
                  <a:pt x="10686" y="18225"/>
                </a:cubicBezTo>
                <a:cubicBezTo>
                  <a:pt x="11401" y="18225"/>
                  <a:pt x="12052" y="17980"/>
                  <a:pt x="12644" y="17587"/>
                </a:cubicBezTo>
                <a:lnTo>
                  <a:pt x="14303" y="17950"/>
                </a:lnTo>
                <a:cubicBezTo>
                  <a:pt x="17656" y="18682"/>
                  <a:pt x="19911" y="20165"/>
                  <a:pt x="20037" y="20249"/>
                </a:cubicBezTo>
                <a:cubicBezTo>
                  <a:pt x="20037" y="20249"/>
                  <a:pt x="1336" y="20249"/>
                  <a:pt x="1336" y="20249"/>
                </a:cubicBezTo>
                <a:close/>
                <a:moveTo>
                  <a:pt x="13537" y="15793"/>
                </a:moveTo>
                <a:lnTo>
                  <a:pt x="13317" y="16073"/>
                </a:lnTo>
                <a:cubicBezTo>
                  <a:pt x="11725" y="17923"/>
                  <a:pt x="9648" y="17923"/>
                  <a:pt x="8056" y="16073"/>
                </a:cubicBezTo>
                <a:lnTo>
                  <a:pt x="7836" y="15793"/>
                </a:lnTo>
                <a:cubicBezTo>
                  <a:pt x="5977" y="13411"/>
                  <a:pt x="5053" y="10261"/>
                  <a:pt x="5451" y="7255"/>
                </a:cubicBezTo>
                <a:cubicBezTo>
                  <a:pt x="5815" y="4367"/>
                  <a:pt x="7453" y="1350"/>
                  <a:pt x="10686" y="1350"/>
                </a:cubicBezTo>
                <a:cubicBezTo>
                  <a:pt x="13920" y="1350"/>
                  <a:pt x="15558" y="4367"/>
                  <a:pt x="15922" y="7255"/>
                </a:cubicBezTo>
                <a:cubicBezTo>
                  <a:pt x="16318" y="10262"/>
                  <a:pt x="15398" y="13411"/>
                  <a:pt x="13537" y="15793"/>
                </a:cubicBezTo>
                <a:moveTo>
                  <a:pt x="20778" y="19126"/>
                </a:moveTo>
                <a:cubicBezTo>
                  <a:pt x="20644" y="19037"/>
                  <a:pt x="18209" y="17422"/>
                  <a:pt x="14585" y="16630"/>
                </a:cubicBezTo>
                <a:cubicBezTo>
                  <a:pt x="15914" y="14927"/>
                  <a:pt x="16767" y="12639"/>
                  <a:pt x="17130" y="11115"/>
                </a:cubicBezTo>
                <a:cubicBezTo>
                  <a:pt x="17633" y="9004"/>
                  <a:pt x="17438" y="4873"/>
                  <a:pt x="15431" y="2299"/>
                </a:cubicBezTo>
                <a:cubicBezTo>
                  <a:pt x="14259" y="795"/>
                  <a:pt x="12618" y="0"/>
                  <a:pt x="10686" y="0"/>
                </a:cubicBezTo>
                <a:cubicBezTo>
                  <a:pt x="8755" y="0"/>
                  <a:pt x="7114" y="795"/>
                  <a:pt x="5942" y="2299"/>
                </a:cubicBezTo>
                <a:cubicBezTo>
                  <a:pt x="3935" y="4873"/>
                  <a:pt x="3740" y="9004"/>
                  <a:pt x="4243" y="11115"/>
                </a:cubicBezTo>
                <a:cubicBezTo>
                  <a:pt x="4606" y="12639"/>
                  <a:pt x="5459" y="14927"/>
                  <a:pt x="6788" y="16630"/>
                </a:cubicBezTo>
                <a:cubicBezTo>
                  <a:pt x="3164" y="17422"/>
                  <a:pt x="729" y="19037"/>
                  <a:pt x="595" y="19126"/>
                </a:cubicBezTo>
                <a:cubicBezTo>
                  <a:pt x="105" y="19457"/>
                  <a:pt x="-113" y="20071"/>
                  <a:pt x="57" y="20640"/>
                </a:cubicBezTo>
                <a:cubicBezTo>
                  <a:pt x="228" y="21210"/>
                  <a:pt x="747" y="21599"/>
                  <a:pt x="1336" y="21599"/>
                </a:cubicBezTo>
                <a:lnTo>
                  <a:pt x="20037" y="21599"/>
                </a:lnTo>
                <a:cubicBezTo>
                  <a:pt x="20626" y="21599"/>
                  <a:pt x="21145" y="21210"/>
                  <a:pt x="21316" y="20640"/>
                </a:cubicBezTo>
                <a:cubicBezTo>
                  <a:pt x="21487" y="20071"/>
                  <a:pt x="21268" y="19457"/>
                  <a:pt x="20778" y="19126"/>
                </a:cubicBezTo>
              </a:path>
            </a:pathLst>
          </a:custGeom>
          <a:solidFill>
            <a:schemeClr val="accent1"/>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chemeClr val="tx1">
                  <a:lumMod val="65000"/>
                  <a:lumOff val="35000"/>
                </a:schemeClr>
              </a:solidFill>
              <a:effectLst>
                <a:outerShdw blurRad="38100" dist="38100" dir="2700000" algn="tl">
                  <a:srgbClr val="000000"/>
                </a:outerShdw>
              </a:effectLst>
              <a:latin typeface="Gill Sans" charset="0"/>
              <a:sym typeface="Gill Sans" charset="0"/>
            </a:endParaRPr>
          </a:p>
        </p:txBody>
      </p:sp>
      <p:sp>
        <p:nvSpPr>
          <p:cNvPr id="108" name="Oval 107"/>
          <p:cNvSpPr>
            <a:spLocks noChangeAspect="1"/>
          </p:cNvSpPr>
          <p:nvPr/>
        </p:nvSpPr>
        <p:spPr>
          <a:xfrm>
            <a:off x="5719779" y="2043270"/>
            <a:ext cx="749263" cy="74926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109" name="AutoShape 137"/>
          <p:cNvSpPr>
            <a:spLocks/>
          </p:cNvSpPr>
          <p:nvPr/>
        </p:nvSpPr>
        <p:spPr bwMode="auto">
          <a:xfrm>
            <a:off x="5920024" y="2217410"/>
            <a:ext cx="348777" cy="348777"/>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solidFill>
            <a:schemeClr val="accent1"/>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5" tIns="19045" rIns="19045" bIns="19045" anchor="ctr"/>
          <a:lstStyle/>
          <a:p>
            <a:pPr algn="ctr" defTabSz="228531" fontAlgn="base" hangingPunct="0">
              <a:spcBef>
                <a:spcPct val="0"/>
              </a:spcBef>
              <a:spcAft>
                <a:spcPct val="0"/>
              </a:spcAft>
            </a:pPr>
            <a:endParaRPr lang="en-US" sz="1500">
              <a:solidFill>
                <a:schemeClr val="tx1">
                  <a:lumMod val="65000"/>
                  <a:lumOff val="35000"/>
                </a:schemeClr>
              </a:solidFill>
              <a:effectLst>
                <a:outerShdw blurRad="38100" dist="38100" dir="2700000" algn="tl">
                  <a:srgbClr val="000000"/>
                </a:outerShdw>
              </a:effectLst>
              <a:latin typeface="Gill Sans" charset="0"/>
              <a:sym typeface="Gill Sans" charset="0"/>
            </a:endParaRPr>
          </a:p>
        </p:txBody>
      </p:sp>
      <p:sp>
        <p:nvSpPr>
          <p:cNvPr id="111" name="TextBox 110"/>
          <p:cNvSpPr txBox="1"/>
          <p:nvPr/>
        </p:nvSpPr>
        <p:spPr>
          <a:xfrm>
            <a:off x="2969545" y="2836740"/>
            <a:ext cx="800220" cy="646331"/>
          </a:xfrm>
          <a:prstGeom prst="rect">
            <a:avLst/>
          </a:prstGeom>
          <a:noFill/>
        </p:spPr>
        <p:txBody>
          <a:bodyPr wrap="none" rtlCol="0">
            <a:spAutoFit/>
          </a:bodyPr>
          <a:lstStyle/>
          <a:p>
            <a:pPr lvl="0" algn="ctr"/>
            <a:r>
              <a:rPr lang="fr-FR" sz="1800" b="1" dirty="0">
                <a:solidFill>
                  <a:schemeClr val="tx1">
                    <a:lumMod val="75000"/>
                    <a:lumOff val="25000"/>
                  </a:schemeClr>
                </a:solidFill>
                <a:latin typeface="+mj-lt"/>
              </a:rPr>
              <a:t>QUI ?</a:t>
            </a:r>
            <a:endParaRPr lang="fr-FR" sz="1800" b="1" dirty="0"/>
          </a:p>
          <a:p>
            <a:pPr algn="ctr"/>
            <a:endParaRPr lang="en-GB" sz="1800" b="1" dirty="0">
              <a:solidFill>
                <a:schemeClr val="tx1">
                  <a:lumMod val="75000"/>
                  <a:lumOff val="25000"/>
                </a:schemeClr>
              </a:solidFill>
              <a:latin typeface="+mj-lt"/>
            </a:endParaRPr>
          </a:p>
        </p:txBody>
      </p:sp>
      <p:sp>
        <p:nvSpPr>
          <p:cNvPr id="112" name="Rectangle 111"/>
          <p:cNvSpPr/>
          <p:nvPr/>
        </p:nvSpPr>
        <p:spPr>
          <a:xfrm>
            <a:off x="2414329" y="3226187"/>
            <a:ext cx="2215621" cy="461665"/>
          </a:xfrm>
          <a:prstGeom prst="rect">
            <a:avLst/>
          </a:prstGeom>
        </p:spPr>
        <p:txBody>
          <a:bodyPr wrap="square">
            <a:spAutoFit/>
          </a:bodyPr>
          <a:lstStyle/>
          <a:p>
            <a:pPr marL="0" lvl="1" algn="ct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Le service achats </a:t>
            </a:r>
          </a:p>
          <a:p>
            <a:pPr algn="ctr"/>
            <a:endParaRPr lang="en-GB" sz="1200" dirty="0">
              <a:solidFill>
                <a:schemeClr val="tx1">
                  <a:lumMod val="65000"/>
                  <a:lumOff val="35000"/>
                </a:schemeClr>
              </a:solidFill>
              <a:latin typeface="Open Sans Light" pitchFamily="34" charset="0"/>
              <a:ea typeface="Open Sans Light" pitchFamily="34" charset="0"/>
              <a:cs typeface="Open Sans Light" pitchFamily="34" charset="0"/>
            </a:endParaRPr>
          </a:p>
        </p:txBody>
      </p:sp>
      <p:sp>
        <p:nvSpPr>
          <p:cNvPr id="114" name="TextBox 113"/>
          <p:cNvSpPr txBox="1"/>
          <p:nvPr/>
        </p:nvSpPr>
        <p:spPr>
          <a:xfrm>
            <a:off x="2809248" y="4964524"/>
            <a:ext cx="1120820" cy="369332"/>
          </a:xfrm>
          <a:prstGeom prst="rect">
            <a:avLst/>
          </a:prstGeom>
          <a:noFill/>
        </p:spPr>
        <p:txBody>
          <a:bodyPr wrap="none" rtlCol="0">
            <a:spAutoFit/>
          </a:bodyPr>
          <a:lstStyle/>
          <a:p>
            <a:pPr algn="ctr"/>
            <a:r>
              <a:rPr lang="en-GB" sz="1800" b="1" dirty="0" err="1">
                <a:solidFill>
                  <a:schemeClr val="tx1">
                    <a:lumMod val="75000"/>
                    <a:lumOff val="25000"/>
                  </a:schemeClr>
                </a:solidFill>
                <a:latin typeface="+mj-lt"/>
              </a:rPr>
              <a:t>Quand</a:t>
            </a:r>
            <a:r>
              <a:rPr lang="en-GB" sz="1800" b="1" dirty="0">
                <a:solidFill>
                  <a:schemeClr val="tx1">
                    <a:lumMod val="75000"/>
                    <a:lumOff val="25000"/>
                  </a:schemeClr>
                </a:solidFill>
                <a:latin typeface="+mj-lt"/>
              </a:rPr>
              <a:t>? </a:t>
            </a:r>
          </a:p>
        </p:txBody>
      </p:sp>
      <p:sp>
        <p:nvSpPr>
          <p:cNvPr id="115" name="Rectangle 114"/>
          <p:cNvSpPr/>
          <p:nvPr/>
        </p:nvSpPr>
        <p:spPr>
          <a:xfrm>
            <a:off x="2255281" y="5266131"/>
            <a:ext cx="2215621" cy="646331"/>
          </a:xfrm>
          <a:prstGeom prst="rect">
            <a:avLst/>
          </a:prstGeom>
        </p:spPr>
        <p:txBody>
          <a:bodyPr wrap="square">
            <a:spAutoFit/>
          </a:bodyPr>
          <a:lstStyle/>
          <a:p>
            <a:pPr marL="0" lvl="1" algn="ctr"/>
            <a:endParaRPr lang="fr-FR" sz="1200" dirty="0">
              <a:solidFill>
                <a:schemeClr val="tx1">
                  <a:lumMod val="65000"/>
                  <a:lumOff val="35000"/>
                </a:schemeClr>
              </a:solidFill>
              <a:latin typeface="Open Sans Light" pitchFamily="34" charset="0"/>
              <a:ea typeface="Open Sans Light" pitchFamily="34" charset="0"/>
              <a:cs typeface="Open Sans Light" pitchFamily="34" charset="0"/>
            </a:endParaRPr>
          </a:p>
          <a:p>
            <a:pPr marL="0" lvl="1" algn="ct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 Durant l’année 2017</a:t>
            </a:r>
          </a:p>
          <a:p>
            <a:pPr algn="ctr"/>
            <a:endParaRPr lang="en-GB" sz="1200" dirty="0">
              <a:solidFill>
                <a:schemeClr val="tx1">
                  <a:lumMod val="65000"/>
                  <a:lumOff val="35000"/>
                </a:schemeClr>
              </a:solidFill>
              <a:latin typeface="Open Sans Light" pitchFamily="34" charset="0"/>
              <a:ea typeface="Open Sans Light" pitchFamily="34" charset="0"/>
              <a:cs typeface="Open Sans Light" pitchFamily="34" charset="0"/>
            </a:endParaRPr>
          </a:p>
        </p:txBody>
      </p:sp>
      <p:sp>
        <p:nvSpPr>
          <p:cNvPr id="117" name="TextBox 116"/>
          <p:cNvSpPr txBox="1"/>
          <p:nvPr/>
        </p:nvSpPr>
        <p:spPr>
          <a:xfrm>
            <a:off x="5666426" y="2843970"/>
            <a:ext cx="979755" cy="369332"/>
          </a:xfrm>
          <a:prstGeom prst="rect">
            <a:avLst/>
          </a:prstGeom>
          <a:noFill/>
        </p:spPr>
        <p:txBody>
          <a:bodyPr wrap="none" rtlCol="0">
            <a:spAutoFit/>
          </a:bodyPr>
          <a:lstStyle/>
          <a:p>
            <a:pPr lvl="0" algn="ctr"/>
            <a:r>
              <a:rPr lang="fr-FR" sz="1800" b="1" dirty="0">
                <a:solidFill>
                  <a:schemeClr val="tx1">
                    <a:lumMod val="75000"/>
                    <a:lumOff val="25000"/>
                  </a:schemeClr>
                </a:solidFill>
                <a:latin typeface="+mj-lt"/>
              </a:rPr>
              <a:t>Quoi ? </a:t>
            </a:r>
            <a:endParaRPr lang="fr-FR" sz="1800" b="1" dirty="0"/>
          </a:p>
        </p:txBody>
      </p:sp>
      <p:sp>
        <p:nvSpPr>
          <p:cNvPr id="118" name="Rectangle 117"/>
          <p:cNvSpPr/>
          <p:nvPr/>
        </p:nvSpPr>
        <p:spPr>
          <a:xfrm>
            <a:off x="4986601" y="3174956"/>
            <a:ext cx="2215621" cy="830997"/>
          </a:xfrm>
          <a:prstGeom prst="rect">
            <a:avLst/>
          </a:prstGeom>
        </p:spPr>
        <p:txBody>
          <a:bodyPr wrap="square">
            <a:spAutoFit/>
          </a:bodyPr>
          <a:lstStyle/>
          <a:p>
            <a:pPr marL="0" lvl="1" algn="ct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Évaluation de la performance  fournisseurs matières premières et emballages </a:t>
            </a:r>
          </a:p>
          <a:p>
            <a:pPr algn="ctr"/>
            <a:endParaRPr lang="en-GB" sz="1200" dirty="0">
              <a:solidFill>
                <a:schemeClr val="tx1">
                  <a:lumMod val="65000"/>
                  <a:lumOff val="35000"/>
                </a:schemeClr>
              </a:solidFill>
              <a:latin typeface="Open Sans Light" pitchFamily="34" charset="0"/>
              <a:ea typeface="Open Sans Light" pitchFamily="34" charset="0"/>
              <a:cs typeface="Open Sans Light" pitchFamily="34" charset="0"/>
            </a:endParaRPr>
          </a:p>
        </p:txBody>
      </p:sp>
      <p:sp>
        <p:nvSpPr>
          <p:cNvPr id="120" name="TextBox 119"/>
          <p:cNvSpPr txBox="1"/>
          <p:nvPr/>
        </p:nvSpPr>
        <p:spPr>
          <a:xfrm>
            <a:off x="8374719" y="2843971"/>
            <a:ext cx="774571" cy="369332"/>
          </a:xfrm>
          <a:prstGeom prst="rect">
            <a:avLst/>
          </a:prstGeom>
          <a:noFill/>
        </p:spPr>
        <p:txBody>
          <a:bodyPr wrap="none" rtlCol="0">
            <a:spAutoFit/>
          </a:bodyPr>
          <a:lstStyle/>
          <a:p>
            <a:pPr lvl="0" algn="ctr"/>
            <a:r>
              <a:rPr lang="fr-FR" sz="1800" b="1" dirty="0">
                <a:solidFill>
                  <a:schemeClr val="tx1">
                    <a:lumMod val="75000"/>
                    <a:lumOff val="25000"/>
                  </a:schemeClr>
                </a:solidFill>
                <a:latin typeface="+mj-lt"/>
              </a:rPr>
              <a:t>Où ? </a:t>
            </a:r>
            <a:endParaRPr lang="en-GB" sz="1800" b="1" dirty="0">
              <a:solidFill>
                <a:schemeClr val="tx1">
                  <a:lumMod val="75000"/>
                  <a:lumOff val="25000"/>
                </a:schemeClr>
              </a:solidFill>
              <a:latin typeface="+mj-lt"/>
            </a:endParaRPr>
          </a:p>
        </p:txBody>
      </p:sp>
      <p:sp>
        <p:nvSpPr>
          <p:cNvPr id="121" name="Rectangle 120"/>
          <p:cNvSpPr/>
          <p:nvPr/>
        </p:nvSpPr>
        <p:spPr>
          <a:xfrm>
            <a:off x="7702440" y="3226184"/>
            <a:ext cx="2430572" cy="461665"/>
          </a:xfrm>
          <a:prstGeom prst="rect">
            <a:avLst/>
          </a:prstGeom>
        </p:spPr>
        <p:txBody>
          <a:bodyPr wrap="square">
            <a:spAutoFit/>
          </a:bodyPr>
          <a:lstStyle/>
          <a:p>
            <a:pPr lvl="1"/>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Nestlé </a:t>
            </a:r>
          </a:p>
          <a:p>
            <a:pPr lvl="1"/>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Fabrique  EL JADIDA</a:t>
            </a:r>
          </a:p>
        </p:txBody>
      </p:sp>
      <p:sp>
        <p:nvSpPr>
          <p:cNvPr id="123" name="TextBox 122"/>
          <p:cNvSpPr txBox="1"/>
          <p:nvPr/>
        </p:nvSpPr>
        <p:spPr>
          <a:xfrm>
            <a:off x="5367290" y="4964524"/>
            <a:ext cx="1454245" cy="369332"/>
          </a:xfrm>
          <a:prstGeom prst="rect">
            <a:avLst/>
          </a:prstGeom>
          <a:noFill/>
        </p:spPr>
        <p:txBody>
          <a:bodyPr wrap="none" rtlCol="0">
            <a:spAutoFit/>
          </a:bodyPr>
          <a:lstStyle/>
          <a:p>
            <a:pPr algn="ctr"/>
            <a:r>
              <a:rPr lang="fr-FR" sz="1800" b="1" dirty="0"/>
              <a:t>Comment ?</a:t>
            </a:r>
            <a:endParaRPr lang="en-GB" sz="1800" b="1" dirty="0">
              <a:solidFill>
                <a:schemeClr val="tx1">
                  <a:lumMod val="75000"/>
                  <a:lumOff val="25000"/>
                </a:schemeClr>
              </a:solidFill>
              <a:latin typeface="+mj-lt"/>
            </a:endParaRPr>
          </a:p>
        </p:txBody>
      </p:sp>
      <p:sp>
        <p:nvSpPr>
          <p:cNvPr id="124" name="Rectangle 123"/>
          <p:cNvSpPr/>
          <p:nvPr/>
        </p:nvSpPr>
        <p:spPr>
          <a:xfrm>
            <a:off x="4902342" y="5272301"/>
            <a:ext cx="2395946" cy="1384995"/>
          </a:xfrm>
          <a:prstGeom prst="rect">
            <a:avLst/>
          </a:prstGeom>
        </p:spPr>
        <p:txBody>
          <a:bodyPr wrap="square">
            <a:spAutoFit/>
          </a:bodyPr>
          <a:lstStyle/>
          <a:p>
            <a:pPr marL="0" lvl="1" algn="ct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On va améliorer le niveau de service fournisseurs à travers une nouvelle fiche d’évaluation et assurer le suivi fournisseurs en demander à nos fournisseurs le plan d’action pour chaque point aberrants, </a:t>
            </a:r>
          </a:p>
        </p:txBody>
      </p:sp>
      <p:sp>
        <p:nvSpPr>
          <p:cNvPr id="126" name="TextBox 125"/>
          <p:cNvSpPr txBox="1"/>
          <p:nvPr/>
        </p:nvSpPr>
        <p:spPr>
          <a:xfrm>
            <a:off x="8082170" y="4958354"/>
            <a:ext cx="1402948" cy="369332"/>
          </a:xfrm>
          <a:prstGeom prst="rect">
            <a:avLst/>
          </a:prstGeom>
          <a:noFill/>
        </p:spPr>
        <p:txBody>
          <a:bodyPr wrap="none" rtlCol="0">
            <a:spAutoFit/>
          </a:bodyPr>
          <a:lstStyle/>
          <a:p>
            <a:pPr lvl="0"/>
            <a:r>
              <a:rPr lang="fr-FR" sz="1800" b="1" dirty="0"/>
              <a:t>Pourquoi ?</a:t>
            </a:r>
          </a:p>
        </p:txBody>
      </p:sp>
      <p:sp>
        <p:nvSpPr>
          <p:cNvPr id="127" name="Rectangle 126"/>
          <p:cNvSpPr/>
          <p:nvPr/>
        </p:nvSpPr>
        <p:spPr>
          <a:xfrm>
            <a:off x="7542212" y="5266131"/>
            <a:ext cx="3352799" cy="1200329"/>
          </a:xfrm>
          <a:prstGeom prst="rect">
            <a:avLst/>
          </a:prstGeom>
        </p:spPr>
        <p:txBody>
          <a:bodyPr wrap="square">
            <a:spAutoFit/>
          </a:bodyPr>
          <a:lstStyle/>
          <a:p>
            <a:pPr marL="171450" lvl="0" indent="-171450">
              <a:buFont typeface="Arial" panose="020B0604020202020204" pitchFamily="34" charset="0"/>
              <a:buChar char="•"/>
            </a:pP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Atteindre les objectives prévus et fixés. Gérer au mettre en place des plans d’action en cas de dérive </a:t>
            </a:r>
          </a:p>
          <a:p>
            <a:pPr marL="171450" lvl="0" indent="-171450">
              <a:buFont typeface="Arial" panose="020B0604020202020204" pitchFamily="34" charset="0"/>
              <a:buChar char="•"/>
            </a:pP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Mieux visualiser la performance du fournisseur. </a:t>
            </a:r>
          </a:p>
          <a:p>
            <a:pPr marL="171450" lvl="0" indent="-171450">
              <a:buFont typeface="Arial" panose="020B0604020202020204" pitchFamily="34" charset="0"/>
              <a:buChar char="•"/>
            </a:pPr>
            <a:r>
              <a:rPr lang="fr-FR" sz="1200" dirty="0">
                <a:solidFill>
                  <a:schemeClr val="tx1">
                    <a:lumMod val="65000"/>
                    <a:lumOff val="35000"/>
                  </a:schemeClr>
                </a:solidFill>
                <a:latin typeface="Open Sans Light" pitchFamily="34" charset="0"/>
                <a:ea typeface="Open Sans Light" pitchFamily="34" charset="0"/>
                <a:cs typeface="Open Sans Light" pitchFamily="34" charset="0"/>
              </a:rPr>
              <a:t>Amélioration continue     </a:t>
            </a:r>
          </a:p>
        </p:txBody>
      </p:sp>
      <p:cxnSp>
        <p:nvCxnSpPr>
          <p:cNvPr id="67" name="Straight Connector 66"/>
          <p:cNvCxnSpPr/>
          <p:nvPr/>
        </p:nvCxnSpPr>
        <p:spPr>
          <a:xfrm rot="5400000">
            <a:off x="3047206" y="4038441"/>
            <a:ext cx="350428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5706585" y="4038441"/>
            <a:ext cx="350428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904504" y="3948410"/>
            <a:ext cx="837981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Title 2"/>
          <p:cNvSpPr txBox="1">
            <a:spLocks/>
          </p:cNvSpPr>
          <p:nvPr/>
        </p:nvSpPr>
        <p:spPr>
          <a:xfrm>
            <a:off x="-1110853" y="1496458"/>
            <a:ext cx="7227457" cy="445972"/>
          </a:xfrm>
          <a:prstGeom prst="rect">
            <a:avLst/>
          </a:prstGeom>
          <a:solidFill>
            <a:schemeClr val="bg1"/>
          </a:solidFill>
          <a:ln>
            <a:noFill/>
          </a:ln>
        </p:spPr>
        <p:txBody>
          <a:bodyPr vert="horz" lIns="91416" tIns="45708" rIns="91416" bIns="45708" rtlCol="0" anchor="ctr">
            <a:noAutofit/>
          </a:bodyPr>
          <a:lstStyle/>
          <a:p>
            <a:pPr lvl="0" algn="ctr">
              <a:spcBef>
                <a:spcPct val="0"/>
              </a:spcBef>
              <a:defRPr/>
            </a:pPr>
            <a:r>
              <a:rPr lang="en-US" sz="2799" dirty="0">
                <a:latin typeface="Open Sans Extrabold" panose="020B0906030804020204" pitchFamily="34" charset="0"/>
                <a:ea typeface="Open Sans Extrabold" panose="020B0906030804020204" pitchFamily="34" charset="0"/>
                <a:cs typeface="Open Sans Extrabold" panose="020B0906030804020204" pitchFamily="34" charset="0"/>
              </a:rPr>
              <a:t>QQOQCP</a:t>
            </a:r>
          </a:p>
        </p:txBody>
      </p:sp>
      <p:pic>
        <p:nvPicPr>
          <p:cNvPr id="52" name="Picture 42" descr="dmaic logobackground_transparant"/>
          <p:cNvPicPr>
            <a:picLocks noChangeAspect="1" noChangeArrowheads="1"/>
          </p:cNvPicPr>
          <p:nvPr/>
        </p:nvPicPr>
        <p:blipFill>
          <a:blip r:embed="rId2" cstate="print"/>
          <a:srcRect/>
          <a:stretch>
            <a:fillRect/>
          </a:stretch>
        </p:blipFill>
        <p:spPr bwMode="auto">
          <a:xfrm>
            <a:off x="75314" y="2557938"/>
            <a:ext cx="2360457" cy="2708193"/>
          </a:xfrm>
          <a:prstGeom prst="rect">
            <a:avLst/>
          </a:prstGeom>
          <a:noFill/>
          <a:ln w="9525">
            <a:noFill/>
            <a:miter lim="800000"/>
            <a:headEnd/>
            <a:tailEnd/>
          </a:ln>
        </p:spPr>
      </p:pic>
      <p:sp>
        <p:nvSpPr>
          <p:cNvPr id="53" name="Trapezoid 40"/>
          <p:cNvSpPr/>
          <p:nvPr/>
        </p:nvSpPr>
        <p:spPr bwMode="auto">
          <a:xfrm rot="12924969">
            <a:off x="789955" y="2694620"/>
            <a:ext cx="1984715" cy="850644"/>
          </a:xfrm>
          <a:prstGeom prst="trapezoid">
            <a:avLst>
              <a:gd name="adj" fmla="val 60955"/>
            </a:avLst>
          </a:prstGeom>
          <a:noFill/>
          <a:ln w="28575"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55" name="ZoneTexte 54"/>
          <p:cNvSpPr txBox="1"/>
          <p:nvPr/>
        </p:nvSpPr>
        <p:spPr>
          <a:xfrm>
            <a:off x="1488173" y="2964429"/>
            <a:ext cx="705721" cy="1077218"/>
          </a:xfrm>
          <a:prstGeom prst="rect">
            <a:avLst/>
          </a:prstGeom>
          <a:noFill/>
        </p:spPr>
        <p:txBody>
          <a:bodyPr wrap="square" rtlCol="0">
            <a:spAutoFit/>
          </a:bodyPr>
          <a:lstStyle/>
          <a:p>
            <a:r>
              <a:rPr lang="fr-FR" sz="3200" b="1" dirty="0">
                <a:solidFill>
                  <a:srgbClr val="FF0000"/>
                </a:solidFill>
              </a:rPr>
              <a:t>D</a:t>
            </a:r>
          </a:p>
          <a:p>
            <a:endParaRPr lang="fr-FR" sz="3200" b="1" dirty="0">
              <a:solidFill>
                <a:srgbClr val="FF0000"/>
              </a:solidFill>
            </a:endParaRPr>
          </a:p>
        </p:txBody>
      </p:sp>
      <p:graphicFrame>
        <p:nvGraphicFramePr>
          <p:cNvPr id="57"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9" name="Rectangle 58"/>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60" name="Rectangle 59"/>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779852747"/>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60"/>
                                        </p:tgtEl>
                                        <p:attrNameLst>
                                          <p:attrName>style.color</p:attrName>
                                        </p:attrNameLst>
                                      </p:cBhvr>
                                      <p:by>
                                        <p:hsl h="0" s="-12549" l="-25098"/>
                                      </p:by>
                                    </p:animClr>
                                    <p:animClr clrSpc="hsl" dir="cw">
                                      <p:cBhvr>
                                        <p:cTn id="7" dur="500" fill="hold"/>
                                        <p:tgtEl>
                                          <p:spTgt spid="60"/>
                                        </p:tgtEl>
                                        <p:attrNameLst>
                                          <p:attrName>fillcolor</p:attrName>
                                        </p:attrNameLst>
                                      </p:cBhvr>
                                      <p:by>
                                        <p:hsl h="0" s="-12549" l="-25098"/>
                                      </p:by>
                                    </p:animClr>
                                    <p:animClr clrSpc="hsl" dir="cw">
                                      <p:cBhvr>
                                        <p:cTn id="8" dur="500" fill="hold"/>
                                        <p:tgtEl>
                                          <p:spTgt spid="60"/>
                                        </p:tgtEl>
                                        <p:attrNameLst>
                                          <p:attrName>stroke.color</p:attrName>
                                        </p:attrNameLst>
                                      </p:cBhvr>
                                      <p:by>
                                        <p:hsl h="0" s="-12549" l="-25098"/>
                                      </p:by>
                                    </p:animClr>
                                    <p:set>
                                      <p:cBhvr>
                                        <p:cTn id="9" dur="500" fill="hold"/>
                                        <p:tgtEl>
                                          <p:spTgt spid="6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484162" y="1359766"/>
            <a:ext cx="9141619" cy="535781"/>
          </a:xfrm>
        </p:spPr>
        <p:txBody>
          <a:bodyPr>
            <a:noAutofit/>
          </a:bodyPr>
          <a:lstStyle/>
          <a:p>
            <a:r>
              <a:rPr lang="fr-FR" sz="2800" dirty="0"/>
              <a:t>Etat actuel </a:t>
            </a:r>
          </a:p>
        </p:txBody>
      </p:sp>
      <p:sp>
        <p:nvSpPr>
          <p:cNvPr id="13" name="Flèche vers le bas 12"/>
          <p:cNvSpPr/>
          <p:nvPr/>
        </p:nvSpPr>
        <p:spPr>
          <a:xfrm rot="10800000">
            <a:off x="1841033" y="5148075"/>
            <a:ext cx="838200" cy="1372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Flèche vers le bas 14"/>
          <p:cNvSpPr/>
          <p:nvPr/>
        </p:nvSpPr>
        <p:spPr>
          <a:xfrm>
            <a:off x="6791357" y="5266131"/>
            <a:ext cx="838200" cy="15778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p:cNvSpPr txBox="1"/>
          <p:nvPr/>
        </p:nvSpPr>
        <p:spPr>
          <a:xfrm>
            <a:off x="7551780" y="4512158"/>
            <a:ext cx="4523344" cy="2231380"/>
          </a:xfrm>
          <a:prstGeom prst="rect">
            <a:avLst/>
          </a:prstGeom>
          <a:noFill/>
          <a:ln>
            <a:solidFill>
              <a:schemeClr val="bg2">
                <a:lumMod val="75000"/>
              </a:schemeClr>
            </a:solidFill>
          </a:ln>
        </p:spPr>
        <p:txBody>
          <a:bodyPr wrap="square" rtlCol="0">
            <a:spAutoFit/>
          </a:bodyPr>
          <a:lstStyle/>
          <a:p>
            <a:r>
              <a:rPr lang="fr-FR" sz="1600" dirty="0"/>
              <a:t>1- la politique achats ne se reflète pas qu’avec ces critères, </a:t>
            </a:r>
          </a:p>
          <a:p>
            <a:r>
              <a:rPr lang="fr-FR" sz="1600" dirty="0"/>
              <a:t>2- la subjectivité de la notation </a:t>
            </a:r>
          </a:p>
          <a:p>
            <a:r>
              <a:rPr lang="fr-FR" sz="1600" dirty="0"/>
              <a:t>3- les indicateurs doivent être </a:t>
            </a:r>
          </a:p>
          <a:p>
            <a:r>
              <a:rPr lang="fr-FR" sz="1600" dirty="0"/>
              <a:t>4- Pas de fréquence d’envoi pour réaliser le suivi ou cette évaluation    </a:t>
            </a:r>
          </a:p>
          <a:p>
            <a:r>
              <a:rPr lang="fr-FR" sz="1600" dirty="0"/>
              <a:t>5- Les chefs de demandeurs négligent cette étape . </a:t>
            </a:r>
            <a:endParaRPr lang="fr-FR" sz="1100" dirty="0"/>
          </a:p>
          <a:p>
            <a:endParaRPr lang="fr-FR" sz="1100" dirty="0"/>
          </a:p>
        </p:txBody>
      </p:sp>
      <p:pic>
        <p:nvPicPr>
          <p:cNvPr id="1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585" t="23245" r="1442" b="26126"/>
          <a:stretch/>
        </p:blipFill>
        <p:spPr bwMode="auto">
          <a:xfrm>
            <a:off x="3101971" y="1660099"/>
            <a:ext cx="8714347" cy="26086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ZoneTexte 17"/>
          <p:cNvSpPr txBox="1"/>
          <p:nvPr/>
        </p:nvSpPr>
        <p:spPr>
          <a:xfrm>
            <a:off x="2434183" y="4525056"/>
            <a:ext cx="4357174" cy="2246769"/>
          </a:xfrm>
          <a:prstGeom prst="rect">
            <a:avLst/>
          </a:prstGeom>
          <a:noFill/>
          <a:ln>
            <a:solidFill>
              <a:schemeClr val="bg2">
                <a:lumMod val="75000"/>
              </a:schemeClr>
            </a:solidFill>
          </a:ln>
        </p:spPr>
        <p:txBody>
          <a:bodyPr wrap="square" rtlCol="0">
            <a:spAutoFit/>
          </a:bodyPr>
          <a:lstStyle/>
          <a:p>
            <a:pPr marL="342900" indent="-342900">
              <a:buFont typeface="Wingdings" panose="05000000000000000000" pitchFamily="2" charset="2"/>
              <a:buChar char="q"/>
            </a:pPr>
            <a:r>
              <a:rPr lang="fr-FR" sz="2000" dirty="0"/>
              <a:t>La méthode permet de distinguer entre les fournisseurs qui sont bon et pas bon.  </a:t>
            </a:r>
          </a:p>
          <a:p>
            <a:pPr marL="342900" indent="-342900">
              <a:buFont typeface="Wingdings" panose="05000000000000000000" pitchFamily="2" charset="2"/>
              <a:buChar char="q"/>
            </a:pPr>
            <a:r>
              <a:rPr lang="fr-FR" sz="2000" dirty="0"/>
              <a:t>Critère pour calcul le niveau de service fournisseurs   </a:t>
            </a:r>
          </a:p>
          <a:p>
            <a:pPr marL="342900" indent="-342900">
              <a:buFont typeface="Wingdings" panose="05000000000000000000" pitchFamily="2" charset="2"/>
              <a:buChar char="q"/>
            </a:pPr>
            <a:r>
              <a:rPr lang="fr-FR" sz="2000" dirty="0"/>
              <a:t> évalue les frs selon 3 indicateurs</a:t>
            </a:r>
          </a:p>
          <a:p>
            <a:pPr marL="342900" indent="-342900">
              <a:buFont typeface="Wingdings" panose="05000000000000000000" pitchFamily="2" charset="2"/>
              <a:buChar char="q"/>
            </a:pPr>
            <a:r>
              <a:rPr lang="fr-FR" sz="2000" dirty="0"/>
              <a:t>La forme (obligation normative) </a:t>
            </a:r>
          </a:p>
        </p:txBody>
      </p:sp>
      <p:pic>
        <p:nvPicPr>
          <p:cNvPr id="10"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11" name="Trapezoid 40"/>
          <p:cNvSpPr/>
          <p:nvPr/>
        </p:nvSpPr>
        <p:spPr bwMode="auto">
          <a:xfrm rot="12924969">
            <a:off x="789955" y="2694620"/>
            <a:ext cx="1984715" cy="850644"/>
          </a:xfrm>
          <a:prstGeom prst="trapezoid">
            <a:avLst>
              <a:gd name="adj" fmla="val 60955"/>
            </a:avLst>
          </a:prstGeom>
          <a:noFill/>
          <a:ln w="28575"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7" name="ZoneTexte 16"/>
          <p:cNvSpPr txBox="1"/>
          <p:nvPr/>
        </p:nvSpPr>
        <p:spPr>
          <a:xfrm>
            <a:off x="1488173" y="2964429"/>
            <a:ext cx="705721" cy="1077218"/>
          </a:xfrm>
          <a:prstGeom prst="rect">
            <a:avLst/>
          </a:prstGeom>
          <a:noFill/>
        </p:spPr>
        <p:txBody>
          <a:bodyPr wrap="square" rtlCol="0">
            <a:spAutoFit/>
          </a:bodyPr>
          <a:lstStyle/>
          <a:p>
            <a:r>
              <a:rPr lang="fr-FR" sz="3200" b="1" dirty="0">
                <a:solidFill>
                  <a:srgbClr val="FF0000"/>
                </a:solidFill>
              </a:rPr>
              <a:t>D</a:t>
            </a:r>
          </a:p>
          <a:p>
            <a:endParaRPr lang="fr-FR" sz="3200" b="1" dirty="0">
              <a:solidFill>
                <a:srgbClr val="FF0000"/>
              </a:solidFill>
            </a:endParaRP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17</a:t>
            </a:fld>
            <a:endParaRPr lang="id-ID" dirty="0"/>
          </a:p>
        </p:txBody>
      </p:sp>
      <p:graphicFrame>
        <p:nvGraphicFramePr>
          <p:cNvPr id="20"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 name="Rectangle 20"/>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2" name="Rectangle 21"/>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3460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2"/>
                                        </p:tgtEl>
                                        <p:attrNameLst>
                                          <p:attrName>style.color</p:attrName>
                                        </p:attrNameLst>
                                      </p:cBhvr>
                                      <p:by>
                                        <p:hsl h="0" s="-12549" l="-25098"/>
                                      </p:by>
                                    </p:animClr>
                                    <p:animClr clrSpc="hsl" dir="cw">
                                      <p:cBhvr>
                                        <p:cTn id="7" dur="500" fill="hold"/>
                                        <p:tgtEl>
                                          <p:spTgt spid="22"/>
                                        </p:tgtEl>
                                        <p:attrNameLst>
                                          <p:attrName>fillcolor</p:attrName>
                                        </p:attrNameLst>
                                      </p:cBhvr>
                                      <p:by>
                                        <p:hsl h="0" s="-12549" l="-25098"/>
                                      </p:by>
                                    </p:animClr>
                                    <p:animClr clrSpc="hsl" dir="cw">
                                      <p:cBhvr>
                                        <p:cTn id="8" dur="500" fill="hold"/>
                                        <p:tgtEl>
                                          <p:spTgt spid="22"/>
                                        </p:tgtEl>
                                        <p:attrNameLst>
                                          <p:attrName>stroke.color</p:attrName>
                                        </p:attrNameLst>
                                      </p:cBhvr>
                                      <p:by>
                                        <p:hsl h="0" s="-12549" l="-25098"/>
                                      </p:by>
                                    </p:animClr>
                                    <p:set>
                                      <p:cBhvr>
                                        <p:cTn id="9" dur="500" fill="hold"/>
                                        <p:tgtEl>
                                          <p:spTgt spid="2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34988" y="1676400"/>
            <a:ext cx="7541419" cy="706437"/>
          </a:xfrm>
        </p:spPr>
        <p:txBody>
          <a:bodyPr>
            <a:normAutofit fontScale="90000"/>
          </a:bodyPr>
          <a:lstStyle/>
          <a:p>
            <a:r>
              <a:rPr lang="fr-FR" sz="6000" dirty="0"/>
              <a:t>Output : </a:t>
            </a:r>
            <a:endParaRPr lang="fr-FR" dirty="0"/>
          </a:p>
        </p:txBody>
      </p:sp>
      <p:sp>
        <p:nvSpPr>
          <p:cNvPr id="3" name="Sous-titre 2"/>
          <p:cNvSpPr>
            <a:spLocks noGrp="1"/>
          </p:cNvSpPr>
          <p:nvPr>
            <p:ph type="subTitle" idx="1"/>
          </p:nvPr>
        </p:nvSpPr>
        <p:spPr>
          <a:xfrm>
            <a:off x="3046412" y="2057400"/>
            <a:ext cx="8915400" cy="4800600"/>
          </a:xfrm>
        </p:spPr>
        <p:txBody>
          <a:bodyPr>
            <a:normAutofit fontScale="92500"/>
          </a:bodyPr>
          <a:lstStyle/>
          <a:p>
            <a:pPr marL="342900" indent="-342900" algn="l">
              <a:lnSpc>
                <a:spcPct val="220000"/>
              </a:lnSpc>
              <a:buFontTx/>
              <a:buChar char="●"/>
            </a:pPr>
            <a:r>
              <a:rPr lang="fr-FR" sz="2400" dirty="0"/>
              <a:t>Les SEPF ne permet pas de visualiser l’évolution des fournisseurs </a:t>
            </a:r>
          </a:p>
          <a:p>
            <a:pPr marL="342900" indent="-342900" algn="l">
              <a:lnSpc>
                <a:spcPct val="220000"/>
              </a:lnSpc>
              <a:buFontTx/>
              <a:buChar char="●"/>
            </a:pPr>
            <a:r>
              <a:rPr lang="fr-FR" sz="2400" dirty="0"/>
              <a:t>pénalise quelque fournisseurs  (l’égalité de traitement) </a:t>
            </a:r>
          </a:p>
          <a:p>
            <a:pPr marL="342900" indent="-342900" algn="l">
              <a:lnSpc>
                <a:spcPct val="220000"/>
              </a:lnSpc>
              <a:buFontTx/>
              <a:buChar char="●"/>
            </a:pPr>
            <a:r>
              <a:rPr lang="fr-FR" sz="2400" dirty="0"/>
              <a:t>la fiche d’évaluation n’est pas partagé avec les fournisseurs (Le but de suivi est de faire des plans d’actions ) , </a:t>
            </a:r>
          </a:p>
          <a:p>
            <a:pPr marL="342900" indent="-342900" algn="l">
              <a:lnSpc>
                <a:spcPct val="220000"/>
              </a:lnSpc>
              <a:buFontTx/>
              <a:buChar char="●"/>
            </a:pPr>
            <a:r>
              <a:rPr lang="fr-FR" sz="2400" dirty="0"/>
              <a:t>Ne pas atteindre le Target qui est du 90% </a:t>
            </a:r>
          </a:p>
          <a:p>
            <a:endParaRPr lang="fr-FR" dirty="0"/>
          </a:p>
        </p:txBody>
      </p:sp>
      <p:pic>
        <p:nvPicPr>
          <p:cNvPr id="5" name="Picture 42" descr="dmaic logobackground_transparant"/>
          <p:cNvPicPr>
            <a:picLocks noChangeAspect="1" noChangeArrowheads="1"/>
          </p:cNvPicPr>
          <p:nvPr/>
        </p:nvPicPr>
        <p:blipFill>
          <a:blip r:embed="rId2" cstate="print"/>
          <a:srcRect/>
          <a:stretch>
            <a:fillRect/>
          </a:stretch>
        </p:blipFill>
        <p:spPr bwMode="auto">
          <a:xfrm>
            <a:off x="75314" y="2557938"/>
            <a:ext cx="2360457" cy="2708193"/>
          </a:xfrm>
          <a:prstGeom prst="rect">
            <a:avLst/>
          </a:prstGeom>
          <a:noFill/>
          <a:ln w="9525">
            <a:noFill/>
            <a:miter lim="800000"/>
            <a:headEnd/>
            <a:tailEnd/>
          </a:ln>
        </p:spPr>
      </p:pic>
      <p:sp>
        <p:nvSpPr>
          <p:cNvPr id="6" name="Trapezoid 40"/>
          <p:cNvSpPr/>
          <p:nvPr/>
        </p:nvSpPr>
        <p:spPr bwMode="auto">
          <a:xfrm rot="12924969">
            <a:off x="674033" y="2432752"/>
            <a:ext cx="2329424" cy="1121851"/>
          </a:xfrm>
          <a:prstGeom prst="trapezoid">
            <a:avLst>
              <a:gd name="adj" fmla="val 60955"/>
            </a:avLst>
          </a:prstGeom>
          <a:noFill/>
          <a:ln w="762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7" name="ZoneTexte 6"/>
          <p:cNvSpPr txBox="1"/>
          <p:nvPr/>
        </p:nvSpPr>
        <p:spPr>
          <a:xfrm>
            <a:off x="1488173" y="2964429"/>
            <a:ext cx="705721" cy="1077218"/>
          </a:xfrm>
          <a:prstGeom prst="rect">
            <a:avLst/>
          </a:prstGeom>
          <a:noFill/>
        </p:spPr>
        <p:txBody>
          <a:bodyPr wrap="square" rtlCol="0">
            <a:spAutoFit/>
          </a:bodyPr>
          <a:lstStyle/>
          <a:p>
            <a:r>
              <a:rPr lang="fr-FR" sz="3200" b="1" dirty="0">
                <a:solidFill>
                  <a:srgbClr val="FF0000"/>
                </a:solidFill>
              </a:rPr>
              <a:t>D</a:t>
            </a:r>
          </a:p>
          <a:p>
            <a:endParaRPr lang="fr-FR" sz="3200" b="1" dirty="0">
              <a:solidFill>
                <a:srgbClr val="FF0000"/>
              </a:solidFill>
            </a:endParaRPr>
          </a:p>
        </p:txBody>
      </p:sp>
      <p:sp>
        <p:nvSpPr>
          <p:cNvPr id="8" name="Espace réservé du numéro de diapositive 7"/>
          <p:cNvSpPr>
            <a:spLocks noGrp="1"/>
          </p:cNvSpPr>
          <p:nvPr>
            <p:ph type="sldNum" sz="quarter" idx="12"/>
          </p:nvPr>
        </p:nvSpPr>
        <p:spPr/>
        <p:txBody>
          <a:bodyPr/>
          <a:lstStyle/>
          <a:p>
            <a:fld id="{C9F2E319-0919-499D-AD1F-7963255D1003}" type="slidenum">
              <a:rPr lang="id-ID" smtClean="0"/>
              <a:t>18</a:t>
            </a:fld>
            <a:endParaRPr lang="id-ID"/>
          </a:p>
        </p:txBody>
      </p:sp>
      <p:graphicFrame>
        <p:nvGraphicFramePr>
          <p:cNvPr id="10"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2" name="Rectangle 11"/>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17790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2"/>
                                        </p:tgtEl>
                                        <p:attrNameLst>
                                          <p:attrName>style.color</p:attrName>
                                        </p:attrNameLst>
                                      </p:cBhvr>
                                      <p:by>
                                        <p:hsl h="0" s="-12549" l="-25098"/>
                                      </p:by>
                                    </p:animClr>
                                    <p:animClr clrSpc="hsl" dir="cw">
                                      <p:cBhvr>
                                        <p:cTn id="7" dur="500" fill="hold"/>
                                        <p:tgtEl>
                                          <p:spTgt spid="12"/>
                                        </p:tgtEl>
                                        <p:attrNameLst>
                                          <p:attrName>fillcolor</p:attrName>
                                        </p:attrNameLst>
                                      </p:cBhvr>
                                      <p:by>
                                        <p:hsl h="0" s="-12549" l="-25098"/>
                                      </p:by>
                                    </p:animClr>
                                    <p:animClr clrSpc="hsl" dir="cw">
                                      <p:cBhvr>
                                        <p:cTn id="8" dur="500" fill="hold"/>
                                        <p:tgtEl>
                                          <p:spTgt spid="12"/>
                                        </p:tgtEl>
                                        <p:attrNameLst>
                                          <p:attrName>stroke.color</p:attrName>
                                        </p:attrNameLst>
                                      </p:cBhvr>
                                      <p:by>
                                        <p:hsl h="0" s="-12549" l="-25098"/>
                                      </p:by>
                                    </p:animClr>
                                    <p:set>
                                      <p:cBhvr>
                                        <p:cTn id="9" dur="500" fill="hold"/>
                                        <p:tgtEl>
                                          <p:spTgt spid="1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820988" y="1075092"/>
            <a:ext cx="8534400" cy="766763"/>
          </a:xfrm>
        </p:spPr>
        <p:txBody>
          <a:bodyPr>
            <a:noAutofit/>
          </a:bodyPr>
          <a:lstStyle/>
          <a:p>
            <a:r>
              <a:rPr lang="fr-FR" sz="2400" dirty="0"/>
              <a:t>Pareto : 20/80</a:t>
            </a:r>
          </a:p>
        </p:txBody>
      </p:sp>
      <p:sp>
        <p:nvSpPr>
          <p:cNvPr id="6" name="Sous-titre 5"/>
          <p:cNvSpPr>
            <a:spLocks noGrp="1"/>
          </p:cNvSpPr>
          <p:nvPr>
            <p:ph type="subTitle" idx="1"/>
          </p:nvPr>
        </p:nvSpPr>
        <p:spPr>
          <a:xfrm>
            <a:off x="5958566" y="3602038"/>
            <a:ext cx="4706655" cy="1655762"/>
          </a:xfrm>
        </p:spPr>
        <p:txBody>
          <a:bodyPr/>
          <a:lstStyle/>
          <a:p>
            <a:endParaRPr lang="fr-FR" dirty="0"/>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7350" t="23941" r="53411" b="10329"/>
          <a:stretch/>
        </p:blipFill>
        <p:spPr bwMode="auto">
          <a:xfrm>
            <a:off x="2640579" y="1359766"/>
            <a:ext cx="4703914" cy="5758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9" name="Trapezoid 40"/>
          <p:cNvSpPr/>
          <p:nvPr/>
        </p:nvSpPr>
        <p:spPr bwMode="auto">
          <a:xfrm rot="17450802">
            <a:off x="1007731" y="3777564"/>
            <a:ext cx="1984715" cy="837631"/>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3" name="ZoneTexte 12"/>
          <p:cNvSpPr txBox="1"/>
          <p:nvPr/>
        </p:nvSpPr>
        <p:spPr>
          <a:xfrm>
            <a:off x="1647227" y="3870011"/>
            <a:ext cx="705721" cy="584775"/>
          </a:xfrm>
          <a:prstGeom prst="rect">
            <a:avLst/>
          </a:prstGeom>
          <a:noFill/>
        </p:spPr>
        <p:txBody>
          <a:bodyPr wrap="square" rtlCol="0">
            <a:spAutoFit/>
          </a:bodyPr>
          <a:lstStyle/>
          <a:p>
            <a:r>
              <a:rPr lang="fr-FR" sz="3200" b="1" dirty="0">
                <a:solidFill>
                  <a:srgbClr val="FF0000"/>
                </a:solidFill>
              </a:rPr>
              <a:t>M</a:t>
            </a:r>
          </a:p>
        </p:txBody>
      </p:sp>
      <p:sp>
        <p:nvSpPr>
          <p:cNvPr id="3" name="Espace réservé du numéro de diapositive 2"/>
          <p:cNvSpPr>
            <a:spLocks noGrp="1"/>
          </p:cNvSpPr>
          <p:nvPr>
            <p:ph type="sldNum" sz="quarter" idx="12"/>
          </p:nvPr>
        </p:nvSpPr>
        <p:spPr/>
        <p:txBody>
          <a:bodyPr/>
          <a:lstStyle/>
          <a:p>
            <a:fld id="{C9F2E319-0919-499D-AD1F-7963255D1003}" type="slidenum">
              <a:rPr lang="id-ID" smtClean="0"/>
              <a:t>19</a:t>
            </a:fld>
            <a:endParaRPr lang="id-ID"/>
          </a:p>
        </p:txBody>
      </p:sp>
      <p:graphicFrame>
        <p:nvGraphicFramePr>
          <p:cNvPr id="15"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Rectangle 1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graphicFrame>
        <p:nvGraphicFramePr>
          <p:cNvPr id="17" name="Graphique 16"/>
          <p:cNvGraphicFramePr>
            <a:graphicFrameLocks/>
          </p:cNvGraphicFramePr>
          <p:nvPr>
            <p:extLst>
              <p:ext uri="{D42A27DB-BD31-4B8C-83A1-F6EECF244321}">
                <p14:modId xmlns:p14="http://schemas.microsoft.com/office/powerpoint/2010/main" val="841842266"/>
              </p:ext>
            </p:extLst>
          </p:nvPr>
        </p:nvGraphicFramePr>
        <p:xfrm>
          <a:off x="7482486" y="2362200"/>
          <a:ext cx="4572000" cy="4038599"/>
        </p:xfrm>
        <a:graphic>
          <a:graphicData uri="http://schemas.openxmlformats.org/drawingml/2006/chart">
            <c:chart xmlns:c="http://schemas.openxmlformats.org/drawingml/2006/chart" xmlns:r="http://schemas.openxmlformats.org/officeDocument/2006/relationships" r:id="rId10"/>
          </a:graphicData>
        </a:graphic>
      </p:graphicFrame>
      <p:sp>
        <p:nvSpPr>
          <p:cNvPr id="18" name="Rectangle 17"/>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3489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8"/>
                                        </p:tgtEl>
                                        <p:attrNameLst>
                                          <p:attrName>style.color</p:attrName>
                                        </p:attrNameLst>
                                      </p:cBhvr>
                                      <p:by>
                                        <p:hsl h="0" s="-12549" l="-25098"/>
                                      </p:by>
                                    </p:animClr>
                                    <p:animClr clrSpc="hsl" dir="cw">
                                      <p:cBhvr>
                                        <p:cTn id="7" dur="500" fill="hold"/>
                                        <p:tgtEl>
                                          <p:spTgt spid="18"/>
                                        </p:tgtEl>
                                        <p:attrNameLst>
                                          <p:attrName>fillcolor</p:attrName>
                                        </p:attrNameLst>
                                      </p:cBhvr>
                                      <p:by>
                                        <p:hsl h="0" s="-12549" l="-25098"/>
                                      </p:by>
                                    </p:animClr>
                                    <p:animClr clrSpc="hsl" dir="cw">
                                      <p:cBhvr>
                                        <p:cTn id="8" dur="500" fill="hold"/>
                                        <p:tgtEl>
                                          <p:spTgt spid="18"/>
                                        </p:tgtEl>
                                        <p:attrNameLst>
                                          <p:attrName>stroke.color</p:attrName>
                                        </p:attrNameLst>
                                      </p:cBhvr>
                                      <p:by>
                                        <p:hsl h="0" s="-12549" l="-25098"/>
                                      </p:by>
                                    </p:animClr>
                                    <p:set>
                                      <p:cBhvr>
                                        <p:cTn id="9" dur="500" fill="hold"/>
                                        <p:tgtEl>
                                          <p:spTgt spid="1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60"/>
          <p:cNvGrpSpPr>
            <a:grpSpLocks/>
          </p:cNvGrpSpPr>
          <p:nvPr/>
        </p:nvGrpSpPr>
        <p:grpSpPr bwMode="auto">
          <a:xfrm>
            <a:off x="4434695" y="4572102"/>
            <a:ext cx="8926667" cy="353831"/>
            <a:chOff x="1488" y="1371"/>
            <a:chExt cx="4646" cy="290"/>
          </a:xfrm>
        </p:grpSpPr>
        <p:sp>
          <p:nvSpPr>
            <p:cNvPr id="41" name="Line 65"/>
            <p:cNvSpPr>
              <a:spLocks noChangeShapeType="1"/>
            </p:cNvSpPr>
            <p:nvPr/>
          </p:nvSpPr>
          <p:spPr bwMode="auto">
            <a:xfrm>
              <a:off x="1597" y="1648"/>
              <a:ext cx="3024" cy="0"/>
            </a:xfrm>
            <a:prstGeom prst="line">
              <a:avLst/>
            </a:prstGeom>
            <a:noFill/>
            <a:ln w="25400">
              <a:solidFill>
                <a:srgbClr val="C0C0C0"/>
              </a:solidFill>
              <a:prstDash val="sysDot"/>
              <a:round/>
              <a:headEnd/>
              <a:tailEnd type="oval" w="med" len="med"/>
            </a:ln>
          </p:spPr>
          <p:txBody>
            <a:bodyPr wrap="none" anchor="ctr"/>
            <a:lstStyle/>
            <a:p>
              <a:endParaRPr lang="fr-FR">
                <a:solidFill>
                  <a:prstClr val="black"/>
                </a:solidFill>
              </a:endParaRPr>
            </a:p>
          </p:txBody>
        </p:sp>
        <p:sp>
          <p:nvSpPr>
            <p:cNvPr id="28" name="Text Box 66"/>
            <p:cNvSpPr txBox="1">
              <a:spLocks noChangeArrowheads="1"/>
            </p:cNvSpPr>
            <p:nvPr/>
          </p:nvSpPr>
          <p:spPr bwMode="auto">
            <a:xfrm>
              <a:off x="1488" y="1371"/>
              <a:ext cx="4646" cy="290"/>
            </a:xfrm>
            <a:prstGeom prst="rect">
              <a:avLst/>
            </a:prstGeom>
            <a:noFill/>
            <a:ln w="9525" algn="ctr">
              <a:noFill/>
              <a:miter lim="800000"/>
              <a:headEnd/>
              <a:tailEnd/>
            </a:ln>
          </p:spPr>
          <p:txBody>
            <a:bodyPr>
              <a:spAutoFit/>
            </a:bodyPr>
            <a:lstStyle/>
            <a:p>
              <a:pPr>
                <a:spcBef>
                  <a:spcPct val="50000"/>
                </a:spcBef>
              </a:pPr>
              <a:r>
                <a:rPr lang="fr-FR" sz="1700" b="1" dirty="0">
                  <a:solidFill>
                    <a:srgbClr val="303030"/>
                  </a:solidFill>
                  <a:latin typeface="Century Gothic" pitchFamily="34" charset="0"/>
                </a:rPr>
                <a:t>Conclusion  </a:t>
              </a:r>
            </a:p>
          </p:txBody>
        </p:sp>
      </p:grpSp>
      <p:grpSp>
        <p:nvGrpSpPr>
          <p:cNvPr id="33" name="Group 12"/>
          <p:cNvGrpSpPr>
            <a:grpSpLocks/>
          </p:cNvGrpSpPr>
          <p:nvPr/>
        </p:nvGrpSpPr>
        <p:grpSpPr bwMode="auto">
          <a:xfrm>
            <a:off x="4447309" y="3875796"/>
            <a:ext cx="6007545" cy="409137"/>
            <a:chOff x="1490" y="1803"/>
            <a:chExt cx="3127" cy="336"/>
          </a:xfrm>
        </p:grpSpPr>
        <p:sp>
          <p:nvSpPr>
            <p:cNvPr id="34" name="Line 17"/>
            <p:cNvSpPr>
              <a:spLocks noChangeShapeType="1"/>
            </p:cNvSpPr>
            <p:nvPr/>
          </p:nvSpPr>
          <p:spPr bwMode="auto">
            <a:xfrm>
              <a:off x="1536" y="2139"/>
              <a:ext cx="3024" cy="0"/>
            </a:xfrm>
            <a:prstGeom prst="line">
              <a:avLst/>
            </a:prstGeom>
            <a:noFill/>
            <a:ln w="25400">
              <a:solidFill>
                <a:srgbClr val="C0C0C0"/>
              </a:solidFill>
              <a:prstDash val="sysDot"/>
              <a:round/>
              <a:headEnd/>
              <a:tailEnd type="oval" w="med" len="med"/>
            </a:ln>
          </p:spPr>
          <p:txBody>
            <a:bodyPr wrap="none" anchor="ctr"/>
            <a:lstStyle/>
            <a:p>
              <a:endParaRPr lang="fr-FR">
                <a:solidFill>
                  <a:prstClr val="black"/>
                </a:solidFill>
              </a:endParaRPr>
            </a:p>
          </p:txBody>
        </p:sp>
        <p:sp>
          <p:nvSpPr>
            <p:cNvPr id="35" name="Text Box 18"/>
            <p:cNvSpPr txBox="1">
              <a:spLocks noChangeArrowheads="1"/>
            </p:cNvSpPr>
            <p:nvPr/>
          </p:nvSpPr>
          <p:spPr bwMode="auto">
            <a:xfrm>
              <a:off x="1490" y="1803"/>
              <a:ext cx="3127" cy="303"/>
            </a:xfrm>
            <a:prstGeom prst="rect">
              <a:avLst/>
            </a:prstGeom>
            <a:noFill/>
            <a:ln w="9525" algn="ctr">
              <a:noFill/>
              <a:miter lim="800000"/>
              <a:headEnd/>
              <a:tailEnd/>
            </a:ln>
          </p:spPr>
          <p:txBody>
            <a:bodyPr>
              <a:spAutoFit/>
            </a:bodyPr>
            <a:lstStyle/>
            <a:p>
              <a:pPr eaLnBrk="0" hangingPunct="0"/>
              <a:r>
                <a:rPr lang="fr-FR" sz="1800" dirty="0">
                  <a:solidFill>
                    <a:prstClr val="black"/>
                  </a:solidFill>
                  <a:latin typeface="Aparajita" panose="020B0604020202020204" pitchFamily="34" charset="0"/>
                  <a:cs typeface="Aparajita" panose="020B0604020202020204" pitchFamily="34" charset="0"/>
                </a:rPr>
                <a:t>Mise en œuvre de la démarche DMAIC</a:t>
              </a:r>
              <a:r>
                <a:rPr lang="fr-FR" sz="1700" b="1" dirty="0">
                  <a:solidFill>
                    <a:srgbClr val="303030"/>
                  </a:solidFill>
                  <a:latin typeface="Century Gothic" pitchFamily="34" charset="0"/>
                </a:rPr>
                <a:t>  </a:t>
              </a:r>
              <a:endParaRPr lang="fr-FR" sz="1800" dirty="0">
                <a:solidFill>
                  <a:prstClr val="black"/>
                </a:solidFill>
                <a:latin typeface="Aparajita" panose="020B0604020202020204" pitchFamily="34" charset="0"/>
                <a:cs typeface="Aparajita" panose="020B0604020202020204" pitchFamily="34" charset="0"/>
              </a:endParaRPr>
            </a:p>
          </p:txBody>
        </p:sp>
      </p:grpSp>
      <p:grpSp>
        <p:nvGrpSpPr>
          <p:cNvPr id="29" name="Group 52"/>
          <p:cNvGrpSpPr>
            <a:grpSpLocks/>
          </p:cNvGrpSpPr>
          <p:nvPr/>
        </p:nvGrpSpPr>
        <p:grpSpPr bwMode="auto">
          <a:xfrm>
            <a:off x="4434695" y="3222940"/>
            <a:ext cx="5930620" cy="409494"/>
            <a:chOff x="1483" y="1803"/>
            <a:chExt cx="3077" cy="336"/>
          </a:xfrm>
        </p:grpSpPr>
        <p:sp>
          <p:nvSpPr>
            <p:cNvPr id="31" name="Line 57"/>
            <p:cNvSpPr>
              <a:spLocks noChangeShapeType="1"/>
            </p:cNvSpPr>
            <p:nvPr/>
          </p:nvSpPr>
          <p:spPr bwMode="auto">
            <a:xfrm>
              <a:off x="1536" y="2139"/>
              <a:ext cx="3024" cy="0"/>
            </a:xfrm>
            <a:prstGeom prst="line">
              <a:avLst/>
            </a:prstGeom>
            <a:noFill/>
            <a:ln w="25400">
              <a:solidFill>
                <a:srgbClr val="C0C0C0"/>
              </a:solidFill>
              <a:prstDash val="sysDot"/>
              <a:round/>
              <a:headEnd/>
              <a:tailEnd type="oval" w="med" len="med"/>
            </a:ln>
          </p:spPr>
          <p:txBody>
            <a:bodyPr wrap="none" anchor="ctr"/>
            <a:lstStyle/>
            <a:p>
              <a:endParaRPr lang="fr-FR">
                <a:solidFill>
                  <a:prstClr val="black"/>
                </a:solidFill>
              </a:endParaRPr>
            </a:p>
          </p:txBody>
        </p:sp>
        <p:sp>
          <p:nvSpPr>
            <p:cNvPr id="32" name="Text Box 58"/>
            <p:cNvSpPr txBox="1">
              <a:spLocks noChangeArrowheads="1"/>
            </p:cNvSpPr>
            <p:nvPr/>
          </p:nvSpPr>
          <p:spPr bwMode="auto">
            <a:xfrm>
              <a:off x="1483" y="1803"/>
              <a:ext cx="2121" cy="303"/>
            </a:xfrm>
            <a:prstGeom prst="rect">
              <a:avLst/>
            </a:prstGeom>
            <a:noFill/>
            <a:ln w="9525" algn="ctr">
              <a:noFill/>
              <a:miter lim="800000"/>
              <a:headEnd/>
              <a:tailEnd/>
            </a:ln>
          </p:spPr>
          <p:txBody>
            <a:bodyPr>
              <a:spAutoFit/>
            </a:bodyPr>
            <a:lstStyle/>
            <a:p>
              <a:pPr eaLnBrk="0" hangingPunct="0"/>
              <a:r>
                <a:rPr lang="fr-FR" sz="1800" dirty="0">
                  <a:solidFill>
                    <a:prstClr val="black"/>
                  </a:solidFill>
                  <a:latin typeface="Aparajita" panose="020B0604020202020204" pitchFamily="34" charset="0"/>
                  <a:cs typeface="Aparajita" panose="020B0604020202020204" pitchFamily="34" charset="0"/>
                </a:rPr>
                <a:t>Contexte du projet</a:t>
              </a:r>
            </a:p>
          </p:txBody>
        </p:sp>
      </p:grpSp>
      <p:grpSp>
        <p:nvGrpSpPr>
          <p:cNvPr id="25" name="Group 68"/>
          <p:cNvGrpSpPr>
            <a:grpSpLocks/>
          </p:cNvGrpSpPr>
          <p:nvPr/>
        </p:nvGrpSpPr>
        <p:grpSpPr bwMode="auto">
          <a:xfrm>
            <a:off x="4248224" y="2596775"/>
            <a:ext cx="6117091" cy="409955"/>
            <a:chOff x="1395" y="1803"/>
            <a:chExt cx="3165" cy="336"/>
          </a:xfrm>
        </p:grpSpPr>
        <p:sp>
          <p:nvSpPr>
            <p:cNvPr id="26" name="Line 73"/>
            <p:cNvSpPr>
              <a:spLocks noChangeShapeType="1"/>
            </p:cNvSpPr>
            <p:nvPr/>
          </p:nvSpPr>
          <p:spPr bwMode="auto">
            <a:xfrm>
              <a:off x="1536" y="2139"/>
              <a:ext cx="3024" cy="0"/>
            </a:xfrm>
            <a:prstGeom prst="line">
              <a:avLst/>
            </a:prstGeom>
            <a:noFill/>
            <a:ln w="25400">
              <a:solidFill>
                <a:srgbClr val="C0C0C0"/>
              </a:solidFill>
              <a:prstDash val="sysDot"/>
              <a:round/>
              <a:headEnd/>
              <a:tailEnd type="oval" w="med" len="med"/>
            </a:ln>
          </p:spPr>
          <p:txBody>
            <a:bodyPr wrap="none" anchor="ctr"/>
            <a:lstStyle/>
            <a:p>
              <a:endParaRPr lang="fr-FR">
                <a:solidFill>
                  <a:prstClr val="black"/>
                </a:solidFill>
              </a:endParaRPr>
            </a:p>
          </p:txBody>
        </p:sp>
        <p:sp>
          <p:nvSpPr>
            <p:cNvPr id="27" name="Text Box 74"/>
            <p:cNvSpPr txBox="1">
              <a:spLocks noChangeArrowheads="1"/>
            </p:cNvSpPr>
            <p:nvPr/>
          </p:nvSpPr>
          <p:spPr bwMode="auto">
            <a:xfrm>
              <a:off x="1395" y="1803"/>
              <a:ext cx="2892" cy="303"/>
            </a:xfrm>
            <a:prstGeom prst="rect">
              <a:avLst/>
            </a:prstGeom>
            <a:noFill/>
            <a:ln w="9525" algn="ctr">
              <a:noFill/>
              <a:miter lim="800000"/>
              <a:headEnd/>
              <a:tailEnd/>
            </a:ln>
          </p:spPr>
          <p:txBody>
            <a:bodyPr>
              <a:spAutoFit/>
            </a:bodyPr>
            <a:lstStyle/>
            <a:p>
              <a:pPr eaLnBrk="0" hangingPunct="0"/>
              <a:r>
                <a:rPr lang="fr-FR" sz="1800" dirty="0">
                  <a:solidFill>
                    <a:prstClr val="black"/>
                  </a:solidFill>
                  <a:latin typeface="Aparajita" panose="020B0604020202020204" pitchFamily="34" charset="0"/>
                  <a:cs typeface="Aparajita" panose="020B0604020202020204" pitchFamily="34" charset="0"/>
                </a:rPr>
                <a:t>  Présentation de l’entreprise</a:t>
              </a:r>
            </a:p>
          </p:txBody>
        </p:sp>
      </p:grpSp>
      <p:sp>
        <p:nvSpPr>
          <p:cNvPr id="4" name="Rectangle 3"/>
          <p:cNvSpPr/>
          <p:nvPr/>
        </p:nvSpPr>
        <p:spPr>
          <a:xfrm>
            <a:off x="1523603" y="0"/>
            <a:ext cx="9141619" cy="4046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46" name="Diagramme 54"/>
          <p:cNvGraphicFramePr/>
          <p:nvPr>
            <p:extLst>
              <p:ext uri="{D42A27DB-BD31-4B8C-83A1-F6EECF244321}">
                <p14:modId xmlns:p14="http://schemas.microsoft.com/office/powerpoint/2010/main" val="2162998662"/>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7" name="Rectangle 46"/>
          <p:cNvSpPr/>
          <p:nvPr/>
        </p:nvSpPr>
        <p:spPr>
          <a:xfrm>
            <a:off x="0" y="702790"/>
            <a:ext cx="12137544" cy="709986"/>
          </a:xfrm>
          <a:prstGeom prst="rect">
            <a:avLst/>
          </a:prstGeom>
          <a:solidFill>
            <a:schemeClr val="accent1">
              <a:alpha val="92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prstClr val="white"/>
                </a:solidFill>
                <a:latin typeface="Century Gothic" pitchFamily="34" charset="0"/>
              </a:rPr>
              <a:t>Plan</a:t>
            </a:r>
            <a:r>
              <a:rPr lang="fr-FR" sz="2400" dirty="0">
                <a:solidFill>
                  <a:prstClr val="white"/>
                </a:solidFill>
                <a:latin typeface="Century Gothic" pitchFamily="34" charset="0"/>
              </a:rPr>
              <a:t> </a:t>
            </a:r>
          </a:p>
        </p:txBody>
      </p:sp>
      <p:sp>
        <p:nvSpPr>
          <p:cNvPr id="18" name="AutoShape 72"/>
          <p:cNvSpPr>
            <a:spLocks noChangeArrowheads="1"/>
          </p:cNvSpPr>
          <p:nvPr/>
        </p:nvSpPr>
        <p:spPr bwMode="gray">
          <a:xfrm>
            <a:off x="1631079" y="1472955"/>
            <a:ext cx="499932" cy="442913"/>
          </a:xfrm>
          <a:prstGeom prst="flowChartAlternateProcess">
            <a:avLst/>
          </a:prstGeom>
          <a:solidFill>
            <a:schemeClr val="accent1"/>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defRPr/>
            </a:pPr>
            <a:endParaRPr lang="fr-FR" dirty="0">
              <a:solidFill>
                <a:prstClr val="white"/>
              </a:solidFill>
            </a:endParaRPr>
          </a:p>
        </p:txBody>
      </p:sp>
      <p:sp>
        <p:nvSpPr>
          <p:cNvPr id="19" name="AutoShape 16"/>
          <p:cNvSpPr>
            <a:spLocks noChangeArrowheads="1"/>
          </p:cNvSpPr>
          <p:nvPr/>
        </p:nvSpPr>
        <p:spPr bwMode="gray">
          <a:xfrm>
            <a:off x="2630944" y="1472955"/>
            <a:ext cx="499932" cy="441325"/>
          </a:xfrm>
          <a:prstGeom prst="flowChartAlternateProcess">
            <a:avLst/>
          </a:prstGeom>
          <a:solidFill>
            <a:schemeClr val="accent2">
              <a:lumMod val="60000"/>
              <a:lumOff val="40000"/>
            </a:schemeClr>
          </a:solidFill>
          <a:ln>
            <a:solidFill>
              <a:schemeClr val="accent2">
                <a:lumMod val="60000"/>
                <a:lumOff val="40000"/>
              </a:schemeClr>
            </a:soli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endParaRPr lang="fr-FR" dirty="0">
              <a:solidFill>
                <a:prstClr val="white"/>
              </a:solidFill>
            </a:endParaRPr>
          </a:p>
        </p:txBody>
      </p:sp>
      <p:sp>
        <p:nvSpPr>
          <p:cNvPr id="20" name="AutoShape 24"/>
          <p:cNvSpPr>
            <a:spLocks noChangeArrowheads="1"/>
          </p:cNvSpPr>
          <p:nvPr/>
        </p:nvSpPr>
        <p:spPr bwMode="gray">
          <a:xfrm>
            <a:off x="3130877" y="1472955"/>
            <a:ext cx="499933" cy="441325"/>
          </a:xfrm>
          <a:prstGeom prst="flowChartAlternateProcess">
            <a:avLst/>
          </a:prstGeom>
          <a:solidFill>
            <a:schemeClr val="accent1">
              <a:lumMod val="75000"/>
            </a:schemeClr>
          </a:solidFill>
          <a:ln>
            <a:noFill/>
            <a:headEnd/>
            <a:tailEnd/>
          </a:ln>
          <a:effectLst/>
        </p:spPr>
        <p:style>
          <a:lnRef idx="1">
            <a:schemeClr val="dk1"/>
          </a:lnRef>
          <a:fillRef idx="3">
            <a:schemeClr val="dk1"/>
          </a:fillRef>
          <a:effectRef idx="2">
            <a:schemeClr val="dk1"/>
          </a:effectRef>
          <a:fontRef idx="minor">
            <a:schemeClr val="lt1"/>
          </a:fontRef>
        </p:style>
        <p:txBody>
          <a:bodyPr wrap="none" anchor="ctr"/>
          <a:lstStyle/>
          <a:p>
            <a:pPr>
              <a:defRPr/>
            </a:pPr>
            <a:endParaRPr lang="fr-FR" dirty="0">
              <a:solidFill>
                <a:prstClr val="white"/>
              </a:solidFill>
            </a:endParaRPr>
          </a:p>
        </p:txBody>
      </p:sp>
      <p:sp>
        <p:nvSpPr>
          <p:cNvPr id="22" name="AutoShape 56"/>
          <p:cNvSpPr>
            <a:spLocks noChangeArrowheads="1"/>
          </p:cNvSpPr>
          <p:nvPr/>
        </p:nvSpPr>
        <p:spPr bwMode="gray">
          <a:xfrm>
            <a:off x="2131012" y="1472955"/>
            <a:ext cx="499933" cy="441325"/>
          </a:xfrm>
          <a:prstGeom prst="flowChartAlternateProcess">
            <a:avLst/>
          </a:prstGeom>
          <a:solidFill>
            <a:schemeClr val="accent3"/>
          </a:solidFill>
          <a:ln>
            <a:solidFill>
              <a:schemeClr val="accent3"/>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defRPr/>
            </a:pPr>
            <a:endParaRPr lang="fr-FR" dirty="0">
              <a:solidFill>
                <a:prstClr val="white"/>
              </a:solidFill>
            </a:endParaRPr>
          </a:p>
        </p:txBody>
      </p:sp>
      <p:sp>
        <p:nvSpPr>
          <p:cNvPr id="44" name="Rectangle 2"/>
          <p:cNvSpPr>
            <a:spLocks noChangeArrowheads="1"/>
          </p:cNvSpPr>
          <p:nvPr/>
        </p:nvSpPr>
        <p:spPr bwMode="auto">
          <a:xfrm>
            <a:off x="3574790" y="2060848"/>
            <a:ext cx="46025" cy="4032448"/>
          </a:xfrm>
          <a:prstGeom prst="rect">
            <a:avLst/>
          </a:prstGeom>
          <a:gradFill rotWithShape="1">
            <a:gsLst>
              <a:gs pos="0">
                <a:srgbClr val="767676"/>
              </a:gs>
              <a:gs pos="50000">
                <a:srgbClr val="FFFFFF"/>
              </a:gs>
              <a:gs pos="100000">
                <a:srgbClr val="767676"/>
              </a:gs>
            </a:gsLst>
            <a:lin ang="0" scaled="1"/>
          </a:gradFill>
          <a:ln w="9525" algn="ctr">
            <a:noFill/>
            <a:miter lim="800000"/>
            <a:headEnd/>
            <a:tailEnd/>
          </a:ln>
        </p:spPr>
        <p:txBody>
          <a:bodyPr wrap="none" anchor="ctr"/>
          <a:lstStyle/>
          <a:p>
            <a:endParaRPr lang="en-US">
              <a:solidFill>
                <a:prstClr val="black"/>
              </a:solidFill>
              <a:latin typeface="Calibri" pitchFamily="34" charset="0"/>
            </a:endParaRPr>
          </a:p>
        </p:txBody>
      </p:sp>
      <p:sp>
        <p:nvSpPr>
          <p:cNvPr id="3" name="Espace réservé du numéro de diapositive 2"/>
          <p:cNvSpPr>
            <a:spLocks noGrp="1"/>
          </p:cNvSpPr>
          <p:nvPr>
            <p:ph type="sldNum" sz="quarter" idx="12"/>
          </p:nvPr>
        </p:nvSpPr>
        <p:spPr/>
        <p:txBody>
          <a:bodyPr/>
          <a:lstStyle/>
          <a:p>
            <a:fld id="{4FAB73BC-B049-4115-A692-8D63A059BFB8}" type="slidenum">
              <a:rPr lang="en-US" smtClean="0"/>
              <a:pPr/>
              <a:t>2</a:t>
            </a:fld>
            <a:endParaRPr lang="en-US" dirty="0"/>
          </a:p>
        </p:txBody>
      </p:sp>
    </p:spTree>
    <p:extLst>
      <p:ext uri="{BB962C8B-B14F-4D97-AF65-F5344CB8AC3E}">
        <p14:creationId xmlns:p14="http://schemas.microsoft.com/office/powerpoint/2010/main" val="28240674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6" presetClass="entr" presetSubtype="16"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circle(in)">
                                      <p:cBhvr>
                                        <p:cTn id="10" dur="2000"/>
                                        <p:tgtEl>
                                          <p:spTgt spid="44"/>
                                        </p:tgtEl>
                                      </p:cBhvr>
                                    </p:animEffect>
                                  </p:childTnLst>
                                </p:cTn>
                              </p:par>
                              <p:par>
                                <p:cTn id="11" presetID="4" presetClass="entr" presetSubtype="16"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box(in)">
                                      <p:cBhvr>
                                        <p:cTn id="13" dur="1000"/>
                                        <p:tgtEl>
                                          <p:spTgt spid="20"/>
                                        </p:tgtEl>
                                      </p:cBhvr>
                                    </p:animEffect>
                                  </p:childTnLst>
                                </p:cTn>
                              </p:par>
                              <p:par>
                                <p:cTn id="14" presetID="4" presetClass="entr" presetSubtype="16"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box(in)">
                                      <p:cBhvr>
                                        <p:cTn id="16" dur="1000"/>
                                        <p:tgtEl>
                                          <p:spTgt spid="19"/>
                                        </p:tgtEl>
                                      </p:cBhvr>
                                    </p:animEffect>
                                  </p:childTnLst>
                                </p:cTn>
                              </p:par>
                              <p:par>
                                <p:cTn id="17" presetID="4" presetClass="entr" presetSubtype="16"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box(in)">
                                      <p:cBhvr>
                                        <p:cTn id="19" dur="1000"/>
                                        <p:tgtEl>
                                          <p:spTgt spid="22"/>
                                        </p:tgtEl>
                                      </p:cBhvr>
                                    </p:animEffect>
                                  </p:childTnLst>
                                </p:cTn>
                              </p:par>
                              <p:par>
                                <p:cTn id="20" presetID="4" presetClass="entr" presetSubtype="16"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box(in)">
                                      <p:cBhvr>
                                        <p:cTn id="22" dur="10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36" presetClass="path" presetSubtype="0" accel="50000" decel="50000" fill="hold" grpId="0" nodeType="clickEffect">
                                  <p:stCondLst>
                                    <p:cond delay="0"/>
                                  </p:stCondLst>
                                  <p:childTnLst>
                                    <p:animMotion origin="layout" path="M -0.00964 0.00255 L -0.00964 0.08519 C -0.00964 0.12153 0.04375 0.16852 0.0875 0.16852 L 0.18463 0.16852 " pathEditMode="relative" rAng="0" ptsTypes="AAAA">
                                      <p:cBhvr>
                                        <p:cTn id="26" dur="500" fill="hold"/>
                                        <p:tgtEl>
                                          <p:spTgt spid="18"/>
                                        </p:tgtEl>
                                        <p:attrNameLst>
                                          <p:attrName>ppt_x</p:attrName>
                                          <p:attrName>ppt_y</p:attrName>
                                        </p:attrNameLst>
                                      </p:cBhvr>
                                      <p:rCtr x="9714" y="8287"/>
                                    </p:animMotion>
                                  </p:childTnLst>
                                </p:cTn>
                              </p:par>
                              <p:par>
                                <p:cTn id="27" presetID="5" presetClass="entr" presetSubtype="1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checkerboard(across)">
                                      <p:cBhvr>
                                        <p:cTn id="29" dur="500"/>
                                        <p:tgtEl>
                                          <p:spTgt spid="25"/>
                                        </p:tgtEl>
                                      </p:cBhvr>
                                    </p:animEffect>
                                  </p:childTnLst>
                                </p:cTn>
                              </p:par>
                            </p:childTnLst>
                          </p:cTn>
                        </p:par>
                      </p:childTnLst>
                    </p:cTn>
                  </p:par>
                  <p:par>
                    <p:cTn id="30" fill="hold">
                      <p:stCondLst>
                        <p:cond delay="indefinite"/>
                      </p:stCondLst>
                      <p:childTnLst>
                        <p:par>
                          <p:cTn id="31" fill="hold">
                            <p:stCondLst>
                              <p:cond delay="0"/>
                            </p:stCondLst>
                            <p:childTnLst>
                              <p:par>
                                <p:cTn id="32" presetID="36" presetClass="path" presetSubtype="0" accel="50000" decel="50000" fill="hold" grpId="0" nodeType="clickEffect">
                                  <p:stCondLst>
                                    <p:cond delay="0"/>
                                  </p:stCondLst>
                                  <p:childTnLst>
                                    <p:animMotion origin="layout" path="M -0.00963 0.00232 L -0.00963 0.13102 C -0.00963 0.18889 0.03216 0.26088 0.06654 0.26088 L 0.14362 0.26088 " pathEditMode="relative" rAng="0" ptsTypes="AAAA">
                                      <p:cBhvr>
                                        <p:cTn id="33" dur="500" fill="hold"/>
                                        <p:tgtEl>
                                          <p:spTgt spid="22"/>
                                        </p:tgtEl>
                                        <p:attrNameLst>
                                          <p:attrName>ppt_x</p:attrName>
                                          <p:attrName>ppt_y</p:attrName>
                                        </p:attrNameLst>
                                      </p:cBhvr>
                                      <p:rCtr x="7656" y="12917"/>
                                    </p:animMotion>
                                  </p:childTnLst>
                                </p:cTn>
                              </p:par>
                            </p:childTnLst>
                          </p:cTn>
                        </p:par>
                        <p:par>
                          <p:cTn id="34" fill="hold">
                            <p:stCondLst>
                              <p:cond delay="500"/>
                            </p:stCondLst>
                            <p:childTnLst>
                              <p:par>
                                <p:cTn id="35" presetID="5" presetClass="entr" presetSubtype="10" fill="hold" nodeType="after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checkerboard(across)">
                                      <p:cBhvr>
                                        <p:cTn id="37" dur="5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36" presetClass="path" presetSubtype="0" accel="50000" decel="50000" fill="hold" grpId="0" nodeType="clickEffect">
                                  <p:stCondLst>
                                    <p:cond delay="0"/>
                                  </p:stCondLst>
                                  <p:childTnLst>
                                    <p:animMotion origin="layout" path="M 1.875E-6 -7.40741E-7 L 1.875E-6 0.17384 C 1.875E-6 0.25301 0.02708 0.35093 0.05026 0.35093 L 0.1026 0.35093 " pathEditMode="relative" rAng="0" ptsTypes="AAAA">
                                      <p:cBhvr>
                                        <p:cTn id="41" dur="500" fill="hold"/>
                                        <p:tgtEl>
                                          <p:spTgt spid="19"/>
                                        </p:tgtEl>
                                        <p:attrNameLst>
                                          <p:attrName>ppt_x</p:attrName>
                                          <p:attrName>ppt_y</p:attrName>
                                        </p:attrNameLst>
                                      </p:cBhvr>
                                      <p:rCtr x="5130" y="17546"/>
                                    </p:animMotion>
                                  </p:childTnLst>
                                </p:cTn>
                              </p:par>
                            </p:childTnLst>
                          </p:cTn>
                        </p:par>
                        <p:par>
                          <p:cTn id="42" fill="hold">
                            <p:stCondLst>
                              <p:cond delay="500"/>
                            </p:stCondLst>
                            <p:childTnLst>
                              <p:par>
                                <p:cTn id="43" presetID="5" presetClass="entr" presetSubtype="10"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checkerboard(across)">
                                      <p:cBhvr>
                                        <p:cTn id="45" dur="500"/>
                                        <p:tgtEl>
                                          <p:spTgt spid="33"/>
                                        </p:tgtEl>
                                      </p:cBhvr>
                                    </p:animEffect>
                                  </p:childTnLst>
                                </p:cTn>
                              </p:par>
                            </p:childTnLst>
                          </p:cTn>
                        </p:par>
                      </p:childTnLst>
                    </p:cTn>
                  </p:par>
                  <p:par>
                    <p:cTn id="46" fill="hold">
                      <p:stCondLst>
                        <p:cond delay="indefinite"/>
                      </p:stCondLst>
                      <p:childTnLst>
                        <p:par>
                          <p:cTn id="47" fill="hold">
                            <p:stCondLst>
                              <p:cond delay="0"/>
                            </p:stCondLst>
                            <p:childTnLst>
                              <p:par>
                                <p:cTn id="48" presetID="36" presetClass="path" presetSubtype="0" accel="50000" decel="50000" fill="hold" grpId="0" nodeType="clickEffect">
                                  <p:stCondLst>
                                    <p:cond delay="0"/>
                                  </p:stCondLst>
                                  <p:childTnLst>
                                    <p:animMotion origin="layout" path="M -3.75E-6 -0.02801 L -3.75E-6 0.20764 C -3.75E-6 0.31389 0.01472 0.44583 0.02813 0.44583 L 0.06159 0.44583 " pathEditMode="relative" rAng="0" ptsTypes="AAAA">
                                      <p:cBhvr>
                                        <p:cTn id="49" dur="500" fill="hold"/>
                                        <p:tgtEl>
                                          <p:spTgt spid="20"/>
                                        </p:tgtEl>
                                        <p:attrNameLst>
                                          <p:attrName>ppt_x</p:attrName>
                                          <p:attrName>ppt_y</p:attrName>
                                        </p:attrNameLst>
                                      </p:cBhvr>
                                      <p:rCtr x="3073" y="23681"/>
                                    </p:animMotion>
                                  </p:childTnLst>
                                </p:cTn>
                              </p:par>
                            </p:childTnLst>
                          </p:cTn>
                        </p:par>
                        <p:par>
                          <p:cTn id="50" fill="hold">
                            <p:stCondLst>
                              <p:cond delay="500"/>
                            </p:stCondLst>
                            <p:childTnLst>
                              <p:par>
                                <p:cTn id="51" presetID="5" presetClass="entr" presetSubtype="10" fill="hold" nodeType="after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checkerboard(across)">
                                      <p:cBhvr>
                                        <p:cTn id="53" dur="500"/>
                                        <p:tgtEl>
                                          <p:spTgt spid="40"/>
                                        </p:tgtEl>
                                      </p:cBhvr>
                                    </p:animEffect>
                                  </p:childTnLst>
                                </p:cTn>
                              </p:par>
                            </p:childTnLst>
                          </p:cTn>
                        </p:par>
                      </p:childTnLst>
                    </p:cTn>
                  </p:par>
                  <p:par>
                    <p:cTn id="54" fill="hold">
                      <p:stCondLst>
                        <p:cond delay="indefinite"/>
                      </p:stCondLst>
                      <p:childTnLst>
                        <p:par>
                          <p:cTn id="55" fill="hold">
                            <p:stCondLst>
                              <p:cond delay="0"/>
                            </p:stCondLst>
                            <p:childTnLst>
                              <p:par>
                                <p:cTn id="56" presetID="43" presetClass="path" presetSubtype="0" accel="50000" decel="50000" fill="hold" nodeType="clickEffect">
                                  <p:stCondLst>
                                    <p:cond delay="0"/>
                                  </p:stCondLst>
                                  <p:childTnLst>
                                    <p:animMotion origin="layout" path="M -0.14596 -0.00023 L -0.3349 -0.00023 C -0.41979 -0.00023 -0.52383 -0.09606 -0.52383 -0.17361 L -0.52383 -0.34676 " pathEditMode="relative" rAng="0" ptsTypes="AAAA">
                                      <p:cBhvr>
                                        <p:cTn id="57" dur="800" fill="hold"/>
                                        <p:tgtEl>
                                          <p:spTgt spid="25"/>
                                        </p:tgtEl>
                                        <p:attrNameLst>
                                          <p:attrName>ppt_x</p:attrName>
                                          <p:attrName>ppt_y</p:attrName>
                                        </p:attrNameLst>
                                      </p:cBhvr>
                                      <p:rCtr x="-18893" y="-17338"/>
                                    </p:animMotion>
                                  </p:childTnLst>
                                </p:cTn>
                              </p:par>
                              <p:par>
                                <p:cTn id="58" presetID="43" presetClass="path" presetSubtype="0" accel="50000" decel="50000" fill="hold" nodeType="withEffect">
                                  <p:stCondLst>
                                    <p:cond delay="0"/>
                                  </p:stCondLst>
                                  <p:childTnLst>
                                    <p:animMotion origin="layout" path="M -0.06927 -0.00741 L -0.19961 -0.00741 C -0.25768 -0.00741 -0.32917 -0.13588 -0.32917 -0.23843 L -0.32917 -0.46945 " pathEditMode="relative" rAng="0" ptsTypes="AAAA">
                                      <p:cBhvr>
                                        <p:cTn id="59" dur="800" fill="hold"/>
                                        <p:tgtEl>
                                          <p:spTgt spid="29"/>
                                        </p:tgtEl>
                                        <p:attrNameLst>
                                          <p:attrName>ppt_x</p:attrName>
                                          <p:attrName>ppt_y</p:attrName>
                                        </p:attrNameLst>
                                      </p:cBhvr>
                                      <p:rCtr x="-12995" y="-23102"/>
                                    </p:animMotion>
                                  </p:childTnLst>
                                </p:cTn>
                              </p:par>
                              <p:par>
                                <p:cTn id="60" presetID="43" presetClass="path" presetSubtype="0" accel="50000" decel="50000" fill="hold" nodeType="withEffect">
                                  <p:stCondLst>
                                    <p:cond delay="0"/>
                                  </p:stCondLst>
                                  <p:childTnLst>
                                    <p:animMotion origin="layout" path="M 2.08333E-6 2.59259E-6 L -0.06198 2.59259E-6 C -0.08972 2.59259E-6 -0.12383 -0.16297 -0.12383 -0.29514 L -0.12383 -0.58959 " pathEditMode="relative" rAng="0" ptsTypes="AAAA">
                                      <p:cBhvr>
                                        <p:cTn id="61" dur="800" fill="hold"/>
                                        <p:tgtEl>
                                          <p:spTgt spid="33"/>
                                        </p:tgtEl>
                                        <p:attrNameLst>
                                          <p:attrName>ppt_x</p:attrName>
                                          <p:attrName>ppt_y</p:attrName>
                                        </p:attrNameLst>
                                      </p:cBhvr>
                                      <p:rCtr x="-6198" y="-29491"/>
                                    </p:animMotion>
                                  </p:childTnLst>
                                </p:cTn>
                              </p:par>
                              <p:par>
                                <p:cTn id="62" presetID="43" presetClass="path" presetSubtype="0" accel="50000" decel="50000" fill="hold" nodeType="withEffect">
                                  <p:stCondLst>
                                    <p:cond delay="0"/>
                                  </p:stCondLst>
                                  <p:childTnLst>
                                    <p:animMotion origin="layout" path="M -0.27565 -0.00023 L -0.07487 -0.00023 C 0.0151 -0.00023 0.12604 -0.22083 0.12604 -0.4 L 0.12604 -0.79838 " pathEditMode="relative" rAng="0" ptsTypes="AAAA">
                                      <p:cBhvr>
                                        <p:cTn id="63" dur="800" fill="hold"/>
                                        <p:tgtEl>
                                          <p:spTgt spid="40"/>
                                        </p:tgtEl>
                                        <p:attrNameLst>
                                          <p:attrName>ppt_x</p:attrName>
                                          <p:attrName>ppt_y</p:attrName>
                                        </p:attrNameLst>
                                      </p:cBhvr>
                                      <p:rCtr x="20078" y="-39907"/>
                                    </p:animMotion>
                                  </p:childTnLst>
                                </p:cTn>
                              </p:par>
                            </p:childTnLst>
                          </p:cTn>
                        </p:par>
                        <p:par>
                          <p:cTn id="64" fill="hold">
                            <p:stCondLst>
                              <p:cond delay="800"/>
                            </p:stCondLst>
                            <p:childTnLst>
                              <p:par>
                                <p:cTn id="65" presetID="1" presetClass="exit" presetSubtype="0" fill="hold" nodeType="afterEffect">
                                  <p:stCondLst>
                                    <p:cond delay="0"/>
                                  </p:stCondLst>
                                  <p:childTnLst>
                                    <p:set>
                                      <p:cBhvr>
                                        <p:cTn id="66" dur="1" fill="hold">
                                          <p:stCondLst>
                                            <p:cond delay="0"/>
                                          </p:stCondLst>
                                        </p:cTn>
                                        <p:tgtEl>
                                          <p:spTgt spid="25"/>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29"/>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33"/>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40"/>
                                        </p:tgtEl>
                                        <p:attrNameLst>
                                          <p:attrName>style.visibility</p:attrName>
                                        </p:attrNameLst>
                                      </p:cBhvr>
                                      <p:to>
                                        <p:strVal val="hidden"/>
                                      </p:to>
                                    </p:set>
                                  </p:childTnLst>
                                </p:cTn>
                              </p:par>
                              <p:par>
                                <p:cTn id="73" presetID="42" presetClass="exit" presetSubtype="0" fill="hold" grpId="0" nodeType="withEffect">
                                  <p:stCondLst>
                                    <p:cond delay="0"/>
                                  </p:stCondLst>
                                  <p:childTnLst>
                                    <p:animEffect transition="out" filter="fade">
                                      <p:cBhvr>
                                        <p:cTn id="74" dur="800"/>
                                        <p:tgtEl>
                                          <p:spTgt spid="44"/>
                                        </p:tgtEl>
                                      </p:cBhvr>
                                    </p:animEffect>
                                    <p:anim calcmode="lin" valueType="num">
                                      <p:cBhvr>
                                        <p:cTn id="75" dur="800"/>
                                        <p:tgtEl>
                                          <p:spTgt spid="44"/>
                                        </p:tgtEl>
                                        <p:attrNameLst>
                                          <p:attrName>ppt_x</p:attrName>
                                        </p:attrNameLst>
                                      </p:cBhvr>
                                      <p:tavLst>
                                        <p:tav tm="0">
                                          <p:val>
                                            <p:strVal val="ppt_x"/>
                                          </p:val>
                                        </p:tav>
                                        <p:tav tm="100000">
                                          <p:val>
                                            <p:strVal val="ppt_x"/>
                                          </p:val>
                                        </p:tav>
                                      </p:tavLst>
                                    </p:anim>
                                    <p:anim calcmode="lin" valueType="num">
                                      <p:cBhvr>
                                        <p:cTn id="76" dur="800"/>
                                        <p:tgtEl>
                                          <p:spTgt spid="44"/>
                                        </p:tgtEl>
                                        <p:attrNameLst>
                                          <p:attrName>ppt_y</p:attrName>
                                        </p:attrNameLst>
                                      </p:cBhvr>
                                      <p:tavLst>
                                        <p:tav tm="0">
                                          <p:val>
                                            <p:strVal val="ppt_y"/>
                                          </p:val>
                                        </p:tav>
                                        <p:tav tm="100000">
                                          <p:val>
                                            <p:strVal val="ppt_y+.1"/>
                                          </p:val>
                                        </p:tav>
                                      </p:tavLst>
                                    </p:anim>
                                    <p:set>
                                      <p:cBhvr>
                                        <p:cTn id="77" dur="1" fill="hold">
                                          <p:stCondLst>
                                            <p:cond delay="799"/>
                                          </p:stCondLst>
                                        </p:cTn>
                                        <p:tgtEl>
                                          <p:spTgt spid="44"/>
                                        </p:tgtEl>
                                        <p:attrNameLst>
                                          <p:attrName>style.visibility</p:attrName>
                                        </p:attrNameLst>
                                      </p:cBhvr>
                                      <p:to>
                                        <p:strVal val="hidden"/>
                                      </p:to>
                                    </p:set>
                                  </p:childTnLst>
                                </p:cTn>
                              </p:par>
                              <p:par>
                                <p:cTn id="78" presetID="10" presetClass="exit" presetSubtype="0" fill="hold" grpId="1" nodeType="withEffect">
                                  <p:stCondLst>
                                    <p:cond delay="0"/>
                                  </p:stCondLst>
                                  <p:childTnLst>
                                    <p:animEffect transition="out" filter="fade">
                                      <p:cBhvr>
                                        <p:cTn id="79" dur="800"/>
                                        <p:tgtEl>
                                          <p:spTgt spid="20"/>
                                        </p:tgtEl>
                                      </p:cBhvr>
                                    </p:animEffect>
                                    <p:set>
                                      <p:cBhvr>
                                        <p:cTn id="80" dur="1" fill="hold">
                                          <p:stCondLst>
                                            <p:cond delay="799"/>
                                          </p:stCondLst>
                                        </p:cTn>
                                        <p:tgtEl>
                                          <p:spTgt spid="20"/>
                                        </p:tgtEl>
                                        <p:attrNameLst>
                                          <p:attrName>style.visibility</p:attrName>
                                        </p:attrNameLst>
                                      </p:cBhvr>
                                      <p:to>
                                        <p:strVal val="hidden"/>
                                      </p:to>
                                    </p:set>
                                  </p:childTnLst>
                                </p:cTn>
                              </p:par>
                              <p:par>
                                <p:cTn id="81" presetID="10" presetClass="exit" presetSubtype="0" fill="hold" grpId="1" nodeType="withEffect">
                                  <p:stCondLst>
                                    <p:cond delay="0"/>
                                  </p:stCondLst>
                                  <p:childTnLst>
                                    <p:animEffect transition="out" filter="fade">
                                      <p:cBhvr>
                                        <p:cTn id="82" dur="800"/>
                                        <p:tgtEl>
                                          <p:spTgt spid="19"/>
                                        </p:tgtEl>
                                      </p:cBhvr>
                                    </p:animEffect>
                                    <p:set>
                                      <p:cBhvr>
                                        <p:cTn id="83" dur="1" fill="hold">
                                          <p:stCondLst>
                                            <p:cond delay="799"/>
                                          </p:stCondLst>
                                        </p:cTn>
                                        <p:tgtEl>
                                          <p:spTgt spid="19"/>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800"/>
                                        <p:tgtEl>
                                          <p:spTgt spid="22"/>
                                        </p:tgtEl>
                                      </p:cBhvr>
                                    </p:animEffect>
                                    <p:set>
                                      <p:cBhvr>
                                        <p:cTn id="86" dur="1" fill="hold">
                                          <p:stCondLst>
                                            <p:cond delay="799"/>
                                          </p:stCondLst>
                                        </p:cTn>
                                        <p:tgtEl>
                                          <p:spTgt spid="22"/>
                                        </p:tgtEl>
                                        <p:attrNameLst>
                                          <p:attrName>style.visibility</p:attrName>
                                        </p:attrNameLst>
                                      </p:cBhvr>
                                      <p:to>
                                        <p:strVal val="hidden"/>
                                      </p:to>
                                    </p:set>
                                  </p:childTnLst>
                                </p:cTn>
                              </p:par>
                              <p:par>
                                <p:cTn id="87" presetID="10" presetClass="exit" presetSubtype="0" fill="hold" grpId="1" nodeType="withEffect">
                                  <p:stCondLst>
                                    <p:cond delay="0"/>
                                  </p:stCondLst>
                                  <p:childTnLst>
                                    <p:animEffect transition="out" filter="fade">
                                      <p:cBhvr>
                                        <p:cTn id="88" dur="800"/>
                                        <p:tgtEl>
                                          <p:spTgt spid="18"/>
                                        </p:tgtEl>
                                      </p:cBhvr>
                                    </p:animEffect>
                                    <p:set>
                                      <p:cBhvr>
                                        <p:cTn id="89" dur="1" fill="hold">
                                          <p:stCondLst>
                                            <p:cond delay="799"/>
                                          </p:stCondLst>
                                        </p:cTn>
                                        <p:tgtEl>
                                          <p:spTgt spid="18"/>
                                        </p:tgtEl>
                                        <p:attrNameLst>
                                          <p:attrName>style.visibility</p:attrName>
                                        </p:attrNameLst>
                                      </p:cBhvr>
                                      <p:to>
                                        <p:strVal val="hidden"/>
                                      </p:to>
                                    </p:set>
                                  </p:childTnLst>
                                </p:cTn>
                              </p:par>
                              <p:par>
                                <p:cTn id="90" presetID="5" presetClass="entr" presetSubtype="10" fill="hold" grpId="0" nodeType="withEffect">
                                  <p:stCondLst>
                                    <p:cond delay="0"/>
                                  </p:stCondLst>
                                  <p:childTnLst>
                                    <p:set>
                                      <p:cBhvr>
                                        <p:cTn id="91" dur="1" fill="hold">
                                          <p:stCondLst>
                                            <p:cond delay="0"/>
                                          </p:stCondLst>
                                        </p:cTn>
                                        <p:tgtEl>
                                          <p:spTgt spid="46"/>
                                        </p:tgtEl>
                                        <p:attrNameLst>
                                          <p:attrName>style.visibility</p:attrName>
                                        </p:attrNameLst>
                                      </p:cBhvr>
                                      <p:to>
                                        <p:strVal val="visible"/>
                                      </p:to>
                                    </p:set>
                                    <p:animEffect transition="in" filter="checkerboard(across)">
                                      <p:cBhvr>
                                        <p:cTn id="92" dur="800"/>
                                        <p:tgtEl>
                                          <p:spTgt spid="46"/>
                                        </p:tgtEl>
                                      </p:cBhvr>
                                    </p:animEffect>
                                  </p:childTnLst>
                                </p:cTn>
                              </p:par>
                              <p:par>
                                <p:cTn id="93" presetID="42" presetClass="exit" presetSubtype="0" fill="hold" grpId="1" nodeType="withEffect">
                                  <p:stCondLst>
                                    <p:cond delay="0"/>
                                  </p:stCondLst>
                                  <p:childTnLst>
                                    <p:animEffect transition="out" filter="fade">
                                      <p:cBhvr>
                                        <p:cTn id="94" dur="800"/>
                                        <p:tgtEl>
                                          <p:spTgt spid="47"/>
                                        </p:tgtEl>
                                      </p:cBhvr>
                                    </p:animEffect>
                                    <p:anim calcmode="lin" valueType="num">
                                      <p:cBhvr>
                                        <p:cTn id="95" dur="800"/>
                                        <p:tgtEl>
                                          <p:spTgt spid="47"/>
                                        </p:tgtEl>
                                        <p:attrNameLst>
                                          <p:attrName>ppt_x</p:attrName>
                                        </p:attrNameLst>
                                      </p:cBhvr>
                                      <p:tavLst>
                                        <p:tav tm="0">
                                          <p:val>
                                            <p:strVal val="ppt_x"/>
                                          </p:val>
                                        </p:tav>
                                        <p:tav tm="100000">
                                          <p:val>
                                            <p:strVal val="ppt_x"/>
                                          </p:val>
                                        </p:tav>
                                      </p:tavLst>
                                    </p:anim>
                                    <p:anim calcmode="lin" valueType="num">
                                      <p:cBhvr>
                                        <p:cTn id="96" dur="800"/>
                                        <p:tgtEl>
                                          <p:spTgt spid="47"/>
                                        </p:tgtEl>
                                        <p:attrNameLst>
                                          <p:attrName>ppt_y</p:attrName>
                                        </p:attrNameLst>
                                      </p:cBhvr>
                                      <p:tavLst>
                                        <p:tav tm="0">
                                          <p:val>
                                            <p:strVal val="ppt_y"/>
                                          </p:val>
                                        </p:tav>
                                        <p:tav tm="100000">
                                          <p:val>
                                            <p:strVal val="ppt_y+.1"/>
                                          </p:val>
                                        </p:tav>
                                      </p:tavLst>
                                    </p:anim>
                                    <p:set>
                                      <p:cBhvr>
                                        <p:cTn id="97" dur="1" fill="hold">
                                          <p:stCondLst>
                                            <p:cond delay="7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6" grpId="0">
        <p:bldAsOne/>
      </p:bldGraphic>
      <p:bldP spid="47" grpId="0" animBg="1"/>
      <p:bldP spid="47" grpId="1" animBg="1"/>
      <p:bldP spid="18" grpId="0" animBg="1"/>
      <p:bldP spid="18" grpId="1" animBg="1"/>
      <p:bldP spid="19" grpId="0" animBg="1"/>
      <p:bldP spid="19" grpId="1" animBg="1"/>
      <p:bldP spid="20" grpId="0" animBg="1"/>
      <p:bldP spid="20" grpId="1" animBg="1"/>
      <p:bldP spid="22" grpId="0" animBg="1"/>
      <p:bldP spid="22" grpId="1" animBg="1"/>
      <p:bldP spid="44" grpId="0" animBg="1"/>
      <p:bldP spid="44"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0209211" y="3505200"/>
            <a:ext cx="1979613" cy="990600"/>
          </a:xfrm>
        </p:spPr>
        <p:txBody>
          <a:bodyPr>
            <a:normAutofit fontScale="47500" lnSpcReduction="20000"/>
          </a:bodyPr>
          <a:lstStyle/>
          <a:p>
            <a:r>
              <a:rPr lang="fr-FR" sz="3200" b="1" dirty="0">
                <a:solidFill>
                  <a:schemeClr val="tx2">
                    <a:lumMod val="60000"/>
                    <a:lumOff val="40000"/>
                  </a:schemeClr>
                </a:solidFill>
              </a:rPr>
              <a:t>Le niveau de service Actuel selon la grille d’évaluation actuel </a:t>
            </a:r>
          </a:p>
        </p:txBody>
      </p:sp>
      <p:graphicFrame>
        <p:nvGraphicFramePr>
          <p:cNvPr id="6" name="Graphique 5"/>
          <p:cNvGraphicFramePr>
            <a:graphicFrameLocks/>
          </p:cNvGraphicFramePr>
          <p:nvPr>
            <p:extLst>
              <p:ext uri="{D42A27DB-BD31-4B8C-83A1-F6EECF244321}">
                <p14:modId xmlns:p14="http://schemas.microsoft.com/office/powerpoint/2010/main" val="485429781"/>
              </p:ext>
            </p:extLst>
          </p:nvPr>
        </p:nvGraphicFramePr>
        <p:xfrm>
          <a:off x="3198812" y="1043550"/>
          <a:ext cx="6553200" cy="5181600"/>
        </p:xfrm>
        <a:graphic>
          <a:graphicData uri="http://schemas.openxmlformats.org/drawingml/2006/chart">
            <c:chart xmlns:c="http://schemas.openxmlformats.org/drawingml/2006/chart" xmlns:r="http://schemas.openxmlformats.org/officeDocument/2006/relationships" r:id="rId2"/>
          </a:graphicData>
        </a:graphic>
      </p:graphicFrame>
      <p:sp>
        <p:nvSpPr>
          <p:cNvPr id="7" name="Ellipse 6"/>
          <p:cNvSpPr/>
          <p:nvPr/>
        </p:nvSpPr>
        <p:spPr>
          <a:xfrm>
            <a:off x="8151812" y="2081688"/>
            <a:ext cx="6858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Picture 42" descr="dmaic logobackground_transparant"/>
          <p:cNvPicPr>
            <a:picLocks noChangeAspect="1" noChangeArrowheads="1"/>
          </p:cNvPicPr>
          <p:nvPr/>
        </p:nvPicPr>
        <p:blipFill>
          <a:blip r:embed="rId3" cstate="print"/>
          <a:srcRect/>
          <a:stretch>
            <a:fillRect/>
          </a:stretch>
        </p:blipFill>
        <p:spPr bwMode="auto">
          <a:xfrm>
            <a:off x="75314" y="2557938"/>
            <a:ext cx="2360457" cy="2708193"/>
          </a:xfrm>
          <a:prstGeom prst="rect">
            <a:avLst/>
          </a:prstGeom>
          <a:noFill/>
          <a:ln w="9525">
            <a:noFill/>
            <a:miter lim="800000"/>
            <a:headEnd/>
            <a:tailEnd/>
          </a:ln>
        </p:spPr>
      </p:pic>
      <p:sp>
        <p:nvSpPr>
          <p:cNvPr id="10" name="Trapezoid 40"/>
          <p:cNvSpPr/>
          <p:nvPr/>
        </p:nvSpPr>
        <p:spPr bwMode="auto">
          <a:xfrm rot="17450802">
            <a:off x="1007731" y="3777564"/>
            <a:ext cx="1984715" cy="837631"/>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a:off x="1647227" y="3900206"/>
            <a:ext cx="705721" cy="584775"/>
          </a:xfrm>
          <a:prstGeom prst="rect">
            <a:avLst/>
          </a:prstGeom>
          <a:noFill/>
        </p:spPr>
        <p:txBody>
          <a:bodyPr wrap="square" rtlCol="0">
            <a:spAutoFit/>
          </a:bodyPr>
          <a:lstStyle/>
          <a:p>
            <a:r>
              <a:rPr lang="fr-FR" sz="3200" b="1" dirty="0">
                <a:solidFill>
                  <a:srgbClr val="FF0000"/>
                </a:solidFill>
              </a:rPr>
              <a:t>M</a:t>
            </a: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20</a:t>
            </a:fld>
            <a:endParaRPr lang="id-ID"/>
          </a:p>
        </p:txBody>
      </p:sp>
      <p:graphicFrame>
        <p:nvGraphicFramePr>
          <p:cNvPr id="14" name="Diagramme 54"/>
          <p:cNvGraphicFramePr/>
          <p:nvPr>
            <p:extLst>
              <p:ext uri="{D42A27DB-BD31-4B8C-83A1-F6EECF244321}">
                <p14:modId xmlns:p14="http://schemas.microsoft.com/office/powerpoint/2010/main" val="3907842702"/>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Rectangle 14"/>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6" name="Rectangle 15"/>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91239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989012" y="1359766"/>
            <a:ext cx="9141619" cy="554037"/>
          </a:xfrm>
        </p:spPr>
        <p:txBody>
          <a:bodyPr>
            <a:normAutofit/>
          </a:bodyPr>
          <a:lstStyle/>
          <a:p>
            <a:pPr algn="l"/>
            <a:r>
              <a:rPr lang="fr-FR" sz="2000" dirty="0"/>
              <a:t>Exemple </a:t>
            </a:r>
            <a:r>
              <a:rPr lang="fr-FR" sz="2400" dirty="0"/>
              <a:t>: </a:t>
            </a:r>
            <a:r>
              <a:rPr lang="fr-FR" sz="1600" dirty="0"/>
              <a:t>Litho typo Marocaine </a:t>
            </a:r>
            <a:r>
              <a:rPr lang="fr-FR" sz="1600" dirty="0" err="1"/>
              <a:t>s.a.r.l</a:t>
            </a:r>
            <a:r>
              <a:rPr lang="fr-FR" sz="1600" dirty="0"/>
              <a:t>  </a:t>
            </a:r>
          </a:p>
        </p:txBody>
      </p:sp>
      <p:sp>
        <p:nvSpPr>
          <p:cNvPr id="3" name="Sous-titre 2"/>
          <p:cNvSpPr>
            <a:spLocks noGrp="1"/>
          </p:cNvSpPr>
          <p:nvPr>
            <p:ph type="subTitle" idx="1"/>
          </p:nvPr>
        </p:nvSpPr>
        <p:spPr/>
        <p:txBody>
          <a:bodyPr/>
          <a:lstStyle/>
          <a:p>
            <a:endParaRPr lang="fr-FR"/>
          </a:p>
        </p:txBody>
      </p:sp>
      <p:graphicFrame>
        <p:nvGraphicFramePr>
          <p:cNvPr id="5" name="Graphique 4"/>
          <p:cNvGraphicFramePr>
            <a:graphicFrameLocks/>
          </p:cNvGraphicFramePr>
          <p:nvPr>
            <p:extLst>
              <p:ext uri="{D42A27DB-BD31-4B8C-83A1-F6EECF244321}">
                <p14:modId xmlns:p14="http://schemas.microsoft.com/office/powerpoint/2010/main" val="3565164699"/>
              </p:ext>
            </p:extLst>
          </p:nvPr>
        </p:nvGraphicFramePr>
        <p:xfrm>
          <a:off x="3579812" y="1972291"/>
          <a:ext cx="6705600" cy="444817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8" name="Trapezoid 40"/>
          <p:cNvSpPr/>
          <p:nvPr/>
        </p:nvSpPr>
        <p:spPr bwMode="auto">
          <a:xfrm rot="17450802">
            <a:off x="1007731" y="3777564"/>
            <a:ext cx="1984715" cy="837631"/>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0" name="ZoneTexte 9"/>
          <p:cNvSpPr txBox="1"/>
          <p:nvPr/>
        </p:nvSpPr>
        <p:spPr>
          <a:xfrm>
            <a:off x="1674812" y="3886200"/>
            <a:ext cx="705721" cy="584775"/>
          </a:xfrm>
          <a:prstGeom prst="rect">
            <a:avLst/>
          </a:prstGeom>
          <a:noFill/>
        </p:spPr>
        <p:txBody>
          <a:bodyPr wrap="square" rtlCol="0">
            <a:spAutoFit/>
          </a:bodyPr>
          <a:lstStyle/>
          <a:p>
            <a:r>
              <a:rPr lang="fr-FR" sz="3200" b="1" dirty="0">
                <a:solidFill>
                  <a:srgbClr val="FF0000"/>
                </a:solidFill>
              </a:rPr>
              <a:t>M</a:t>
            </a: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21</a:t>
            </a:fld>
            <a:endParaRPr lang="id-ID"/>
          </a:p>
        </p:txBody>
      </p:sp>
      <p:graphicFrame>
        <p:nvGraphicFramePr>
          <p:cNvPr id="12"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Rectangle 12"/>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4" name="Rectangle 13"/>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3048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4"/>
                                        </p:tgtEl>
                                        <p:attrNameLst>
                                          <p:attrName>style.color</p:attrName>
                                        </p:attrNameLst>
                                      </p:cBhvr>
                                      <p:by>
                                        <p:hsl h="0" s="-12549" l="-25098"/>
                                      </p:by>
                                    </p:animClr>
                                    <p:animClr clrSpc="hsl" dir="cw">
                                      <p:cBhvr>
                                        <p:cTn id="7" dur="500" fill="hold"/>
                                        <p:tgtEl>
                                          <p:spTgt spid="14"/>
                                        </p:tgtEl>
                                        <p:attrNameLst>
                                          <p:attrName>fillcolor</p:attrName>
                                        </p:attrNameLst>
                                      </p:cBhvr>
                                      <p:by>
                                        <p:hsl h="0" s="-12549" l="-25098"/>
                                      </p:by>
                                    </p:animClr>
                                    <p:animClr clrSpc="hsl" dir="cw">
                                      <p:cBhvr>
                                        <p:cTn id="8" dur="500" fill="hold"/>
                                        <p:tgtEl>
                                          <p:spTgt spid="14"/>
                                        </p:tgtEl>
                                        <p:attrNameLst>
                                          <p:attrName>stroke.color</p:attrName>
                                        </p:attrNameLst>
                                      </p:cBhvr>
                                      <p:by>
                                        <p:hsl h="0" s="-12549" l="-25098"/>
                                      </p:by>
                                    </p:animClr>
                                    <p:set>
                                      <p:cBhvr>
                                        <p:cTn id="9" dur="500" fill="hold"/>
                                        <p:tgtEl>
                                          <p:spTgt spid="1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363788" y="1359766"/>
            <a:ext cx="9141619" cy="858837"/>
          </a:xfrm>
        </p:spPr>
        <p:txBody>
          <a:bodyPr>
            <a:normAutofit fontScale="90000"/>
          </a:bodyPr>
          <a:lstStyle/>
          <a:p>
            <a:r>
              <a:rPr lang="fr-FR" dirty="0"/>
              <a:t>Output :</a:t>
            </a:r>
          </a:p>
        </p:txBody>
      </p:sp>
      <p:graphicFrame>
        <p:nvGraphicFramePr>
          <p:cNvPr id="5" name="Graphique 4"/>
          <p:cNvGraphicFramePr>
            <a:graphicFrameLocks/>
          </p:cNvGraphicFramePr>
          <p:nvPr>
            <p:extLst>
              <p:ext uri="{D42A27DB-BD31-4B8C-83A1-F6EECF244321}">
                <p14:modId xmlns:p14="http://schemas.microsoft.com/office/powerpoint/2010/main" val="3870757738"/>
              </p:ext>
            </p:extLst>
          </p:nvPr>
        </p:nvGraphicFramePr>
        <p:xfrm>
          <a:off x="2741612" y="1359766"/>
          <a:ext cx="4648200" cy="5702734"/>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8" name="Trapezoid 40"/>
          <p:cNvSpPr/>
          <p:nvPr/>
        </p:nvSpPr>
        <p:spPr bwMode="auto">
          <a:xfrm rot="17450802">
            <a:off x="813338" y="3489313"/>
            <a:ext cx="2851300" cy="1212342"/>
          </a:xfrm>
          <a:prstGeom prst="trapezoid">
            <a:avLst>
              <a:gd name="adj" fmla="val 60955"/>
            </a:avLst>
          </a:prstGeom>
          <a:noFill/>
          <a:ln w="762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a:off x="1674812" y="3886200"/>
            <a:ext cx="705721" cy="584775"/>
          </a:xfrm>
          <a:prstGeom prst="rect">
            <a:avLst/>
          </a:prstGeom>
          <a:noFill/>
        </p:spPr>
        <p:txBody>
          <a:bodyPr wrap="square" rtlCol="0">
            <a:spAutoFit/>
          </a:bodyPr>
          <a:lstStyle/>
          <a:p>
            <a:r>
              <a:rPr lang="fr-FR" sz="3200" b="1" dirty="0">
                <a:solidFill>
                  <a:srgbClr val="FF0000"/>
                </a:solidFill>
              </a:rPr>
              <a:t>M</a:t>
            </a: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22</a:t>
            </a:fld>
            <a:endParaRPr lang="id-ID"/>
          </a:p>
        </p:txBody>
      </p:sp>
      <p:graphicFrame>
        <p:nvGraphicFramePr>
          <p:cNvPr id="15"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Rectangle 1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graphicFrame>
        <p:nvGraphicFramePr>
          <p:cNvPr id="17" name="Graphique 16"/>
          <p:cNvGraphicFramePr>
            <a:graphicFrameLocks/>
          </p:cNvGraphicFramePr>
          <p:nvPr>
            <p:extLst>
              <p:ext uri="{D42A27DB-BD31-4B8C-83A1-F6EECF244321}">
                <p14:modId xmlns:p14="http://schemas.microsoft.com/office/powerpoint/2010/main" val="2858704783"/>
              </p:ext>
            </p:extLst>
          </p:nvPr>
        </p:nvGraphicFramePr>
        <p:xfrm>
          <a:off x="6856412" y="2474014"/>
          <a:ext cx="4648200" cy="3993921"/>
        </p:xfrm>
        <a:graphic>
          <a:graphicData uri="http://schemas.openxmlformats.org/drawingml/2006/chart">
            <c:chart xmlns:c="http://schemas.openxmlformats.org/drawingml/2006/chart" xmlns:r="http://schemas.openxmlformats.org/officeDocument/2006/relationships" r:id="rId10"/>
          </a:graphicData>
        </a:graphic>
      </p:graphicFrame>
      <p:sp>
        <p:nvSpPr>
          <p:cNvPr id="18" name="Ellipse 17"/>
          <p:cNvSpPr/>
          <p:nvPr/>
        </p:nvSpPr>
        <p:spPr>
          <a:xfrm>
            <a:off x="10209212" y="3200400"/>
            <a:ext cx="6858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19765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1200" y="1341425"/>
            <a:ext cx="2284571" cy="715961"/>
          </a:xfrm>
        </p:spPr>
        <p:txBody>
          <a:bodyPr>
            <a:normAutofit/>
          </a:bodyPr>
          <a:lstStyle/>
          <a:p>
            <a:r>
              <a:rPr lang="fr-FR" sz="2000" dirty="0"/>
              <a:t>Quantité</a:t>
            </a:r>
          </a:p>
        </p:txBody>
      </p:sp>
      <p:sp>
        <p:nvSpPr>
          <p:cNvPr id="6" name="Virage 5"/>
          <p:cNvSpPr/>
          <p:nvPr/>
        </p:nvSpPr>
        <p:spPr>
          <a:xfrm rot="5211520">
            <a:off x="5942291" y="1972905"/>
            <a:ext cx="1235450" cy="117006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aphicFrame>
        <p:nvGraphicFramePr>
          <p:cNvPr id="8" name="Graphique 7"/>
          <p:cNvGraphicFramePr>
            <a:graphicFrameLocks/>
          </p:cNvGraphicFramePr>
          <p:nvPr>
            <p:extLst>
              <p:ext uri="{D42A27DB-BD31-4B8C-83A1-F6EECF244321}">
                <p14:modId xmlns:p14="http://schemas.microsoft.com/office/powerpoint/2010/main" val="1171238575"/>
              </p:ext>
            </p:extLst>
          </p:nvPr>
        </p:nvGraphicFramePr>
        <p:xfrm>
          <a:off x="6399212" y="2628900"/>
          <a:ext cx="5789613" cy="4229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phique 8"/>
          <p:cNvGraphicFramePr>
            <a:graphicFrameLocks/>
          </p:cNvGraphicFramePr>
          <p:nvPr>
            <p:extLst>
              <p:ext uri="{D42A27DB-BD31-4B8C-83A1-F6EECF244321}">
                <p14:modId xmlns:p14="http://schemas.microsoft.com/office/powerpoint/2010/main" val="4048250105"/>
              </p:ext>
            </p:extLst>
          </p:nvPr>
        </p:nvGraphicFramePr>
        <p:xfrm>
          <a:off x="2589212" y="1328450"/>
          <a:ext cx="3663254" cy="263529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42" descr="dmaic logobackground_transparant"/>
          <p:cNvPicPr>
            <a:picLocks noChangeAspect="1" noChangeArrowheads="1"/>
          </p:cNvPicPr>
          <p:nvPr/>
        </p:nvPicPr>
        <p:blipFill>
          <a:blip r:embed="rId5" cstate="print"/>
          <a:srcRect/>
          <a:stretch>
            <a:fillRect/>
          </a:stretch>
        </p:blipFill>
        <p:spPr bwMode="auto">
          <a:xfrm>
            <a:off x="75314" y="2557938"/>
            <a:ext cx="2360457" cy="2708193"/>
          </a:xfrm>
          <a:prstGeom prst="rect">
            <a:avLst/>
          </a:prstGeom>
          <a:noFill/>
          <a:ln w="9525">
            <a:noFill/>
            <a:miter lim="800000"/>
            <a:headEnd/>
            <a:tailEnd/>
          </a:ln>
        </p:spPr>
      </p:pic>
      <p:sp>
        <p:nvSpPr>
          <p:cNvPr id="12" name="Trapezoid 40"/>
          <p:cNvSpPr/>
          <p:nvPr/>
        </p:nvSpPr>
        <p:spPr bwMode="auto">
          <a:xfrm>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5" name="ZoneTexte 14"/>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sp>
        <p:nvSpPr>
          <p:cNvPr id="3" name="Espace réservé du numéro de diapositive 2"/>
          <p:cNvSpPr>
            <a:spLocks noGrp="1"/>
          </p:cNvSpPr>
          <p:nvPr>
            <p:ph type="sldNum" sz="quarter" idx="12"/>
          </p:nvPr>
        </p:nvSpPr>
        <p:spPr/>
        <p:txBody>
          <a:bodyPr/>
          <a:lstStyle/>
          <a:p>
            <a:fld id="{C2F52289-4012-4053-9770-FE82CEB9514F}" type="slidenum">
              <a:rPr lang="en-US" smtClean="0"/>
              <a:pPr/>
              <a:t>23</a:t>
            </a:fld>
            <a:endParaRPr lang="en-US"/>
          </a:p>
        </p:txBody>
      </p:sp>
      <p:graphicFrame>
        <p:nvGraphicFramePr>
          <p:cNvPr id="17" name="Diagramme 54"/>
          <p:cNvGraphicFramePr/>
          <p:nvPr>
            <p:extLst>
              <p:ext uri="{D42A27DB-BD31-4B8C-83A1-F6EECF244321}">
                <p14:modId xmlns:p14="http://schemas.microsoft.com/office/powerpoint/2010/main" val="819267927"/>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8" name="Rectangle 17"/>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9" name="Rectangle 18"/>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82675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24" presetClass="emph" presetSubtype="0" fill="hold" grpId="0" nodeType="withEffect">
                                  <p:stCondLst>
                                    <p:cond delay="0"/>
                                  </p:stCondLst>
                                  <p:childTnLst>
                                    <p:animClr clrSpc="hsl" dir="cw">
                                      <p:cBhvr override="childStyle">
                                        <p:cTn id="16" dur="500" fill="hold"/>
                                        <p:tgtEl>
                                          <p:spTgt spid="19"/>
                                        </p:tgtEl>
                                        <p:attrNameLst>
                                          <p:attrName>style.color</p:attrName>
                                        </p:attrNameLst>
                                      </p:cBhvr>
                                      <p:by>
                                        <p:hsl h="0" s="-12549" l="-25098"/>
                                      </p:by>
                                    </p:animClr>
                                    <p:animClr clrSpc="hsl" dir="cw">
                                      <p:cBhvr>
                                        <p:cTn id="17" dur="500" fill="hold"/>
                                        <p:tgtEl>
                                          <p:spTgt spid="19"/>
                                        </p:tgtEl>
                                        <p:attrNameLst>
                                          <p:attrName>fillcolor</p:attrName>
                                        </p:attrNameLst>
                                      </p:cBhvr>
                                      <p:by>
                                        <p:hsl h="0" s="-12549" l="-25098"/>
                                      </p:by>
                                    </p:animClr>
                                    <p:animClr clrSpc="hsl" dir="cw">
                                      <p:cBhvr>
                                        <p:cTn id="18" dur="500" fill="hold"/>
                                        <p:tgtEl>
                                          <p:spTgt spid="19"/>
                                        </p:tgtEl>
                                        <p:attrNameLst>
                                          <p:attrName>stroke.color</p:attrName>
                                        </p:attrNameLst>
                                      </p:cBhvr>
                                      <p:by>
                                        <p:hsl h="0" s="-12549" l="-25098"/>
                                      </p:by>
                                    </p:animClr>
                                    <p:set>
                                      <p:cBhvr>
                                        <p:cTn id="1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Graphic spid="8" grpId="0">
        <p:bldAsOne/>
      </p:bldGraphic>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irage 1"/>
          <p:cNvSpPr/>
          <p:nvPr/>
        </p:nvSpPr>
        <p:spPr>
          <a:xfrm rot="5211520">
            <a:off x="6268957" y="1939568"/>
            <a:ext cx="791207" cy="64293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aphicFrame>
        <p:nvGraphicFramePr>
          <p:cNvPr id="28" name="Graphique 27"/>
          <p:cNvGraphicFramePr>
            <a:graphicFrameLocks/>
          </p:cNvGraphicFramePr>
          <p:nvPr>
            <p:extLst>
              <p:ext uri="{D42A27DB-BD31-4B8C-83A1-F6EECF244321}">
                <p14:modId xmlns:p14="http://schemas.microsoft.com/office/powerpoint/2010/main" val="769464547"/>
              </p:ext>
            </p:extLst>
          </p:nvPr>
        </p:nvGraphicFramePr>
        <p:xfrm>
          <a:off x="2511897" y="1308655"/>
          <a:ext cx="3810000" cy="2905175"/>
        </p:xfrm>
        <a:graphic>
          <a:graphicData uri="http://schemas.openxmlformats.org/drawingml/2006/chart">
            <c:chart xmlns:c="http://schemas.openxmlformats.org/drawingml/2006/chart" xmlns:r="http://schemas.openxmlformats.org/officeDocument/2006/relationships" r:id="rId2"/>
          </a:graphicData>
        </a:graphic>
      </p:graphicFrame>
      <p:sp>
        <p:nvSpPr>
          <p:cNvPr id="4" name="ZoneTexte 3"/>
          <p:cNvSpPr txBox="1"/>
          <p:nvPr/>
        </p:nvSpPr>
        <p:spPr>
          <a:xfrm>
            <a:off x="455611" y="1516305"/>
            <a:ext cx="1258131" cy="461665"/>
          </a:xfrm>
          <a:prstGeom prst="rect">
            <a:avLst/>
          </a:prstGeom>
          <a:noFill/>
        </p:spPr>
        <p:txBody>
          <a:bodyPr wrap="square" rtlCol="0">
            <a:spAutoFit/>
          </a:bodyPr>
          <a:lstStyle/>
          <a:p>
            <a:r>
              <a:rPr lang="fr-FR" sz="2400" dirty="0"/>
              <a:t>Délai</a:t>
            </a:r>
          </a:p>
        </p:txBody>
      </p:sp>
      <p:graphicFrame>
        <p:nvGraphicFramePr>
          <p:cNvPr id="14" name="Graphique 13"/>
          <p:cNvGraphicFramePr>
            <a:graphicFrameLocks/>
          </p:cNvGraphicFramePr>
          <p:nvPr>
            <p:extLst>
              <p:ext uri="{D42A27DB-BD31-4B8C-83A1-F6EECF244321}">
                <p14:modId xmlns:p14="http://schemas.microsoft.com/office/powerpoint/2010/main" val="4259499093"/>
              </p:ext>
            </p:extLst>
          </p:nvPr>
        </p:nvGraphicFramePr>
        <p:xfrm>
          <a:off x="6176384" y="2798886"/>
          <a:ext cx="6012441" cy="4166940"/>
        </p:xfrm>
        <a:graphic>
          <a:graphicData uri="http://schemas.openxmlformats.org/drawingml/2006/chart">
            <c:chart xmlns:c="http://schemas.openxmlformats.org/drawingml/2006/chart" xmlns:r="http://schemas.openxmlformats.org/officeDocument/2006/relationships" r:id="rId3"/>
          </a:graphicData>
        </a:graphic>
      </p:graphicFrame>
      <p:sp>
        <p:nvSpPr>
          <p:cNvPr id="3" name="ZoneTexte 2"/>
          <p:cNvSpPr txBox="1"/>
          <p:nvPr/>
        </p:nvSpPr>
        <p:spPr>
          <a:xfrm>
            <a:off x="9675812" y="1524000"/>
            <a:ext cx="1828800" cy="446276"/>
          </a:xfrm>
          <a:prstGeom prst="rect">
            <a:avLst/>
          </a:prstGeom>
          <a:solidFill>
            <a:schemeClr val="tx2">
              <a:lumMod val="60000"/>
              <a:lumOff val="40000"/>
            </a:schemeClr>
          </a:solidFill>
        </p:spPr>
        <p:txBody>
          <a:bodyPr wrap="square" rtlCol="0">
            <a:spAutoFit/>
          </a:bodyPr>
          <a:lstStyle/>
          <a:p>
            <a:r>
              <a:rPr lang="fr-FR" dirty="0"/>
              <a:t>/ produits </a:t>
            </a:r>
          </a:p>
        </p:txBody>
      </p:sp>
      <p:pic>
        <p:nvPicPr>
          <p:cNvPr id="8"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5" name="Espace réservé du numéro de diapositive 4"/>
          <p:cNvSpPr>
            <a:spLocks noGrp="1"/>
          </p:cNvSpPr>
          <p:nvPr>
            <p:ph type="sldNum" sz="quarter" idx="12"/>
          </p:nvPr>
        </p:nvSpPr>
        <p:spPr/>
        <p:txBody>
          <a:bodyPr/>
          <a:lstStyle/>
          <a:p>
            <a:fld id="{C2F52289-4012-4053-9770-FE82CEB9514F}" type="slidenum">
              <a:rPr lang="en-US" smtClean="0"/>
              <a:pPr/>
              <a:t>24</a:t>
            </a:fld>
            <a:endParaRPr lang="en-US"/>
          </a:p>
        </p:txBody>
      </p:sp>
      <p:sp>
        <p:nvSpPr>
          <p:cNvPr id="15" name="Trapezoid 40"/>
          <p:cNvSpPr/>
          <p:nvPr/>
        </p:nvSpPr>
        <p:spPr bwMode="auto">
          <a:xfrm rot="21218459">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6" name="ZoneTexte 15"/>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graphicFrame>
        <p:nvGraphicFramePr>
          <p:cNvPr id="19"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Rectangle 19"/>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1" name="Rectangle 20"/>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66734673"/>
      </p:ext>
    </p:extLst>
  </p:cSld>
  <p:clrMapOvr>
    <a:masterClrMapping/>
  </p:clrMapOvr>
  <p:transition spd="slow">
    <p:cut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1"/>
                                        </p:tgtEl>
                                        <p:attrNameLst>
                                          <p:attrName>style.color</p:attrName>
                                        </p:attrNameLst>
                                      </p:cBhvr>
                                      <p:by>
                                        <p:hsl h="0" s="-12549" l="-25098"/>
                                      </p:by>
                                    </p:animClr>
                                    <p:animClr clrSpc="hsl" dir="cw">
                                      <p:cBhvr>
                                        <p:cTn id="7" dur="500" fill="hold"/>
                                        <p:tgtEl>
                                          <p:spTgt spid="21"/>
                                        </p:tgtEl>
                                        <p:attrNameLst>
                                          <p:attrName>fillcolor</p:attrName>
                                        </p:attrNameLst>
                                      </p:cBhvr>
                                      <p:by>
                                        <p:hsl h="0" s="-12549" l="-25098"/>
                                      </p:by>
                                    </p:animClr>
                                    <p:animClr clrSpc="hsl" dir="cw">
                                      <p:cBhvr>
                                        <p:cTn id="8" dur="500" fill="hold"/>
                                        <p:tgtEl>
                                          <p:spTgt spid="21"/>
                                        </p:tgtEl>
                                        <p:attrNameLst>
                                          <p:attrName>stroke.color</p:attrName>
                                        </p:attrNameLst>
                                      </p:cBhvr>
                                      <p:by>
                                        <p:hsl h="0" s="-12549" l="-25098"/>
                                      </p:by>
                                    </p:animClr>
                                    <p:set>
                                      <p:cBhvr>
                                        <p:cTn id="9" dur="500" fill="hold"/>
                                        <p:tgtEl>
                                          <p:spTgt spid="2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08012" y="1600200"/>
            <a:ext cx="1981200" cy="609600"/>
          </a:xfrm>
        </p:spPr>
        <p:txBody>
          <a:bodyPr>
            <a:normAutofit/>
          </a:bodyPr>
          <a:lstStyle/>
          <a:p>
            <a:r>
              <a:rPr lang="fr-FR" sz="2400" dirty="0"/>
              <a:t>Qualité </a:t>
            </a: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1338800975"/>
              </p:ext>
            </p:extLst>
          </p:nvPr>
        </p:nvGraphicFramePr>
        <p:xfrm>
          <a:off x="8131174" y="1676400"/>
          <a:ext cx="4037013" cy="4876800"/>
        </p:xfrm>
        <a:graphic>
          <a:graphicData uri="http://schemas.openxmlformats.org/drawingml/2006/chart">
            <c:chart xmlns:c="http://schemas.openxmlformats.org/drawingml/2006/chart" xmlns:r="http://schemas.openxmlformats.org/officeDocument/2006/relationships" r:id="rId2"/>
          </a:graphicData>
        </a:graphic>
      </p:graphicFrame>
      <p:sp>
        <p:nvSpPr>
          <p:cNvPr id="7" name="Ellipse 6"/>
          <p:cNvSpPr/>
          <p:nvPr/>
        </p:nvSpPr>
        <p:spPr>
          <a:xfrm>
            <a:off x="8456612" y="4726216"/>
            <a:ext cx="1066800" cy="609600"/>
          </a:xfrm>
          <a:prstGeom prst="ellipse">
            <a:avLst/>
          </a:prstGeom>
          <a:noFill/>
          <a:ln w="57150">
            <a:solidFill>
              <a:srgbClr val="F053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9" name="Graphique 8"/>
          <p:cNvGraphicFramePr>
            <a:graphicFrameLocks/>
          </p:cNvGraphicFramePr>
          <p:nvPr>
            <p:extLst>
              <p:ext uri="{D42A27DB-BD31-4B8C-83A1-F6EECF244321}">
                <p14:modId xmlns:p14="http://schemas.microsoft.com/office/powerpoint/2010/main" val="2761869508"/>
              </p:ext>
            </p:extLst>
          </p:nvPr>
        </p:nvGraphicFramePr>
        <p:xfrm>
          <a:off x="2284412" y="1657351"/>
          <a:ext cx="6248400" cy="5219699"/>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3" name="Espace réservé du numéro de diapositive 2"/>
          <p:cNvSpPr>
            <a:spLocks noGrp="1"/>
          </p:cNvSpPr>
          <p:nvPr>
            <p:ph type="sldNum" sz="quarter" idx="12"/>
          </p:nvPr>
        </p:nvSpPr>
        <p:spPr/>
        <p:txBody>
          <a:bodyPr/>
          <a:lstStyle/>
          <a:p>
            <a:fld id="{C2F52289-4012-4053-9770-FE82CEB9514F}" type="slidenum">
              <a:rPr lang="en-US" smtClean="0"/>
              <a:pPr/>
              <a:t>25</a:t>
            </a:fld>
            <a:endParaRPr lang="en-US"/>
          </a:p>
        </p:txBody>
      </p:sp>
      <p:sp>
        <p:nvSpPr>
          <p:cNvPr id="16" name="Trapezoid 40"/>
          <p:cNvSpPr/>
          <p:nvPr/>
        </p:nvSpPr>
        <p:spPr bwMode="auto">
          <a:xfrm rot="164631">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7" name="ZoneTexte 16"/>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graphicFrame>
        <p:nvGraphicFramePr>
          <p:cNvPr id="18"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9" name="Rectangle 18"/>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0" name="Rectangle 19"/>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203455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4" presetClass="emph" presetSubtype="0" fill="hold" grpId="0" nodeType="withEffect">
                                  <p:stCondLst>
                                    <p:cond delay="0"/>
                                  </p:stCondLst>
                                  <p:childTnLst>
                                    <p:animClr clrSpc="hsl" dir="cw">
                                      <p:cBhvr override="childStyle">
                                        <p:cTn id="9" dur="500" fill="hold"/>
                                        <p:tgtEl>
                                          <p:spTgt spid="20"/>
                                        </p:tgtEl>
                                        <p:attrNameLst>
                                          <p:attrName>style.color</p:attrName>
                                        </p:attrNameLst>
                                      </p:cBhvr>
                                      <p:by>
                                        <p:hsl h="0" s="-12549" l="-25098"/>
                                      </p:by>
                                    </p:animClr>
                                    <p:animClr clrSpc="hsl" dir="cw">
                                      <p:cBhvr>
                                        <p:cTn id="10" dur="500" fill="hold"/>
                                        <p:tgtEl>
                                          <p:spTgt spid="20"/>
                                        </p:tgtEl>
                                        <p:attrNameLst>
                                          <p:attrName>fillcolor</p:attrName>
                                        </p:attrNameLst>
                                      </p:cBhvr>
                                      <p:by>
                                        <p:hsl h="0" s="-12549" l="-25098"/>
                                      </p:by>
                                    </p:animClr>
                                    <p:animClr clrSpc="hsl" dir="cw">
                                      <p:cBhvr>
                                        <p:cTn id="11" dur="500" fill="hold"/>
                                        <p:tgtEl>
                                          <p:spTgt spid="20"/>
                                        </p:tgtEl>
                                        <p:attrNameLst>
                                          <p:attrName>stroke.color</p:attrName>
                                        </p:attrNameLst>
                                      </p:cBhvr>
                                      <p:by>
                                        <p:hsl h="0" s="-12549" l="-25098"/>
                                      </p:by>
                                    </p:animClr>
                                    <p:set>
                                      <p:cBhvr>
                                        <p:cTn id="12" dur="500" fill="hold"/>
                                        <p:tgtEl>
                                          <p:spTgt spid="2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455612" y="1433214"/>
            <a:ext cx="6858000" cy="511629"/>
          </a:xfrm>
        </p:spPr>
        <p:txBody>
          <a:bodyPr>
            <a:noAutofit/>
          </a:bodyPr>
          <a:lstStyle/>
          <a:p>
            <a:pPr lvl="0" algn="l"/>
            <a:r>
              <a:rPr lang="fr-FR" sz="3200" dirty="0"/>
              <a:t>5P</a:t>
            </a:r>
            <a:r>
              <a:rPr lang="fr-FR" sz="2400" dirty="0"/>
              <a:t> </a:t>
            </a:r>
          </a:p>
        </p:txBody>
      </p:sp>
      <p:sp>
        <p:nvSpPr>
          <p:cNvPr id="6" name="ZoneTexte 5"/>
          <p:cNvSpPr txBox="1"/>
          <p:nvPr/>
        </p:nvSpPr>
        <p:spPr>
          <a:xfrm>
            <a:off x="3046412" y="1371599"/>
            <a:ext cx="1676400" cy="461665"/>
          </a:xfrm>
          <a:prstGeom prst="rect">
            <a:avLst/>
          </a:prstGeom>
          <a:noFill/>
        </p:spPr>
        <p:txBody>
          <a:bodyPr wrap="square" rtlCol="0">
            <a:spAutoFit/>
          </a:bodyPr>
          <a:lstStyle/>
          <a:p>
            <a:pPr lvl="0"/>
            <a:r>
              <a:rPr lang="fr-FR" sz="2400" b="1" u="sng" dirty="0"/>
              <a:t>Qualité : </a:t>
            </a:r>
            <a:endParaRPr lang="fr-FR" sz="2400" b="1" dirty="0"/>
          </a:p>
        </p:txBody>
      </p:sp>
      <p:sp>
        <p:nvSpPr>
          <p:cNvPr id="7" name="ZoneTexte 6"/>
          <p:cNvSpPr txBox="1"/>
          <p:nvPr/>
        </p:nvSpPr>
        <p:spPr>
          <a:xfrm>
            <a:off x="8990012" y="1345181"/>
            <a:ext cx="1414170" cy="461665"/>
          </a:xfrm>
          <a:prstGeom prst="rect">
            <a:avLst/>
          </a:prstGeom>
          <a:noFill/>
        </p:spPr>
        <p:txBody>
          <a:bodyPr wrap="none" rtlCol="0">
            <a:spAutoFit/>
          </a:bodyPr>
          <a:lstStyle/>
          <a:p>
            <a:pPr lvl="0"/>
            <a:r>
              <a:rPr lang="fr-FR" sz="2400" b="1" u="sng" dirty="0"/>
              <a:t>Le délai </a:t>
            </a:r>
            <a:endParaRPr lang="fr-FR" sz="2400" dirty="0"/>
          </a:p>
        </p:txBody>
      </p:sp>
      <p:graphicFrame>
        <p:nvGraphicFramePr>
          <p:cNvPr id="10" name="Diagramme 9"/>
          <p:cNvGraphicFramePr/>
          <p:nvPr>
            <p:extLst>
              <p:ext uri="{D42A27DB-BD31-4B8C-83A1-F6EECF244321}">
                <p14:modId xmlns:p14="http://schemas.microsoft.com/office/powerpoint/2010/main" val="3519875301"/>
              </p:ext>
            </p:extLst>
          </p:nvPr>
        </p:nvGraphicFramePr>
        <p:xfrm>
          <a:off x="2744636" y="1828800"/>
          <a:ext cx="4487789" cy="48745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me 10"/>
          <p:cNvGraphicFramePr/>
          <p:nvPr>
            <p:extLst>
              <p:ext uri="{D42A27DB-BD31-4B8C-83A1-F6EECF244321}">
                <p14:modId xmlns:p14="http://schemas.microsoft.com/office/powerpoint/2010/main" val="2240986177"/>
              </p:ext>
            </p:extLst>
          </p:nvPr>
        </p:nvGraphicFramePr>
        <p:xfrm>
          <a:off x="6942773" y="1833264"/>
          <a:ext cx="4942839" cy="493104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42" descr="dmaic logobackground_transparant"/>
          <p:cNvPicPr>
            <a:picLocks noChangeAspect="1" noChangeArrowheads="1"/>
          </p:cNvPicPr>
          <p:nvPr/>
        </p:nvPicPr>
        <p:blipFill>
          <a:blip r:embed="rId13" cstate="print"/>
          <a:srcRect/>
          <a:stretch>
            <a:fillRect/>
          </a:stretch>
        </p:blipFill>
        <p:spPr bwMode="auto">
          <a:xfrm>
            <a:off x="75314" y="2557938"/>
            <a:ext cx="2360457" cy="2708193"/>
          </a:xfrm>
          <a:prstGeom prst="rect">
            <a:avLst/>
          </a:prstGeom>
          <a:noFill/>
          <a:ln w="9525">
            <a:noFill/>
            <a:miter lim="800000"/>
            <a:headEnd/>
            <a:tailEnd/>
          </a:ln>
        </p:spPr>
      </p:pic>
      <p:sp>
        <p:nvSpPr>
          <p:cNvPr id="2" name="Espace réservé du numéro de diapositive 1"/>
          <p:cNvSpPr>
            <a:spLocks noGrp="1"/>
          </p:cNvSpPr>
          <p:nvPr>
            <p:ph type="sldNum" sz="quarter" idx="12"/>
          </p:nvPr>
        </p:nvSpPr>
        <p:spPr/>
        <p:txBody>
          <a:bodyPr/>
          <a:lstStyle/>
          <a:p>
            <a:fld id="{C9F2E319-0919-499D-AD1F-7963255D1003}" type="slidenum">
              <a:rPr lang="id-ID" smtClean="0"/>
              <a:t>26</a:t>
            </a:fld>
            <a:endParaRPr lang="id-ID"/>
          </a:p>
        </p:txBody>
      </p:sp>
      <p:pic>
        <p:nvPicPr>
          <p:cNvPr id="15" name="Picture 42" descr="dmaic logobackground_transparant"/>
          <p:cNvPicPr>
            <a:picLocks noChangeAspect="1" noChangeArrowheads="1"/>
          </p:cNvPicPr>
          <p:nvPr/>
        </p:nvPicPr>
        <p:blipFill>
          <a:blip r:embed="rId13" cstate="print"/>
          <a:srcRect/>
          <a:stretch>
            <a:fillRect/>
          </a:stretch>
        </p:blipFill>
        <p:spPr bwMode="auto">
          <a:xfrm>
            <a:off x="75314" y="2557938"/>
            <a:ext cx="2360457" cy="2708193"/>
          </a:xfrm>
          <a:prstGeom prst="rect">
            <a:avLst/>
          </a:prstGeom>
          <a:noFill/>
          <a:ln w="9525">
            <a:noFill/>
            <a:miter lim="800000"/>
            <a:headEnd/>
            <a:tailEnd/>
          </a:ln>
        </p:spPr>
      </p:pic>
      <p:sp>
        <p:nvSpPr>
          <p:cNvPr id="16" name="ZoneTexte 15"/>
          <p:cNvSpPr txBox="1"/>
          <p:nvPr/>
        </p:nvSpPr>
        <p:spPr>
          <a:xfrm rot="381541">
            <a:off x="1007213" y="4446150"/>
            <a:ext cx="705721" cy="584775"/>
          </a:xfrm>
          <a:prstGeom prst="rect">
            <a:avLst/>
          </a:prstGeom>
          <a:noFill/>
        </p:spPr>
        <p:txBody>
          <a:bodyPr wrap="square" rtlCol="0">
            <a:spAutoFit/>
          </a:bodyPr>
          <a:lstStyle/>
          <a:p>
            <a:r>
              <a:rPr lang="fr-FR" sz="3200" b="1" dirty="0">
                <a:solidFill>
                  <a:srgbClr val="FF0000"/>
                </a:solidFill>
              </a:rPr>
              <a:t>A</a:t>
            </a:r>
          </a:p>
        </p:txBody>
      </p:sp>
      <p:sp>
        <p:nvSpPr>
          <p:cNvPr id="17" name="Trapezoid 40"/>
          <p:cNvSpPr/>
          <p:nvPr/>
        </p:nvSpPr>
        <p:spPr bwMode="auto">
          <a:xfrm>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graphicFrame>
        <p:nvGraphicFramePr>
          <p:cNvPr id="20"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21" name="Rectangle 20"/>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Tree>
    <p:extLst>
      <p:ext uri="{BB962C8B-B14F-4D97-AF65-F5344CB8AC3E}">
        <p14:creationId xmlns:p14="http://schemas.microsoft.com/office/powerpoint/2010/main" val="364666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857876" y="1359766"/>
            <a:ext cx="9141619" cy="553387"/>
          </a:xfrm>
        </p:spPr>
        <p:txBody>
          <a:bodyPr>
            <a:noAutofit/>
          </a:bodyPr>
          <a:lstStyle/>
          <a:p>
            <a:r>
              <a:rPr lang="fr-FR" sz="2400" dirty="0"/>
              <a:t>AMDEC</a:t>
            </a:r>
          </a:p>
        </p:txBody>
      </p:sp>
      <p:sp>
        <p:nvSpPr>
          <p:cNvPr id="9" name="ZoneTexte 8"/>
          <p:cNvSpPr txBox="1"/>
          <p:nvPr/>
        </p:nvSpPr>
        <p:spPr>
          <a:xfrm>
            <a:off x="11423363" y="4734202"/>
            <a:ext cx="610849" cy="457203"/>
          </a:xfrm>
          <a:prstGeom prst="rect">
            <a:avLst/>
          </a:prstGeom>
          <a:noFill/>
        </p:spPr>
        <p:txBody>
          <a:bodyPr wrap="square" rtlCol="0">
            <a:spAutoFit/>
          </a:bodyPr>
          <a:lstStyle/>
          <a:p>
            <a:r>
              <a:rPr lang="fr-FR" dirty="0">
                <a:latin typeface="Algerian" panose="04020705040A02060702" pitchFamily="82" charset="0"/>
              </a:rPr>
              <a:t>1</a:t>
            </a:r>
          </a:p>
        </p:txBody>
      </p:sp>
      <p:sp>
        <p:nvSpPr>
          <p:cNvPr id="15" name="ZoneTexte 14"/>
          <p:cNvSpPr txBox="1"/>
          <p:nvPr/>
        </p:nvSpPr>
        <p:spPr>
          <a:xfrm>
            <a:off x="11423363" y="4053406"/>
            <a:ext cx="610849" cy="400110"/>
          </a:xfrm>
          <a:prstGeom prst="rect">
            <a:avLst/>
          </a:prstGeom>
          <a:noFill/>
        </p:spPr>
        <p:txBody>
          <a:bodyPr wrap="square" rtlCol="0">
            <a:spAutoFit/>
          </a:bodyPr>
          <a:lstStyle/>
          <a:p>
            <a:r>
              <a:rPr lang="fr-FR" sz="2000" dirty="0">
                <a:latin typeface="Algerian" panose="04020705040A02060702" pitchFamily="82" charset="0"/>
              </a:rPr>
              <a:t>2</a:t>
            </a:r>
          </a:p>
        </p:txBody>
      </p:sp>
      <p:sp>
        <p:nvSpPr>
          <p:cNvPr id="18" name="ZoneTexte 17"/>
          <p:cNvSpPr txBox="1"/>
          <p:nvPr/>
        </p:nvSpPr>
        <p:spPr>
          <a:xfrm>
            <a:off x="11473902" y="5224953"/>
            <a:ext cx="610849" cy="400110"/>
          </a:xfrm>
          <a:prstGeom prst="rect">
            <a:avLst/>
          </a:prstGeom>
          <a:noFill/>
        </p:spPr>
        <p:txBody>
          <a:bodyPr wrap="square" rtlCol="0">
            <a:spAutoFit/>
          </a:bodyPr>
          <a:lstStyle/>
          <a:p>
            <a:r>
              <a:rPr lang="fr-FR" sz="2000" dirty="0">
                <a:latin typeface="Algerian" panose="04020705040A02060702" pitchFamily="82" charset="0"/>
              </a:rPr>
              <a:t>3</a:t>
            </a:r>
          </a:p>
        </p:txBody>
      </p:sp>
      <p:pic>
        <p:nvPicPr>
          <p:cNvPr id="20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268" t="22541" r="26538" b="10793"/>
          <a:stretch/>
        </p:blipFill>
        <p:spPr bwMode="auto">
          <a:xfrm>
            <a:off x="2620807" y="1714908"/>
            <a:ext cx="8497756" cy="5077106"/>
          </a:xfrm>
          <a:prstGeom prst="rect">
            <a:avLst/>
          </a:prstGeom>
          <a:ln>
            <a:noFill/>
          </a:ln>
          <a:effectLst>
            <a:outerShdw blurRad="292100" dist="139700" dir="2700000" algn="tl" rotWithShape="0">
              <a:srgbClr val="333333">
                <a:alpha val="65000"/>
              </a:srgb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14" name="Flèche droite 13"/>
          <p:cNvSpPr/>
          <p:nvPr/>
        </p:nvSpPr>
        <p:spPr>
          <a:xfrm rot="10800000">
            <a:off x="10813763" y="4886603"/>
            <a:ext cx="609600" cy="152402"/>
          </a:xfrm>
          <a:prstGeom prst="rightArrow">
            <a:avLst/>
          </a:prstGeom>
          <a:solidFill>
            <a:schemeClr val="tx2">
              <a:lumMod val="7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lèche droite 16"/>
          <p:cNvSpPr/>
          <p:nvPr/>
        </p:nvSpPr>
        <p:spPr>
          <a:xfrm rot="10800000">
            <a:off x="10840906" y="4205807"/>
            <a:ext cx="609600" cy="152402"/>
          </a:xfrm>
          <a:prstGeom prst="rightArrow">
            <a:avLst/>
          </a:prstGeom>
          <a:solidFill>
            <a:schemeClr val="tx2">
              <a:lumMod val="7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Flèche droite 18"/>
          <p:cNvSpPr/>
          <p:nvPr/>
        </p:nvSpPr>
        <p:spPr>
          <a:xfrm rot="10800000">
            <a:off x="10813763" y="5335067"/>
            <a:ext cx="609600" cy="152402"/>
          </a:xfrm>
          <a:prstGeom prst="rightArrow">
            <a:avLst/>
          </a:prstGeom>
          <a:solidFill>
            <a:schemeClr val="tx2">
              <a:lumMod val="7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3" name="Espace réservé du numéro de diapositive 2"/>
          <p:cNvSpPr>
            <a:spLocks noGrp="1"/>
          </p:cNvSpPr>
          <p:nvPr>
            <p:ph type="sldNum" sz="quarter" idx="12"/>
          </p:nvPr>
        </p:nvSpPr>
        <p:spPr/>
        <p:txBody>
          <a:bodyPr/>
          <a:lstStyle/>
          <a:p>
            <a:fld id="{C9F2E319-0919-499D-AD1F-7963255D1003}" type="slidenum">
              <a:rPr lang="id-ID" smtClean="0"/>
              <a:t>27</a:t>
            </a:fld>
            <a:endParaRPr lang="id-ID"/>
          </a:p>
        </p:txBody>
      </p:sp>
      <p:sp>
        <p:nvSpPr>
          <p:cNvPr id="21" name="Trapezoid 40"/>
          <p:cNvSpPr/>
          <p:nvPr/>
        </p:nvSpPr>
        <p:spPr bwMode="auto">
          <a:xfrm>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22" name="ZoneTexte 21"/>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graphicFrame>
        <p:nvGraphicFramePr>
          <p:cNvPr id="25"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6" name="Rectangle 2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7" name="Rectangle 26"/>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66447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7"/>
                                        </p:tgtEl>
                                        <p:attrNameLst>
                                          <p:attrName>style.color</p:attrName>
                                        </p:attrNameLst>
                                      </p:cBhvr>
                                      <p:by>
                                        <p:hsl h="0" s="-12549" l="-25098"/>
                                      </p:by>
                                    </p:animClr>
                                    <p:animClr clrSpc="hsl" dir="cw">
                                      <p:cBhvr>
                                        <p:cTn id="7" dur="500" fill="hold"/>
                                        <p:tgtEl>
                                          <p:spTgt spid="27"/>
                                        </p:tgtEl>
                                        <p:attrNameLst>
                                          <p:attrName>fillcolor</p:attrName>
                                        </p:attrNameLst>
                                      </p:cBhvr>
                                      <p:by>
                                        <p:hsl h="0" s="-12549" l="-25098"/>
                                      </p:by>
                                    </p:animClr>
                                    <p:animClr clrSpc="hsl" dir="cw">
                                      <p:cBhvr>
                                        <p:cTn id="8" dur="500" fill="hold"/>
                                        <p:tgtEl>
                                          <p:spTgt spid="27"/>
                                        </p:tgtEl>
                                        <p:attrNameLst>
                                          <p:attrName>stroke.color</p:attrName>
                                        </p:attrNameLst>
                                      </p:cBhvr>
                                      <p:by>
                                        <p:hsl h="0" s="-12549" l="-25098"/>
                                      </p:by>
                                    </p:animClr>
                                    <p:set>
                                      <p:cBhvr>
                                        <p:cTn id="9" dur="500" fill="hold"/>
                                        <p:tgtEl>
                                          <p:spTgt spid="2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extLst>
              <p:ext uri="{D42A27DB-BD31-4B8C-83A1-F6EECF244321}">
                <p14:modId xmlns:p14="http://schemas.microsoft.com/office/powerpoint/2010/main" val="2965661002"/>
              </p:ext>
            </p:extLst>
          </p:nvPr>
        </p:nvGraphicFramePr>
        <p:xfrm>
          <a:off x="2589212" y="2342579"/>
          <a:ext cx="3661111" cy="1927519"/>
        </p:xfrm>
        <a:graphic>
          <a:graphicData uri="http://schemas.openxmlformats.org/drawingml/2006/table">
            <a:tbl>
              <a:tblPr firstRow="1" firstCol="1" bandRow="1">
                <a:tableStyleId>{6E25E649-3F16-4E02-A733-19D2CDBF48F0}</a:tableStyleId>
              </a:tblPr>
              <a:tblGrid>
                <a:gridCol w="1268648">
                  <a:extLst>
                    <a:ext uri="{9D8B030D-6E8A-4147-A177-3AD203B41FA5}">
                      <a16:colId xmlns:a16="http://schemas.microsoft.com/office/drawing/2014/main" val="20000"/>
                    </a:ext>
                  </a:extLst>
                </a:gridCol>
                <a:gridCol w="1044961">
                  <a:extLst>
                    <a:ext uri="{9D8B030D-6E8A-4147-A177-3AD203B41FA5}">
                      <a16:colId xmlns:a16="http://schemas.microsoft.com/office/drawing/2014/main" val="20001"/>
                    </a:ext>
                  </a:extLst>
                </a:gridCol>
                <a:gridCol w="673751">
                  <a:extLst>
                    <a:ext uri="{9D8B030D-6E8A-4147-A177-3AD203B41FA5}">
                      <a16:colId xmlns:a16="http://schemas.microsoft.com/office/drawing/2014/main" val="20002"/>
                    </a:ext>
                  </a:extLst>
                </a:gridCol>
                <a:gridCol w="673751">
                  <a:extLst>
                    <a:ext uri="{9D8B030D-6E8A-4147-A177-3AD203B41FA5}">
                      <a16:colId xmlns:a16="http://schemas.microsoft.com/office/drawing/2014/main" val="20003"/>
                    </a:ext>
                  </a:extLst>
                </a:gridCol>
              </a:tblGrid>
              <a:tr h="379556">
                <a:tc>
                  <a:txBody>
                    <a:bodyPr/>
                    <a:lstStyle/>
                    <a:p>
                      <a:pPr algn="l">
                        <a:lnSpc>
                          <a:spcPct val="115000"/>
                        </a:lnSpc>
                      </a:pPr>
                      <a:endParaRPr lang="fr-FR" sz="1100" dirty="0">
                        <a:effectLst/>
                        <a:latin typeface="Calibri"/>
                        <a:cs typeface="Arial"/>
                      </a:endParaRPr>
                    </a:p>
                  </a:txBody>
                  <a:tcPr marL="44450" marR="44450" marT="0" marB="0" anchor="ctr"/>
                </a:tc>
                <a:tc>
                  <a:txBody>
                    <a:bodyPr/>
                    <a:lstStyle/>
                    <a:p>
                      <a:pPr algn="l">
                        <a:lnSpc>
                          <a:spcPct val="115000"/>
                        </a:lnSpc>
                      </a:pPr>
                      <a:endParaRPr lang="fr-FR" sz="1100">
                        <a:effectLst/>
                        <a:latin typeface="Calibri"/>
                        <a:cs typeface="Arial"/>
                      </a:endParaRPr>
                    </a:p>
                  </a:txBody>
                  <a:tcPr marL="44450" marR="44450" marT="0" marB="0" anchor="ctr"/>
                </a:tc>
                <a:tc>
                  <a:txBody>
                    <a:bodyPr/>
                    <a:lstStyle/>
                    <a:p>
                      <a:pPr algn="ctr">
                        <a:lnSpc>
                          <a:spcPct val="115000"/>
                        </a:lnSpc>
                        <a:spcAft>
                          <a:spcPts val="0"/>
                        </a:spcAft>
                      </a:pPr>
                      <a:r>
                        <a:rPr lang="fr-FR" sz="1100">
                          <a:effectLst/>
                        </a:rPr>
                        <a:t>&lt;48h</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gt;48h</a:t>
                      </a:r>
                      <a:endParaRPr lang="fr-FR" sz="1100" dirty="0">
                        <a:effectLst/>
                        <a:latin typeface="Calibri"/>
                        <a:ea typeface="Calibri"/>
                        <a:cs typeface="Arial"/>
                      </a:endParaRPr>
                    </a:p>
                  </a:txBody>
                  <a:tcPr marL="44450" marR="44450" marT="0" marB="0" anchor="ctr"/>
                </a:tc>
                <a:extLst>
                  <a:ext uri="{0D108BD9-81ED-4DB2-BD59-A6C34878D82A}">
                    <a16:rowId xmlns:a16="http://schemas.microsoft.com/office/drawing/2014/main" val="10000"/>
                  </a:ext>
                </a:extLst>
              </a:tr>
              <a:tr h="409295">
                <a:tc>
                  <a:txBody>
                    <a:bodyPr/>
                    <a:lstStyle/>
                    <a:p>
                      <a:pPr algn="ctr">
                        <a:lnSpc>
                          <a:spcPct val="115000"/>
                        </a:lnSpc>
                        <a:spcAft>
                          <a:spcPts val="0"/>
                        </a:spcAft>
                      </a:pPr>
                      <a:r>
                        <a:rPr lang="fr-FR" sz="1100" dirty="0">
                          <a:effectLst/>
                        </a:rPr>
                        <a:t>année</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a:effectLst/>
                        </a:rPr>
                        <a:t>Nbre de réclamations</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a:effectLst/>
                        </a:rPr>
                        <a:t>bon</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a:effectLst/>
                        </a:rPr>
                        <a:t>mauvais</a:t>
                      </a:r>
                      <a:endParaRPr lang="fr-FR" sz="1100">
                        <a:effectLst/>
                        <a:latin typeface="Calibri"/>
                        <a:ea typeface="Calibri"/>
                        <a:cs typeface="Arial"/>
                      </a:endParaRPr>
                    </a:p>
                  </a:txBody>
                  <a:tcPr marL="44450" marR="44450" marT="0" marB="0" anchor="ctr"/>
                </a:tc>
                <a:extLst>
                  <a:ext uri="{0D108BD9-81ED-4DB2-BD59-A6C34878D82A}">
                    <a16:rowId xmlns:a16="http://schemas.microsoft.com/office/drawing/2014/main" val="10001"/>
                  </a:ext>
                </a:extLst>
              </a:tr>
              <a:tr h="379556">
                <a:tc>
                  <a:txBody>
                    <a:bodyPr/>
                    <a:lstStyle/>
                    <a:p>
                      <a:pPr algn="ctr">
                        <a:lnSpc>
                          <a:spcPct val="115000"/>
                        </a:lnSpc>
                        <a:spcAft>
                          <a:spcPts val="0"/>
                        </a:spcAft>
                      </a:pPr>
                      <a:r>
                        <a:rPr lang="fr-FR" sz="1100">
                          <a:effectLst/>
                        </a:rPr>
                        <a:t>2016</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43</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a:effectLst/>
                        </a:rPr>
                        <a:t>26</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a:effectLst/>
                        </a:rPr>
                        <a:t>17</a:t>
                      </a:r>
                      <a:endParaRPr lang="fr-FR" sz="1100">
                        <a:effectLst/>
                        <a:latin typeface="Calibri"/>
                        <a:ea typeface="Calibri"/>
                        <a:cs typeface="Arial"/>
                      </a:endParaRPr>
                    </a:p>
                  </a:txBody>
                  <a:tcPr marL="44450" marR="44450" marT="0" marB="0" anchor="ctr"/>
                </a:tc>
                <a:extLst>
                  <a:ext uri="{0D108BD9-81ED-4DB2-BD59-A6C34878D82A}">
                    <a16:rowId xmlns:a16="http://schemas.microsoft.com/office/drawing/2014/main" val="10002"/>
                  </a:ext>
                </a:extLst>
              </a:tr>
              <a:tr h="379556">
                <a:tc>
                  <a:txBody>
                    <a:bodyPr/>
                    <a:lstStyle/>
                    <a:p>
                      <a:pPr algn="ctr">
                        <a:lnSpc>
                          <a:spcPct val="115000"/>
                        </a:lnSpc>
                        <a:spcAft>
                          <a:spcPts val="0"/>
                        </a:spcAft>
                      </a:pPr>
                      <a:r>
                        <a:rPr lang="fr-FR" sz="1100">
                          <a:effectLst/>
                        </a:rPr>
                        <a:t>2017</a:t>
                      </a:r>
                      <a:endParaRPr lang="fr-FR" sz="110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51</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23</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29</a:t>
                      </a:r>
                      <a:endParaRPr lang="fr-FR" sz="1100" dirty="0">
                        <a:effectLst/>
                        <a:latin typeface="Calibri"/>
                        <a:ea typeface="Calibri"/>
                        <a:cs typeface="Arial"/>
                      </a:endParaRPr>
                    </a:p>
                  </a:txBody>
                  <a:tcPr marL="44450" marR="44450" marT="0" marB="0" anchor="ctr"/>
                </a:tc>
                <a:extLst>
                  <a:ext uri="{0D108BD9-81ED-4DB2-BD59-A6C34878D82A}">
                    <a16:rowId xmlns:a16="http://schemas.microsoft.com/office/drawing/2014/main" val="10003"/>
                  </a:ext>
                </a:extLst>
              </a:tr>
              <a:tr h="379556">
                <a:tc>
                  <a:txBody>
                    <a:bodyPr/>
                    <a:lstStyle/>
                    <a:p>
                      <a:pPr algn="ctr">
                        <a:lnSpc>
                          <a:spcPct val="115000"/>
                        </a:lnSpc>
                        <a:spcAft>
                          <a:spcPts val="0"/>
                        </a:spcAft>
                      </a:pPr>
                      <a:r>
                        <a:rPr lang="fr-FR" sz="1100" dirty="0">
                          <a:effectLst/>
                        </a:rPr>
                        <a:t>2018</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21</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14</a:t>
                      </a:r>
                      <a:endParaRPr lang="fr-FR" sz="1100" dirty="0">
                        <a:effectLst/>
                        <a:latin typeface="Calibri"/>
                        <a:ea typeface="Calibri"/>
                        <a:cs typeface="Arial"/>
                      </a:endParaRPr>
                    </a:p>
                  </a:txBody>
                  <a:tcPr marL="44450" marR="44450" marT="0" marB="0" anchor="ctr"/>
                </a:tc>
                <a:tc>
                  <a:txBody>
                    <a:bodyPr/>
                    <a:lstStyle/>
                    <a:p>
                      <a:pPr algn="ctr">
                        <a:lnSpc>
                          <a:spcPct val="115000"/>
                        </a:lnSpc>
                        <a:spcAft>
                          <a:spcPts val="0"/>
                        </a:spcAft>
                      </a:pPr>
                      <a:r>
                        <a:rPr lang="fr-FR" sz="1100" dirty="0">
                          <a:effectLst/>
                        </a:rPr>
                        <a:t>7</a:t>
                      </a:r>
                      <a:endParaRPr lang="fr-FR" sz="1100" dirty="0">
                        <a:effectLst/>
                        <a:latin typeface="Calibri"/>
                        <a:ea typeface="Calibri"/>
                        <a:cs typeface="Arial"/>
                      </a:endParaRPr>
                    </a:p>
                  </a:txBody>
                  <a:tcPr marL="44450" marR="44450" marT="0" marB="0" anchor="ctr"/>
                </a:tc>
                <a:extLst>
                  <a:ext uri="{0D108BD9-81ED-4DB2-BD59-A6C34878D82A}">
                    <a16:rowId xmlns:a16="http://schemas.microsoft.com/office/drawing/2014/main" val="10004"/>
                  </a:ext>
                </a:extLst>
              </a:tr>
            </a:tbl>
          </a:graphicData>
        </a:graphic>
      </p:graphicFrame>
      <p:graphicFrame>
        <p:nvGraphicFramePr>
          <p:cNvPr id="6" name="Espace réservé du contenu 5">
            <a:extLst>
              <a:ext uri="{FF2B5EF4-FFF2-40B4-BE49-F238E27FC236}">
                <a16:creationId xmlns:a16="http://schemas.microsoft.com/office/drawing/2014/main" id="{F3B9FE51-8EB4-48C0-AFB8-5BE774140619}"/>
              </a:ext>
            </a:extLst>
          </p:cNvPr>
          <p:cNvGraphicFramePr>
            <a:graphicFrameLocks noGrp="1"/>
          </p:cNvGraphicFramePr>
          <p:nvPr>
            <p:ph idx="1"/>
            <p:extLst>
              <p:ext uri="{D42A27DB-BD31-4B8C-83A1-F6EECF244321}">
                <p14:modId xmlns:p14="http://schemas.microsoft.com/office/powerpoint/2010/main" val="3284723928"/>
              </p:ext>
            </p:extLst>
          </p:nvPr>
        </p:nvGraphicFramePr>
        <p:xfrm>
          <a:off x="6475412" y="2286001"/>
          <a:ext cx="5029200" cy="411480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10" name="Espace réservé du numéro de diapositive 9"/>
          <p:cNvSpPr>
            <a:spLocks noGrp="1"/>
          </p:cNvSpPr>
          <p:nvPr>
            <p:ph type="sldNum" sz="quarter" idx="12"/>
          </p:nvPr>
        </p:nvSpPr>
        <p:spPr/>
        <p:txBody>
          <a:bodyPr/>
          <a:lstStyle/>
          <a:p>
            <a:fld id="{C2F52289-4012-4053-9770-FE82CEB9514F}" type="slidenum">
              <a:rPr lang="en-US" smtClean="0"/>
              <a:pPr/>
              <a:t>28</a:t>
            </a:fld>
            <a:endParaRPr lang="en-US"/>
          </a:p>
        </p:txBody>
      </p:sp>
      <p:sp>
        <p:nvSpPr>
          <p:cNvPr id="11" name="Trapezoid 40"/>
          <p:cNvSpPr/>
          <p:nvPr/>
        </p:nvSpPr>
        <p:spPr bwMode="auto">
          <a:xfrm>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graphicFrame>
        <p:nvGraphicFramePr>
          <p:cNvPr id="15"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Rectangle 1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7" name="Rectangle 16"/>
          <p:cNvSpPr/>
          <p:nvPr/>
        </p:nvSpPr>
        <p:spPr>
          <a:xfrm>
            <a:off x="6475412" y="76200"/>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059569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954066" y="941931"/>
            <a:ext cx="5334000" cy="1163637"/>
          </a:xfrm>
        </p:spPr>
        <p:txBody>
          <a:bodyPr>
            <a:normAutofit/>
          </a:bodyPr>
          <a:lstStyle/>
          <a:p>
            <a:r>
              <a:rPr lang="fr-FR" sz="2800" dirty="0"/>
              <a:t>Cout de la rupture</a:t>
            </a:r>
          </a:p>
        </p:txBody>
      </p:sp>
      <p:pic>
        <p:nvPicPr>
          <p:cNvPr id="6" name="Picture 42" descr="dmaic logobackground_transparant"/>
          <p:cNvPicPr>
            <a:picLocks noChangeAspect="1" noChangeArrowheads="1"/>
          </p:cNvPicPr>
          <p:nvPr/>
        </p:nvPicPr>
        <p:blipFill>
          <a:blip r:embed="rId3" cstate="print"/>
          <a:srcRect/>
          <a:stretch>
            <a:fillRect/>
          </a:stretch>
        </p:blipFill>
        <p:spPr bwMode="auto">
          <a:xfrm>
            <a:off x="75314" y="2557938"/>
            <a:ext cx="2360457" cy="2708193"/>
          </a:xfrm>
          <a:prstGeom prst="rect">
            <a:avLst/>
          </a:prstGeom>
          <a:noFill/>
          <a:ln w="9525">
            <a:noFill/>
            <a:miter lim="800000"/>
            <a:headEnd/>
            <a:tailEnd/>
          </a:ln>
        </p:spPr>
      </p:pic>
      <p:sp>
        <p:nvSpPr>
          <p:cNvPr id="9" name="Espace réservé du numéro de diapositive 8"/>
          <p:cNvSpPr>
            <a:spLocks noGrp="1"/>
          </p:cNvSpPr>
          <p:nvPr>
            <p:ph type="sldNum" sz="quarter" idx="12"/>
          </p:nvPr>
        </p:nvSpPr>
        <p:spPr/>
        <p:txBody>
          <a:bodyPr/>
          <a:lstStyle/>
          <a:p>
            <a:fld id="{C9F2E319-0919-499D-AD1F-7963255D1003}" type="slidenum">
              <a:rPr lang="id-ID" smtClean="0"/>
              <a:t>29</a:t>
            </a:fld>
            <a:endParaRPr lang="id-ID"/>
          </a:p>
        </p:txBody>
      </p:sp>
      <p:sp>
        <p:nvSpPr>
          <p:cNvPr id="11" name="Rectangle 10"/>
          <p:cNvSpPr/>
          <p:nvPr/>
        </p:nvSpPr>
        <p:spPr>
          <a:xfrm>
            <a:off x="3275012" y="1239324"/>
            <a:ext cx="1578939" cy="1318614"/>
          </a:xfrm>
          <a:prstGeom prst="rect">
            <a:avLst/>
          </a:prstGeom>
          <a:blipFill dpi="0" rotWithShape="1">
            <a:blip r:embed="rId4" cstate="print">
              <a:extLst>
                <a:ext uri="{28A0092B-C50C-407E-A947-70E740481C1C}">
                  <a14:useLocalDpi xmlns:a14="http://schemas.microsoft.com/office/drawing/2010/main" val="0"/>
                </a:ext>
              </a:extLst>
            </a:blip>
            <a:srcRect/>
            <a:stretch>
              <a:fillRect l="-145205" t="2835" r="24706" b="-16553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Sous-titre 11"/>
          <p:cNvSpPr>
            <a:spLocks noGrp="1"/>
          </p:cNvSpPr>
          <p:nvPr>
            <p:ph type="subTitle" idx="1"/>
          </p:nvPr>
        </p:nvSpPr>
        <p:spPr>
          <a:xfrm>
            <a:off x="4623763" y="1721907"/>
            <a:ext cx="7085410" cy="4953000"/>
          </a:xfrm>
        </p:spPr>
        <p:txBody>
          <a:bodyPr>
            <a:normAutofit fontScale="92500"/>
          </a:bodyPr>
          <a:lstStyle/>
          <a:p>
            <a:r>
              <a:rPr lang="fr-FR" dirty="0"/>
              <a:t>La ligne Optima a  une capacité de production de 55 pièces / min ce qui est équivalent à  3 300 pièces/heures, </a:t>
            </a:r>
          </a:p>
          <a:p>
            <a:r>
              <a:rPr lang="fr-FR" dirty="0"/>
              <a:t>Et le dernier arrêt de production causé par  de la confirmation de « </a:t>
            </a:r>
            <a:r>
              <a:rPr lang="fr-FR" dirty="0" err="1"/>
              <a:t>Vendor</a:t>
            </a:r>
            <a:r>
              <a:rPr lang="fr-FR" dirty="0"/>
              <a:t> site » a durée 3heures après ils ont changé  le planning de production de 26g à 60g,</a:t>
            </a:r>
          </a:p>
          <a:p>
            <a:r>
              <a:rPr lang="fr-FR" dirty="0"/>
              <a:t>Le prix de vente de ce produit est de :   </a:t>
            </a:r>
          </a:p>
          <a:p>
            <a:r>
              <a:rPr lang="fr-FR" dirty="0"/>
              <a:t>Donc : 3300*3*6   =  59 400 </a:t>
            </a:r>
            <a:r>
              <a:rPr lang="fr-FR" dirty="0" err="1"/>
              <a:t>Dh</a:t>
            </a:r>
            <a:r>
              <a:rPr lang="fr-FR" dirty="0"/>
              <a:t> </a:t>
            </a:r>
          </a:p>
          <a:p>
            <a:r>
              <a:rPr lang="fr-FR" dirty="0"/>
              <a:t>                              + Temps de changement de taille de 45 min (14 850) </a:t>
            </a:r>
          </a:p>
          <a:p>
            <a:r>
              <a:rPr lang="fr-FR" dirty="0"/>
              <a:t>                            = 74 250 </a:t>
            </a:r>
            <a:r>
              <a:rPr lang="fr-FR" dirty="0" err="1"/>
              <a:t>Dh</a:t>
            </a:r>
            <a:r>
              <a:rPr lang="fr-FR" dirty="0"/>
              <a:t>.   </a:t>
            </a:r>
          </a:p>
          <a:p>
            <a:r>
              <a:rPr lang="fr-FR" dirty="0"/>
              <a:t>Et c’est un manque à gagner si le responsable de magasin à saisi le </a:t>
            </a:r>
            <a:r>
              <a:rPr lang="fr-FR" dirty="0" err="1"/>
              <a:t>Vendor</a:t>
            </a:r>
            <a:r>
              <a:rPr lang="fr-FR" dirty="0"/>
              <a:t> site correctement.  </a:t>
            </a:r>
          </a:p>
          <a:p>
            <a:endParaRPr lang="fr-FR" dirty="0"/>
          </a:p>
        </p:txBody>
      </p:sp>
      <p:sp>
        <p:nvSpPr>
          <p:cNvPr id="14" name="Trapezoid 40"/>
          <p:cNvSpPr/>
          <p:nvPr/>
        </p:nvSpPr>
        <p:spPr bwMode="auto">
          <a:xfrm>
            <a:off x="275813" y="4320464"/>
            <a:ext cx="1984715" cy="1065668"/>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5" name="ZoneTexte 14"/>
          <p:cNvSpPr txBox="1"/>
          <p:nvPr/>
        </p:nvSpPr>
        <p:spPr>
          <a:xfrm>
            <a:off x="1007213" y="4446150"/>
            <a:ext cx="705721" cy="584775"/>
          </a:xfrm>
          <a:prstGeom prst="rect">
            <a:avLst/>
          </a:prstGeom>
          <a:noFill/>
        </p:spPr>
        <p:txBody>
          <a:bodyPr wrap="square" rtlCol="0">
            <a:spAutoFit/>
          </a:bodyPr>
          <a:lstStyle/>
          <a:p>
            <a:r>
              <a:rPr lang="fr-FR" sz="3200" b="1" dirty="0">
                <a:solidFill>
                  <a:srgbClr val="FF0000"/>
                </a:solidFill>
              </a:rPr>
              <a:t>A</a:t>
            </a:r>
          </a:p>
        </p:txBody>
      </p:sp>
      <p:graphicFrame>
        <p:nvGraphicFramePr>
          <p:cNvPr id="17"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8" name="Rectangle 17"/>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9" name="Rectangle 18"/>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5863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e 9"/>
          <p:cNvGrpSpPr/>
          <p:nvPr/>
        </p:nvGrpSpPr>
        <p:grpSpPr>
          <a:xfrm>
            <a:off x="2472926" y="1445876"/>
            <a:ext cx="7242974" cy="4829908"/>
            <a:chOff x="4445390" y="1423398"/>
            <a:chExt cx="7244861" cy="4829908"/>
          </a:xfrm>
        </p:grpSpPr>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4895" t="49232" r="5605" b="4820"/>
            <a:stretch/>
          </p:blipFill>
          <p:spPr>
            <a:xfrm>
              <a:off x="4445390" y="1423398"/>
              <a:ext cx="7244861" cy="4829908"/>
            </a:xfrm>
            <a:prstGeom prst="rect">
              <a:avLst/>
            </a:prstGeom>
          </p:spPr>
        </p:pic>
        <p:sp>
          <p:nvSpPr>
            <p:cNvPr id="9" name="ZoneTexte 8"/>
            <p:cNvSpPr txBox="1"/>
            <p:nvPr/>
          </p:nvSpPr>
          <p:spPr>
            <a:xfrm>
              <a:off x="4995080" y="2502827"/>
              <a:ext cx="2462981" cy="369332"/>
            </a:xfrm>
            <a:prstGeom prst="rect">
              <a:avLst/>
            </a:prstGeom>
            <a:noFill/>
          </p:spPr>
          <p:txBody>
            <a:bodyPr wrap="square" rtlCol="0">
              <a:spAutoFit/>
            </a:bodyPr>
            <a:lstStyle/>
            <a:p>
              <a:r>
                <a:rPr lang="fr-FR" sz="1800" b="1" dirty="0">
                  <a:solidFill>
                    <a:schemeClr val="bg1"/>
                  </a:solidFill>
                </a:rPr>
                <a:t>Date de création</a:t>
              </a:r>
            </a:p>
          </p:txBody>
        </p:sp>
        <p:sp>
          <p:nvSpPr>
            <p:cNvPr id="18" name="ZoneTexte 17"/>
            <p:cNvSpPr txBox="1"/>
            <p:nvPr/>
          </p:nvSpPr>
          <p:spPr>
            <a:xfrm>
              <a:off x="4577307" y="3190517"/>
              <a:ext cx="2691640" cy="400110"/>
            </a:xfrm>
            <a:prstGeom prst="rect">
              <a:avLst/>
            </a:prstGeom>
            <a:noFill/>
          </p:spPr>
          <p:txBody>
            <a:bodyPr wrap="square" rtlCol="0">
              <a:spAutoFit/>
            </a:bodyPr>
            <a:lstStyle/>
            <a:p>
              <a:pPr algn="ctr"/>
              <a:r>
                <a:rPr lang="fr-FR" sz="2000" b="1" dirty="0">
                  <a:solidFill>
                    <a:schemeClr val="bg1"/>
                  </a:solidFill>
                </a:rPr>
                <a:t>Origine</a:t>
              </a:r>
            </a:p>
          </p:txBody>
        </p:sp>
        <p:sp>
          <p:nvSpPr>
            <p:cNvPr id="19" name="ZoneTexte 18"/>
            <p:cNvSpPr txBox="1"/>
            <p:nvPr/>
          </p:nvSpPr>
          <p:spPr>
            <a:xfrm>
              <a:off x="4995080" y="3899349"/>
              <a:ext cx="1856096" cy="446276"/>
            </a:xfrm>
            <a:prstGeom prst="rect">
              <a:avLst/>
            </a:prstGeom>
            <a:noFill/>
          </p:spPr>
          <p:txBody>
            <a:bodyPr wrap="square" rtlCol="0">
              <a:spAutoFit/>
            </a:bodyPr>
            <a:lstStyle/>
            <a:p>
              <a:pPr algn="ctr"/>
              <a:r>
                <a:rPr lang="fr-FR" b="1" dirty="0">
                  <a:solidFill>
                    <a:schemeClr val="bg1"/>
                  </a:solidFill>
                </a:rPr>
                <a:t>Secteur</a:t>
              </a:r>
            </a:p>
          </p:txBody>
        </p:sp>
        <p:sp>
          <p:nvSpPr>
            <p:cNvPr id="20" name="ZoneTexte 19"/>
            <p:cNvSpPr txBox="1"/>
            <p:nvPr/>
          </p:nvSpPr>
          <p:spPr>
            <a:xfrm>
              <a:off x="4995080" y="4597610"/>
              <a:ext cx="1856096" cy="446276"/>
            </a:xfrm>
            <a:prstGeom prst="rect">
              <a:avLst/>
            </a:prstGeom>
            <a:noFill/>
          </p:spPr>
          <p:txBody>
            <a:bodyPr wrap="square" rtlCol="0">
              <a:spAutoFit/>
            </a:bodyPr>
            <a:lstStyle/>
            <a:p>
              <a:pPr algn="ctr"/>
              <a:r>
                <a:rPr lang="fr-FR" b="1" dirty="0">
                  <a:solidFill>
                    <a:schemeClr val="bg1"/>
                  </a:solidFill>
                </a:rPr>
                <a:t>Effectif</a:t>
              </a:r>
            </a:p>
          </p:txBody>
        </p:sp>
        <p:sp>
          <p:nvSpPr>
            <p:cNvPr id="21" name="ZoneTexte 20"/>
            <p:cNvSpPr txBox="1"/>
            <p:nvPr/>
          </p:nvSpPr>
          <p:spPr>
            <a:xfrm>
              <a:off x="6946086" y="2518216"/>
              <a:ext cx="4265771" cy="338554"/>
            </a:xfrm>
            <a:prstGeom prst="rect">
              <a:avLst/>
            </a:prstGeom>
            <a:noFill/>
          </p:spPr>
          <p:txBody>
            <a:bodyPr wrap="square" rtlCol="0">
              <a:spAutoFit/>
            </a:bodyPr>
            <a:lstStyle/>
            <a:p>
              <a:r>
                <a:rPr lang="fr-FR" sz="1600" dirty="0"/>
                <a:t>1992</a:t>
              </a:r>
            </a:p>
          </p:txBody>
        </p:sp>
        <p:sp>
          <p:nvSpPr>
            <p:cNvPr id="22" name="ZoneTexte 21"/>
            <p:cNvSpPr txBox="1"/>
            <p:nvPr/>
          </p:nvSpPr>
          <p:spPr>
            <a:xfrm>
              <a:off x="6946086" y="3213223"/>
              <a:ext cx="4266396" cy="338554"/>
            </a:xfrm>
            <a:prstGeom prst="rect">
              <a:avLst/>
            </a:prstGeom>
            <a:noFill/>
          </p:spPr>
          <p:txBody>
            <a:bodyPr wrap="square" rtlCol="0">
              <a:spAutoFit/>
            </a:bodyPr>
            <a:lstStyle/>
            <a:p>
              <a:r>
                <a:rPr lang="fr-FR" sz="1600" dirty="0"/>
                <a:t>Entreprise suisse</a:t>
              </a:r>
            </a:p>
          </p:txBody>
        </p:sp>
        <p:sp>
          <p:nvSpPr>
            <p:cNvPr id="23" name="ZoneTexte 22"/>
            <p:cNvSpPr txBox="1"/>
            <p:nvPr/>
          </p:nvSpPr>
          <p:spPr>
            <a:xfrm>
              <a:off x="6946711" y="3899108"/>
              <a:ext cx="4265771" cy="338554"/>
            </a:xfrm>
            <a:prstGeom prst="rect">
              <a:avLst/>
            </a:prstGeom>
            <a:noFill/>
          </p:spPr>
          <p:txBody>
            <a:bodyPr wrap="square" rtlCol="0">
              <a:spAutoFit/>
            </a:bodyPr>
            <a:lstStyle/>
            <a:p>
              <a:r>
                <a:rPr lang="fr-FR" sz="1600" dirty="0"/>
                <a:t>Industrie alimentaire </a:t>
              </a:r>
            </a:p>
          </p:txBody>
        </p:sp>
        <p:sp>
          <p:nvSpPr>
            <p:cNvPr id="24" name="ZoneTexte 23"/>
            <p:cNvSpPr txBox="1"/>
            <p:nvPr/>
          </p:nvSpPr>
          <p:spPr>
            <a:xfrm>
              <a:off x="6946086" y="4597610"/>
              <a:ext cx="4265771" cy="338554"/>
            </a:xfrm>
            <a:prstGeom prst="rect">
              <a:avLst/>
            </a:prstGeom>
            <a:noFill/>
          </p:spPr>
          <p:txBody>
            <a:bodyPr wrap="square" rtlCol="0">
              <a:spAutoFit/>
            </a:bodyPr>
            <a:lstStyle/>
            <a:p>
              <a:r>
                <a:rPr lang="fr-FR" sz="1600" dirty="0"/>
                <a:t>416 personnes  </a:t>
              </a:r>
            </a:p>
          </p:txBody>
        </p:sp>
      </p:grpSp>
      <p:sp>
        <p:nvSpPr>
          <p:cNvPr id="6" name="Arrondir un rectangle avec un coin diagonal 5"/>
          <p:cNvSpPr/>
          <p:nvPr/>
        </p:nvSpPr>
        <p:spPr>
          <a:xfrm>
            <a:off x="75039" y="1716833"/>
            <a:ext cx="1977162"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p:cNvSpPr/>
          <p:nvPr/>
        </p:nvSpPr>
        <p:spPr>
          <a:xfrm>
            <a:off x="1523603" y="0"/>
            <a:ext cx="9141619" cy="4046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46" name="Diagramme 54"/>
          <p:cNvGraphicFramePr/>
          <p:nvPr>
            <p:extLst>
              <p:ext uri="{D42A27DB-BD31-4B8C-83A1-F6EECF244321}">
                <p14:modId xmlns:p14="http://schemas.microsoft.com/office/powerpoint/2010/main" val="127231574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0" y="122830"/>
            <a:ext cx="2345736" cy="46402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p:cNvSpPr/>
          <p:nvPr/>
        </p:nvSpPr>
        <p:spPr>
          <a:xfrm>
            <a:off x="224500" y="1868627"/>
            <a:ext cx="1678238"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tructure d’accueil</a:t>
            </a:r>
          </a:p>
        </p:txBody>
      </p:sp>
      <p:sp>
        <p:nvSpPr>
          <p:cNvPr id="50" name="Rectangle 49"/>
          <p:cNvSpPr/>
          <p:nvPr/>
        </p:nvSpPr>
        <p:spPr>
          <a:xfrm>
            <a:off x="224500" y="3017265"/>
            <a:ext cx="1678238"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51" name="Rectangle 50"/>
          <p:cNvSpPr/>
          <p:nvPr/>
        </p:nvSpPr>
        <p:spPr>
          <a:xfrm>
            <a:off x="224500" y="4091117"/>
            <a:ext cx="1678238"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ervice Achat</a:t>
            </a:r>
          </a:p>
        </p:txBody>
      </p:sp>
      <p:sp>
        <p:nvSpPr>
          <p:cNvPr id="52" name="Rectangle 51"/>
          <p:cNvSpPr/>
          <p:nvPr/>
        </p:nvSpPr>
        <p:spPr>
          <a:xfrm>
            <a:off x="224500" y="5164969"/>
            <a:ext cx="1678238"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a:t>
            </a:r>
          </a:p>
        </p:txBody>
      </p:sp>
      <p:sp>
        <p:nvSpPr>
          <p:cNvPr id="55" name="Rectangle 54"/>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tructure d’accueil</a:t>
            </a:r>
          </a:p>
        </p:txBody>
      </p:sp>
      <p:sp>
        <p:nvSpPr>
          <p:cNvPr id="16" name="ZoneTexte 15"/>
          <p:cNvSpPr txBox="1"/>
          <p:nvPr/>
        </p:nvSpPr>
        <p:spPr>
          <a:xfrm>
            <a:off x="145794" y="1379296"/>
            <a:ext cx="3281617" cy="446276"/>
          </a:xfrm>
          <a:prstGeom prst="rect">
            <a:avLst/>
          </a:prstGeom>
          <a:noFill/>
        </p:spPr>
        <p:txBody>
          <a:bodyPr wrap="square" rtlCol="0">
            <a:spAutoFit/>
          </a:bodyPr>
          <a:lstStyle/>
          <a:p>
            <a:pPr marL="285750" indent="-285750">
              <a:buFont typeface="Wingdings" panose="05000000000000000000" pitchFamily="2" charset="2"/>
              <a:buChar char="§"/>
            </a:pPr>
            <a:r>
              <a:rPr lang="fr-FR" b="1" dirty="0">
                <a:solidFill>
                  <a:schemeClr val="tx1">
                    <a:lumMod val="75000"/>
                    <a:lumOff val="25000"/>
                  </a:schemeClr>
                </a:solidFill>
              </a:rPr>
              <a:t>Fiche d’identité</a:t>
            </a:r>
          </a:p>
        </p:txBody>
      </p:sp>
      <p:sp>
        <p:nvSpPr>
          <p:cNvPr id="3" name="Espace réservé du numéro de diapositive 2"/>
          <p:cNvSpPr>
            <a:spLocks noGrp="1"/>
          </p:cNvSpPr>
          <p:nvPr>
            <p:ph type="sldNum" sz="quarter" idx="12"/>
          </p:nvPr>
        </p:nvSpPr>
        <p:spPr/>
        <p:txBody>
          <a:bodyPr/>
          <a:lstStyle/>
          <a:p>
            <a:fld id="{4FAB73BC-B049-4115-A692-8D63A059BFB8}" type="slidenum">
              <a:rPr lang="en-US" smtClean="0"/>
              <a:pPr/>
              <a:t>3</a:t>
            </a:fld>
            <a:endParaRPr lang="en-US" dirty="0"/>
          </a:p>
        </p:txBody>
      </p:sp>
    </p:spTree>
    <p:extLst>
      <p:ext uri="{BB962C8B-B14F-4D97-AF65-F5344CB8AC3E}">
        <p14:creationId xmlns:p14="http://schemas.microsoft.com/office/powerpoint/2010/main" val="8617253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
                                        </p:tgtEl>
                                        <p:attrNameLst>
                                          <p:attrName>style.color</p:attrName>
                                        </p:attrNameLst>
                                      </p:cBhvr>
                                      <p:by>
                                        <p:hsl h="0" s="-12549" l="-25098"/>
                                      </p:by>
                                    </p:animClr>
                                    <p:animClr clrSpc="hsl" dir="cw">
                                      <p:cBhvr>
                                        <p:cTn id="7" dur="500" fill="hold"/>
                                        <p:tgtEl>
                                          <p:spTgt spid="2"/>
                                        </p:tgtEl>
                                        <p:attrNameLst>
                                          <p:attrName>fillcolor</p:attrName>
                                        </p:attrNameLst>
                                      </p:cBhvr>
                                      <p:by>
                                        <p:hsl h="0" s="-12549" l="-25098"/>
                                      </p:by>
                                    </p:animClr>
                                    <p:animClr clrSpc="hsl" dir="cw">
                                      <p:cBhvr>
                                        <p:cTn id="8" dur="500" fill="hold"/>
                                        <p:tgtEl>
                                          <p:spTgt spid="2"/>
                                        </p:tgtEl>
                                        <p:attrNameLst>
                                          <p:attrName>stroke.color</p:attrName>
                                        </p:attrNameLst>
                                      </p:cBhvr>
                                      <p:by>
                                        <p:hsl h="0" s="-12549" l="-25098"/>
                                      </p:by>
                                    </p:animClr>
                                    <p:set>
                                      <p:cBhvr>
                                        <p:cTn id="9" dur="500" fill="hold"/>
                                        <p:tgtEl>
                                          <p:spTgt spid="2"/>
                                        </p:tgtEl>
                                        <p:attrNameLst>
                                          <p:attrName>fill.type</p:attrName>
                                        </p:attrNameLst>
                                      </p:cBhvr>
                                      <p:to>
                                        <p:strVal val="solid"/>
                                      </p:to>
                                    </p:set>
                                  </p:childTnLst>
                                </p:cTn>
                              </p:par>
                              <p:par>
                                <p:cTn id="10" presetID="43" presetClass="path" presetSubtype="0" accel="50000" decel="50000" fill="hold" grpId="0" nodeType="withEffect">
                                  <p:stCondLst>
                                    <p:cond delay="0"/>
                                  </p:stCondLst>
                                  <p:childTnLst>
                                    <p:animMotion origin="layout" path="M 4.16667E-7 -0.00092 L 0.2043 -0.00092 C 0.29583 -0.00092 0.40872 -0.04444 0.40872 -0.07986 L 0.40872 -0.15856 " pathEditMode="fixed" rAng="0" ptsTypes="AAAA">
                                      <p:cBhvr>
                                        <p:cTn id="11" dur="1000" fill="hold"/>
                                        <p:tgtEl>
                                          <p:spTgt spid="5"/>
                                        </p:tgtEl>
                                        <p:attrNameLst>
                                          <p:attrName>ppt_x</p:attrName>
                                          <p:attrName>ppt_y</p:attrName>
                                        </p:attrNameLst>
                                      </p:cBhvr>
                                      <p:rCtr x="20430" y="-7894"/>
                                    </p:animMotion>
                                  </p:childTnLst>
                                </p:cTn>
                              </p:par>
                            </p:childTnLst>
                          </p:cTn>
                        </p:par>
                        <p:par>
                          <p:cTn id="12" fill="hold">
                            <p:stCondLst>
                              <p:cond delay="1000"/>
                            </p:stCondLst>
                            <p:childTnLst>
                              <p:par>
                                <p:cTn id="13" presetID="1" presetClass="exit" presetSubtype="0" fill="hold" grpId="1" nodeType="after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53" presetClass="exit" presetSubtype="32" fill="hold" grpId="0" nodeType="withEffect">
                                  <p:stCondLst>
                                    <p:cond delay="0"/>
                                  </p:stCondLst>
                                  <p:childTnLst>
                                    <p:anim calcmode="lin" valueType="num">
                                      <p:cBhvr>
                                        <p:cTn id="16" dur="500"/>
                                        <p:tgtEl>
                                          <p:spTgt spid="6"/>
                                        </p:tgtEl>
                                        <p:attrNameLst>
                                          <p:attrName>ppt_w</p:attrName>
                                        </p:attrNameLst>
                                      </p:cBhvr>
                                      <p:tavLst>
                                        <p:tav tm="0">
                                          <p:val>
                                            <p:strVal val="ppt_w"/>
                                          </p:val>
                                        </p:tav>
                                        <p:tav tm="100000">
                                          <p:val>
                                            <p:fltVal val="0"/>
                                          </p:val>
                                        </p:tav>
                                      </p:tavLst>
                                    </p:anim>
                                    <p:anim calcmode="lin" valueType="num">
                                      <p:cBhvr>
                                        <p:cTn id="17" dur="500"/>
                                        <p:tgtEl>
                                          <p:spTgt spid="6"/>
                                        </p:tgtEl>
                                        <p:attrNameLst>
                                          <p:attrName>ppt_h</p:attrName>
                                        </p:attrNameLst>
                                      </p:cBhvr>
                                      <p:tavLst>
                                        <p:tav tm="0">
                                          <p:val>
                                            <p:strVal val="ppt_h"/>
                                          </p:val>
                                        </p:tav>
                                        <p:tav tm="100000">
                                          <p:val>
                                            <p:fltVal val="0"/>
                                          </p:val>
                                        </p:tav>
                                      </p:tavLst>
                                    </p:anim>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par>
                                <p:cTn id="20" presetID="53" presetClass="exit" presetSubtype="32" fill="hold" grpId="0" nodeType="withEffect">
                                  <p:stCondLst>
                                    <p:cond delay="0"/>
                                  </p:stCondLst>
                                  <p:childTnLst>
                                    <p:anim calcmode="lin" valueType="num">
                                      <p:cBhvr>
                                        <p:cTn id="21" dur="500"/>
                                        <p:tgtEl>
                                          <p:spTgt spid="50"/>
                                        </p:tgtEl>
                                        <p:attrNameLst>
                                          <p:attrName>ppt_w</p:attrName>
                                        </p:attrNameLst>
                                      </p:cBhvr>
                                      <p:tavLst>
                                        <p:tav tm="0">
                                          <p:val>
                                            <p:strVal val="ppt_w"/>
                                          </p:val>
                                        </p:tav>
                                        <p:tav tm="100000">
                                          <p:val>
                                            <p:fltVal val="0"/>
                                          </p:val>
                                        </p:tav>
                                      </p:tavLst>
                                    </p:anim>
                                    <p:anim calcmode="lin" valueType="num">
                                      <p:cBhvr>
                                        <p:cTn id="22" dur="500"/>
                                        <p:tgtEl>
                                          <p:spTgt spid="50"/>
                                        </p:tgtEl>
                                        <p:attrNameLst>
                                          <p:attrName>ppt_h</p:attrName>
                                        </p:attrNameLst>
                                      </p:cBhvr>
                                      <p:tavLst>
                                        <p:tav tm="0">
                                          <p:val>
                                            <p:strVal val="ppt_h"/>
                                          </p:val>
                                        </p:tav>
                                        <p:tav tm="100000">
                                          <p:val>
                                            <p:fltVal val="0"/>
                                          </p:val>
                                        </p:tav>
                                      </p:tavLst>
                                    </p:anim>
                                    <p:animEffect transition="out" filter="fade">
                                      <p:cBhvr>
                                        <p:cTn id="23" dur="500"/>
                                        <p:tgtEl>
                                          <p:spTgt spid="50"/>
                                        </p:tgtEl>
                                      </p:cBhvr>
                                    </p:animEffect>
                                    <p:set>
                                      <p:cBhvr>
                                        <p:cTn id="24" dur="1" fill="hold">
                                          <p:stCondLst>
                                            <p:cond delay="499"/>
                                          </p:stCondLst>
                                        </p:cTn>
                                        <p:tgtEl>
                                          <p:spTgt spid="50"/>
                                        </p:tgtEl>
                                        <p:attrNameLst>
                                          <p:attrName>style.visibility</p:attrName>
                                        </p:attrNameLst>
                                      </p:cBhvr>
                                      <p:to>
                                        <p:strVal val="hidden"/>
                                      </p:to>
                                    </p:set>
                                  </p:childTnLst>
                                </p:cTn>
                              </p:par>
                              <p:par>
                                <p:cTn id="25" presetID="53" presetClass="exit" presetSubtype="32" fill="hold" grpId="0" nodeType="withEffect">
                                  <p:stCondLst>
                                    <p:cond delay="0"/>
                                  </p:stCondLst>
                                  <p:childTnLst>
                                    <p:anim calcmode="lin" valueType="num">
                                      <p:cBhvr>
                                        <p:cTn id="26" dur="500"/>
                                        <p:tgtEl>
                                          <p:spTgt spid="51"/>
                                        </p:tgtEl>
                                        <p:attrNameLst>
                                          <p:attrName>ppt_w</p:attrName>
                                        </p:attrNameLst>
                                      </p:cBhvr>
                                      <p:tavLst>
                                        <p:tav tm="0">
                                          <p:val>
                                            <p:strVal val="ppt_w"/>
                                          </p:val>
                                        </p:tav>
                                        <p:tav tm="100000">
                                          <p:val>
                                            <p:fltVal val="0"/>
                                          </p:val>
                                        </p:tav>
                                      </p:tavLst>
                                    </p:anim>
                                    <p:anim calcmode="lin" valueType="num">
                                      <p:cBhvr>
                                        <p:cTn id="27" dur="500"/>
                                        <p:tgtEl>
                                          <p:spTgt spid="51"/>
                                        </p:tgtEl>
                                        <p:attrNameLst>
                                          <p:attrName>ppt_h</p:attrName>
                                        </p:attrNameLst>
                                      </p:cBhvr>
                                      <p:tavLst>
                                        <p:tav tm="0">
                                          <p:val>
                                            <p:strVal val="ppt_h"/>
                                          </p:val>
                                        </p:tav>
                                        <p:tav tm="100000">
                                          <p:val>
                                            <p:fltVal val="0"/>
                                          </p:val>
                                        </p:tav>
                                      </p:tavLst>
                                    </p:anim>
                                    <p:animEffect transition="out" filter="fade">
                                      <p:cBhvr>
                                        <p:cTn id="28" dur="500"/>
                                        <p:tgtEl>
                                          <p:spTgt spid="51"/>
                                        </p:tgtEl>
                                      </p:cBhvr>
                                    </p:animEffect>
                                    <p:set>
                                      <p:cBhvr>
                                        <p:cTn id="29" dur="1" fill="hold">
                                          <p:stCondLst>
                                            <p:cond delay="499"/>
                                          </p:stCondLst>
                                        </p:cTn>
                                        <p:tgtEl>
                                          <p:spTgt spid="51"/>
                                        </p:tgtEl>
                                        <p:attrNameLst>
                                          <p:attrName>style.visibility</p:attrName>
                                        </p:attrNameLst>
                                      </p:cBhvr>
                                      <p:to>
                                        <p:strVal val="hidden"/>
                                      </p:to>
                                    </p:set>
                                  </p:childTnLst>
                                </p:cTn>
                              </p:par>
                              <p:par>
                                <p:cTn id="30" presetID="53" presetClass="exit" presetSubtype="32" fill="hold" grpId="0" nodeType="withEffect">
                                  <p:stCondLst>
                                    <p:cond delay="0"/>
                                  </p:stCondLst>
                                  <p:childTnLst>
                                    <p:anim calcmode="lin" valueType="num">
                                      <p:cBhvr>
                                        <p:cTn id="31" dur="500"/>
                                        <p:tgtEl>
                                          <p:spTgt spid="52"/>
                                        </p:tgtEl>
                                        <p:attrNameLst>
                                          <p:attrName>ppt_w</p:attrName>
                                        </p:attrNameLst>
                                      </p:cBhvr>
                                      <p:tavLst>
                                        <p:tav tm="0">
                                          <p:val>
                                            <p:strVal val="ppt_w"/>
                                          </p:val>
                                        </p:tav>
                                        <p:tav tm="100000">
                                          <p:val>
                                            <p:fltVal val="0"/>
                                          </p:val>
                                        </p:tav>
                                      </p:tavLst>
                                    </p:anim>
                                    <p:anim calcmode="lin" valueType="num">
                                      <p:cBhvr>
                                        <p:cTn id="32" dur="500"/>
                                        <p:tgtEl>
                                          <p:spTgt spid="52"/>
                                        </p:tgtEl>
                                        <p:attrNameLst>
                                          <p:attrName>ppt_h</p:attrName>
                                        </p:attrNameLst>
                                      </p:cBhvr>
                                      <p:tavLst>
                                        <p:tav tm="0">
                                          <p:val>
                                            <p:strVal val="ppt_h"/>
                                          </p:val>
                                        </p:tav>
                                        <p:tav tm="100000">
                                          <p:val>
                                            <p:fltVal val="0"/>
                                          </p:val>
                                        </p:tav>
                                      </p:tavLst>
                                    </p:anim>
                                    <p:animEffect transition="out" filter="fade">
                                      <p:cBhvr>
                                        <p:cTn id="33" dur="500"/>
                                        <p:tgtEl>
                                          <p:spTgt spid="52"/>
                                        </p:tgtEl>
                                      </p:cBhvr>
                                    </p:animEffect>
                                    <p:set>
                                      <p:cBhvr>
                                        <p:cTn id="34" dur="1" fill="hold">
                                          <p:stCondLst>
                                            <p:cond delay="499"/>
                                          </p:stCondLst>
                                        </p:cTn>
                                        <p:tgtEl>
                                          <p:spTgt spid="52"/>
                                        </p:tgtEl>
                                        <p:attrNameLst>
                                          <p:attrName>style.visibility</p:attrName>
                                        </p:attrNameLst>
                                      </p:cBhvr>
                                      <p:to>
                                        <p:strVal val="hidden"/>
                                      </p:to>
                                    </p:set>
                                  </p:childTnLst>
                                </p:cTn>
                              </p:par>
                              <p:par>
                                <p:cTn id="35" presetID="16" presetClass="entr" presetSubtype="21"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animEffect transition="in" filter="barn(inVertical)">
                                      <p:cBhvr>
                                        <p:cTn id="37" dur="500"/>
                                        <p:tgtEl>
                                          <p:spTgt spid="55"/>
                                        </p:tgtEl>
                                      </p:cBhvr>
                                    </p:animEffect>
                                  </p:childTnLst>
                                </p:cTn>
                              </p:par>
                              <p:par>
                                <p:cTn id="38" presetID="2" presetClass="entr" presetSubtype="8"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ppt_y"/>
                                          </p:val>
                                        </p:tav>
                                        <p:tav tm="100000">
                                          <p:val>
                                            <p:strVal val="#ppt_y"/>
                                          </p:val>
                                        </p:tav>
                                      </p:tavLst>
                                    </p:anim>
                                  </p:childTnLst>
                                </p:cTn>
                              </p:par>
                              <p:par>
                                <p:cTn id="42" presetID="14" presetClass="entr" presetSubtype="1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randombar(horizontal)">
                                      <p:cBhvr>
                                        <p:cTn id="44" dur="5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14" presetClass="exit" presetSubtype="10" fill="hold" grpId="1" nodeType="clickEffect">
                                  <p:stCondLst>
                                    <p:cond delay="0"/>
                                  </p:stCondLst>
                                  <p:childTnLst>
                                    <p:animEffect transition="out" filter="randombar(horizontal)">
                                      <p:cBhvr>
                                        <p:cTn id="48" dur="500"/>
                                        <p:tgtEl>
                                          <p:spTgt spid="16"/>
                                        </p:tgtEl>
                                      </p:cBhvr>
                                    </p:animEffect>
                                    <p:set>
                                      <p:cBhvr>
                                        <p:cTn id="49" dur="1" fill="hold">
                                          <p:stCondLst>
                                            <p:cond delay="499"/>
                                          </p:stCondLst>
                                        </p:cTn>
                                        <p:tgtEl>
                                          <p:spTgt spid="16"/>
                                        </p:tgtEl>
                                        <p:attrNameLst>
                                          <p:attrName>style.visibility</p:attrName>
                                        </p:attrNameLst>
                                      </p:cBhvr>
                                      <p:to>
                                        <p:strVal val="hidden"/>
                                      </p:to>
                                    </p:set>
                                  </p:childTnLst>
                                </p:cTn>
                              </p:par>
                              <p:par>
                                <p:cTn id="50" presetID="14" presetClass="exit" presetSubtype="10" fill="hold" nodeType="withEffect">
                                  <p:stCondLst>
                                    <p:cond delay="0"/>
                                  </p:stCondLst>
                                  <p:childTnLst>
                                    <p:animEffect transition="out" filter="randombar(horizontal)">
                                      <p:cBhvr>
                                        <p:cTn id="51" dur="500"/>
                                        <p:tgtEl>
                                          <p:spTgt spid="10"/>
                                        </p:tgtEl>
                                      </p:cBhvr>
                                    </p:animEffect>
                                    <p:set>
                                      <p:cBhvr>
                                        <p:cTn id="52"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animBg="1"/>
      <p:bldP spid="5" grpId="0" animBg="1"/>
      <p:bldP spid="5" grpId="1" animBg="1"/>
      <p:bldP spid="50" grpId="0" animBg="1"/>
      <p:bldP spid="51" grpId="0" animBg="1"/>
      <p:bldP spid="52" grpId="0" animBg="1"/>
      <p:bldP spid="55" grpId="0" animBg="1"/>
      <p:bldP spid="16" grpId="0"/>
      <p:bldP spid="16"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873374" y="2639222"/>
            <a:ext cx="4394841" cy="2519010"/>
          </a:xfrm>
          <a:prstGeom prst="rect">
            <a:avLst/>
          </a:prstGeom>
        </p:spPr>
        <p:txBody>
          <a:bodyPr wrap="square" lIns="117208" tIns="58604" rIns="117208" bIns="58604">
            <a:spAutoFit/>
          </a:bodyPr>
          <a:lstStyle/>
          <a:p>
            <a:pPr marL="342900" indent="-342900">
              <a:buFont typeface="Arial" panose="020B0604020202020204" pitchFamily="34" charset="0"/>
              <a:buChar char="►"/>
            </a:pPr>
            <a:r>
              <a:rPr lang="fr-FR" sz="1800" dirty="0"/>
              <a:t>Le service achats travaille en accord avec les principes de conduites des affaires du groupe Nestlé. Il respect de ce fait une politique environnementale, de qualité ainsi que de sécurité.  </a:t>
            </a:r>
          </a:p>
          <a:p>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a:p>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p:cNvSpPr/>
          <p:nvPr/>
        </p:nvSpPr>
        <p:spPr>
          <a:xfrm>
            <a:off x="1311223" y="6916200"/>
            <a:ext cx="4561574" cy="448888"/>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lIns="117208" tIns="58604" rIns="117208" bIns="58604" rtlCol="0" anchor="ctr"/>
          <a:lstStyle/>
          <a:p>
            <a:r>
              <a:rPr lang="en-US" sz="1800" i="1" dirty="0">
                <a:latin typeface="Open Sans" pitchFamily="34" charset="0"/>
                <a:ea typeface="Open Sans" pitchFamily="34" charset="0"/>
                <a:cs typeface="Open Sans" pitchFamily="34" charset="0"/>
              </a:rPr>
              <a:t>A team with passion of conquering …</a:t>
            </a:r>
          </a:p>
        </p:txBody>
      </p:sp>
      <p:sp>
        <p:nvSpPr>
          <p:cNvPr id="17" name="Rectangle 16"/>
          <p:cNvSpPr/>
          <p:nvPr/>
        </p:nvSpPr>
        <p:spPr>
          <a:xfrm>
            <a:off x="2216785" y="1378816"/>
            <a:ext cx="3656012"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228600" rtlCol="0" anchor="ctr"/>
          <a:lstStyle/>
          <a:p>
            <a:r>
              <a:rPr lang="en-US" sz="2400" dirty="0">
                <a:solidFill>
                  <a:schemeClr val="tx1"/>
                </a:solidFill>
                <a:latin typeface="Open Sans Light" pitchFamily="34" charset="0"/>
                <a:ea typeface="Open Sans Light" pitchFamily="34" charset="0"/>
                <a:cs typeface="Open Sans Light" pitchFamily="34" charset="0"/>
              </a:rPr>
              <a:t>OBJECTIF </a:t>
            </a:r>
          </a:p>
          <a:p>
            <a:r>
              <a:rPr lang="en-US" sz="20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POLITIQUE ACHATS  </a:t>
            </a:r>
          </a:p>
        </p:txBody>
      </p:sp>
      <p:pic>
        <p:nvPicPr>
          <p:cNvPr id="8" name="Imag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7412" y="3833408"/>
            <a:ext cx="1847441" cy="29512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12"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12"/>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pic>
        <p:nvPicPr>
          <p:cNvPr id="14" name="Picture 42" descr="dmaic logobackground_transparant"/>
          <p:cNvPicPr>
            <a:picLocks noChangeAspect="1" noChangeArrowheads="1"/>
          </p:cNvPicPr>
          <p:nvPr/>
        </p:nvPicPr>
        <p:blipFill>
          <a:blip r:embed="rId8" cstate="print"/>
          <a:srcRect/>
          <a:stretch>
            <a:fillRect/>
          </a:stretch>
        </p:blipFill>
        <p:spPr bwMode="auto">
          <a:xfrm>
            <a:off x="75314" y="2557938"/>
            <a:ext cx="2360457" cy="2708193"/>
          </a:xfrm>
          <a:prstGeom prst="rect">
            <a:avLst/>
          </a:prstGeom>
          <a:noFill/>
          <a:ln w="9525">
            <a:noFill/>
            <a:miter lim="800000"/>
            <a:headEnd/>
            <a:tailEnd/>
          </a:ln>
        </p:spPr>
      </p:pic>
      <p:sp>
        <p:nvSpPr>
          <p:cNvPr id="15" name="Trapezoid 40"/>
          <p:cNvSpPr/>
          <p:nvPr/>
        </p:nvSpPr>
        <p:spPr bwMode="auto">
          <a:xfrm rot="5400000">
            <a:off x="-439502" y="3671211"/>
            <a:ext cx="1984715" cy="955089"/>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6" name="ZoneTexte 15"/>
          <p:cNvSpPr txBox="1"/>
          <p:nvPr/>
        </p:nvSpPr>
        <p:spPr>
          <a:xfrm rot="173668">
            <a:off x="392722" y="3856367"/>
            <a:ext cx="924070" cy="584775"/>
          </a:xfrm>
          <a:prstGeom prst="rect">
            <a:avLst/>
          </a:prstGeom>
          <a:noFill/>
        </p:spPr>
        <p:txBody>
          <a:bodyPr wrap="square" rtlCol="0">
            <a:spAutoFit/>
          </a:bodyPr>
          <a:lstStyle/>
          <a:p>
            <a:r>
              <a:rPr lang="fr-FR" sz="3200" b="1" dirty="0">
                <a:solidFill>
                  <a:srgbClr val="FF0000"/>
                </a:solidFill>
              </a:rPr>
              <a:t>I</a:t>
            </a:r>
          </a:p>
        </p:txBody>
      </p:sp>
      <p:pic>
        <p:nvPicPr>
          <p:cNvPr id="18" name="Imag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53077" y="2710338"/>
            <a:ext cx="1858288" cy="29512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Image 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83308" y="1754125"/>
            <a:ext cx="1944216" cy="29512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1" name="TextBox 1"/>
          <p:cNvSpPr txBox="1"/>
          <p:nvPr/>
        </p:nvSpPr>
        <p:spPr>
          <a:xfrm>
            <a:off x="277937" y="1287709"/>
            <a:ext cx="544891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3600" b="1" spc="-300" dirty="0">
                <a:solidFill>
                  <a:schemeClr val="tx1">
                    <a:lumMod val="75000"/>
                    <a:lumOff val="25000"/>
                  </a:schemeClr>
                </a:solidFill>
                <a:latin typeface="Source Sans Pro" panose="020B0503030403020204"/>
              </a:rPr>
              <a:t>Plan d’action </a:t>
            </a:r>
          </a:p>
        </p:txBody>
      </p:sp>
      <p:sp>
        <p:nvSpPr>
          <p:cNvPr id="22" name="Rectangle 21"/>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ppt_x"/>
                                          </p:val>
                                        </p:tav>
                                        <p:tav tm="100000">
                                          <p:val>
                                            <p:strVal val="#ppt_x"/>
                                          </p:val>
                                        </p:tav>
                                      </p:tavLst>
                                    </p:anim>
                                    <p:anim calcmode="lin" valueType="num">
                                      <p:cBhvr additive="base">
                                        <p:cTn id="8" dur="1000" fill="hold"/>
                                        <p:tgtEl>
                                          <p:spTgt spid="21"/>
                                        </p:tgtEl>
                                        <p:attrNameLst>
                                          <p:attrName>ppt_y</p:attrName>
                                        </p:attrNameLst>
                                      </p:cBhvr>
                                      <p:tavLst>
                                        <p:tav tm="0">
                                          <p:val>
                                            <p:strVal val="1+#ppt_h/2"/>
                                          </p:val>
                                        </p:tav>
                                        <p:tav tm="100000">
                                          <p:val>
                                            <p:strVal val="#ppt_y"/>
                                          </p:val>
                                        </p:tav>
                                      </p:tavLst>
                                    </p:anim>
                                  </p:childTnLst>
                                </p:cTn>
                              </p:par>
                              <p:par>
                                <p:cTn id="9" presetID="24" presetClass="emph" presetSubtype="0" fill="hold" grpId="0" nodeType="withEffect">
                                  <p:stCondLst>
                                    <p:cond delay="0"/>
                                  </p:stCondLst>
                                  <p:childTnLst>
                                    <p:animClr clrSpc="hsl" dir="cw">
                                      <p:cBhvr override="childStyle">
                                        <p:cTn id="10" dur="500" fill="hold"/>
                                        <p:tgtEl>
                                          <p:spTgt spid="22"/>
                                        </p:tgtEl>
                                        <p:attrNameLst>
                                          <p:attrName>style.color</p:attrName>
                                        </p:attrNameLst>
                                      </p:cBhvr>
                                      <p:by>
                                        <p:hsl h="0" s="-12549" l="-25098"/>
                                      </p:by>
                                    </p:animClr>
                                    <p:animClr clrSpc="hsl" dir="cw">
                                      <p:cBhvr>
                                        <p:cTn id="11" dur="500" fill="hold"/>
                                        <p:tgtEl>
                                          <p:spTgt spid="22"/>
                                        </p:tgtEl>
                                        <p:attrNameLst>
                                          <p:attrName>fillcolor</p:attrName>
                                        </p:attrNameLst>
                                      </p:cBhvr>
                                      <p:by>
                                        <p:hsl h="0" s="-12549" l="-25098"/>
                                      </p:by>
                                    </p:animClr>
                                    <p:animClr clrSpc="hsl" dir="cw">
                                      <p:cBhvr>
                                        <p:cTn id="12" dur="500" fill="hold"/>
                                        <p:tgtEl>
                                          <p:spTgt spid="22"/>
                                        </p:tgtEl>
                                        <p:attrNameLst>
                                          <p:attrName>stroke.color</p:attrName>
                                        </p:attrNameLst>
                                      </p:cBhvr>
                                      <p:by>
                                        <p:hsl h="0" s="-12549" l="-25098"/>
                                      </p:by>
                                    </p:animClr>
                                    <p:set>
                                      <p:cBhvr>
                                        <p:cTn id="13" dur="500" fill="hold"/>
                                        <p:tgtEl>
                                          <p:spTgt spid="2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p:nvPr/>
        </p:nvPicPr>
        <p:blipFill rotWithShape="1">
          <a:blip r:embed="rId3"/>
          <a:srcRect l="30168" t="12879" r="17800" b="14394"/>
          <a:stretch/>
        </p:blipFill>
        <p:spPr bwMode="auto">
          <a:xfrm rot="16200000">
            <a:off x="6780216" y="1600198"/>
            <a:ext cx="5257801" cy="4800603"/>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9" name="Espace réservé du numéro de diapositive 8"/>
          <p:cNvSpPr>
            <a:spLocks noGrp="1"/>
          </p:cNvSpPr>
          <p:nvPr>
            <p:ph type="sldNum" sz="quarter" idx="12"/>
          </p:nvPr>
        </p:nvSpPr>
        <p:spPr/>
        <p:txBody>
          <a:bodyPr/>
          <a:lstStyle/>
          <a:p>
            <a:fld id="{C9F2E319-0919-499D-AD1F-7963255D1003}" type="slidenum">
              <a:rPr lang="id-ID" smtClean="0"/>
              <a:t>31</a:t>
            </a:fld>
            <a:endParaRPr lang="id-ID"/>
          </a:p>
        </p:txBody>
      </p:sp>
      <p:pic>
        <p:nvPicPr>
          <p:cNvPr id="10" name="Picture 42" descr="dmaic logobackground_transparant"/>
          <p:cNvPicPr>
            <a:picLocks noChangeAspect="1" noChangeArrowheads="1"/>
          </p:cNvPicPr>
          <p:nvPr/>
        </p:nvPicPr>
        <p:blipFill>
          <a:blip r:embed="rId4" cstate="print"/>
          <a:srcRect/>
          <a:stretch>
            <a:fillRect/>
          </a:stretch>
        </p:blipFill>
        <p:spPr bwMode="auto">
          <a:xfrm>
            <a:off x="75314" y="2557938"/>
            <a:ext cx="2360457" cy="2708193"/>
          </a:xfrm>
          <a:prstGeom prst="rect">
            <a:avLst/>
          </a:prstGeom>
          <a:noFill/>
          <a:ln w="9525">
            <a:noFill/>
            <a:miter lim="800000"/>
            <a:headEnd/>
            <a:tailEnd/>
          </a:ln>
        </p:spPr>
      </p:pic>
      <p:sp>
        <p:nvSpPr>
          <p:cNvPr id="11" name="Trapezoid 40"/>
          <p:cNvSpPr/>
          <p:nvPr/>
        </p:nvSpPr>
        <p:spPr bwMode="auto">
          <a:xfrm rot="5400000">
            <a:off x="-439502" y="3671211"/>
            <a:ext cx="1984715" cy="955089"/>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rot="173668">
            <a:off x="392722" y="3856367"/>
            <a:ext cx="924070" cy="584775"/>
          </a:xfrm>
          <a:prstGeom prst="rect">
            <a:avLst/>
          </a:prstGeom>
          <a:noFill/>
        </p:spPr>
        <p:txBody>
          <a:bodyPr wrap="square" rtlCol="0">
            <a:spAutoFit/>
          </a:bodyPr>
          <a:lstStyle/>
          <a:p>
            <a:r>
              <a:rPr lang="fr-FR" sz="3200" b="1" dirty="0">
                <a:solidFill>
                  <a:srgbClr val="FF0000"/>
                </a:solidFill>
              </a:rPr>
              <a:t>I</a:t>
            </a:r>
          </a:p>
        </p:txBody>
      </p:sp>
      <p:pic>
        <p:nvPicPr>
          <p:cNvPr id="36865" name="Picture 1"/>
          <p:cNvPicPr>
            <a:picLocks noChangeAspect="1" noChangeArrowheads="1"/>
          </p:cNvPicPr>
          <p:nvPr/>
        </p:nvPicPr>
        <p:blipFill rotWithShape="1">
          <a:blip r:embed="rId5">
            <a:extLst>
              <a:ext uri="{28A0092B-C50C-407E-A947-70E740481C1C}">
                <a14:useLocalDpi xmlns:a14="http://schemas.microsoft.com/office/drawing/2010/main" val="0"/>
              </a:ext>
            </a:extLst>
          </a:blip>
          <a:srcRect l="579" t="20283" r="79356" b="41016"/>
          <a:stretch/>
        </p:blipFill>
        <p:spPr bwMode="auto">
          <a:xfrm>
            <a:off x="2435771" y="1371600"/>
            <a:ext cx="4877841"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Ellipse 13"/>
          <p:cNvSpPr/>
          <p:nvPr/>
        </p:nvSpPr>
        <p:spPr>
          <a:xfrm>
            <a:off x="7542212" y="5715000"/>
            <a:ext cx="1600200" cy="457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7"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8" name="Rectangle 17"/>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0" name="Rectangle 19"/>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16295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ircle(in)">
                                      <p:cBhvr>
                                        <p:cTn id="7" dur="2000"/>
                                        <p:tgtEl>
                                          <p:spTgt spid="14"/>
                                        </p:tgtEl>
                                      </p:cBhvr>
                                    </p:animEffect>
                                  </p:childTnLst>
                                </p:cTn>
                              </p:par>
                              <p:par>
                                <p:cTn id="8" presetID="24" presetClass="emph" presetSubtype="0" fill="hold" grpId="0" nodeType="withEffect">
                                  <p:stCondLst>
                                    <p:cond delay="0"/>
                                  </p:stCondLst>
                                  <p:childTnLst>
                                    <p:animClr clrSpc="hsl" dir="cw">
                                      <p:cBhvr override="childStyle">
                                        <p:cTn id="9" dur="500" fill="hold"/>
                                        <p:tgtEl>
                                          <p:spTgt spid="20"/>
                                        </p:tgtEl>
                                        <p:attrNameLst>
                                          <p:attrName>style.color</p:attrName>
                                        </p:attrNameLst>
                                      </p:cBhvr>
                                      <p:by>
                                        <p:hsl h="0" s="-12549" l="-25098"/>
                                      </p:by>
                                    </p:animClr>
                                    <p:animClr clrSpc="hsl" dir="cw">
                                      <p:cBhvr>
                                        <p:cTn id="10" dur="500" fill="hold"/>
                                        <p:tgtEl>
                                          <p:spTgt spid="20"/>
                                        </p:tgtEl>
                                        <p:attrNameLst>
                                          <p:attrName>fillcolor</p:attrName>
                                        </p:attrNameLst>
                                      </p:cBhvr>
                                      <p:by>
                                        <p:hsl h="0" s="-12549" l="-25098"/>
                                      </p:by>
                                    </p:animClr>
                                    <p:animClr clrSpc="hsl" dir="cw">
                                      <p:cBhvr>
                                        <p:cTn id="11" dur="500" fill="hold"/>
                                        <p:tgtEl>
                                          <p:spTgt spid="20"/>
                                        </p:tgtEl>
                                        <p:attrNameLst>
                                          <p:attrName>stroke.color</p:attrName>
                                        </p:attrNameLst>
                                      </p:cBhvr>
                                      <p:by>
                                        <p:hsl h="0" s="-12549" l="-25098"/>
                                      </p:by>
                                    </p:animClr>
                                    <p:set>
                                      <p:cBhvr>
                                        <p:cTn id="12" dur="500" fill="hold"/>
                                        <p:tgtEl>
                                          <p:spTgt spid="2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2970212" y="1537812"/>
            <a:ext cx="9067800" cy="5320188"/>
          </a:xfrm>
        </p:spPr>
        <p:txBody>
          <a:bodyPr>
            <a:normAutofit fontScale="85000" lnSpcReduction="10000"/>
          </a:bodyPr>
          <a:lstStyle/>
          <a:p>
            <a:pPr algn="l"/>
            <a:r>
              <a:rPr lang="fr-FR" sz="2000" b="1" u="sng" dirty="0">
                <a:solidFill>
                  <a:srgbClr val="002060"/>
                </a:solidFill>
              </a:rPr>
              <a:t>Réalisation d’un planning achats annuel :  </a:t>
            </a:r>
          </a:p>
          <a:p>
            <a:pPr algn="l"/>
            <a:r>
              <a:rPr lang="fr-FR" sz="2000" b="1" u="sng" dirty="0">
                <a:solidFill>
                  <a:srgbClr val="002060"/>
                </a:solidFill>
              </a:rPr>
              <a:t> </a:t>
            </a:r>
          </a:p>
          <a:p>
            <a:pPr algn="l"/>
            <a:r>
              <a:rPr lang="fr-FR" sz="2000" dirty="0"/>
              <a:t>Afin d’anticiper </a:t>
            </a:r>
            <a:r>
              <a:rPr lang="fr-FR" sz="2000" b="1" dirty="0">
                <a:solidFill>
                  <a:schemeClr val="tx1">
                    <a:lumMod val="50000"/>
                    <a:lumOff val="50000"/>
                  </a:schemeClr>
                </a:solidFill>
              </a:rPr>
              <a:t>les retards </a:t>
            </a:r>
            <a:r>
              <a:rPr lang="fr-FR" sz="2000" dirty="0"/>
              <a:t>et de faire face au grand nombre des non conformités à traiter</a:t>
            </a:r>
            <a:r>
              <a:rPr lang="fr-FR" sz="2000" b="1" u="sng" dirty="0">
                <a:solidFill>
                  <a:srgbClr val="002060"/>
                </a:solidFill>
              </a:rPr>
              <a:t>  </a:t>
            </a:r>
          </a:p>
          <a:p>
            <a:pPr algn="l"/>
            <a:endParaRPr lang="fr-FR" sz="2000" b="1" u="sng" dirty="0">
              <a:solidFill>
                <a:srgbClr val="002060"/>
              </a:solidFill>
            </a:endParaRPr>
          </a:p>
          <a:p>
            <a:pPr algn="l"/>
            <a:r>
              <a:rPr lang="fr-FR" sz="2000" b="1" u="sng" dirty="0">
                <a:solidFill>
                  <a:srgbClr val="002060"/>
                </a:solidFill>
              </a:rPr>
              <a:t>Actions à entreprendre :  </a:t>
            </a:r>
          </a:p>
          <a:p>
            <a:pPr algn="l"/>
            <a:endParaRPr lang="fr-FR" sz="2000" b="1" u="sng" dirty="0">
              <a:solidFill>
                <a:srgbClr val="002060"/>
              </a:solidFill>
            </a:endParaRPr>
          </a:p>
          <a:p>
            <a:pPr algn="l"/>
            <a:r>
              <a:rPr lang="fr-FR" sz="2000" b="1" dirty="0"/>
              <a:t>   Renforcer le sourcing fournisseurs</a:t>
            </a:r>
          </a:p>
          <a:p>
            <a:pPr algn="l"/>
            <a:r>
              <a:rPr lang="fr-FR" sz="2000" dirty="0"/>
              <a:t>En effet, plus le nombre de fournisseurs consultés est petit plus la probabilité d’obtenir une réponse à temps à petite.   </a:t>
            </a:r>
          </a:p>
          <a:p>
            <a:pPr algn="l"/>
            <a:endParaRPr lang="fr-FR" sz="2000" dirty="0"/>
          </a:p>
          <a:p>
            <a:pPr algn="l"/>
            <a:r>
              <a:rPr lang="fr-FR" sz="2100" b="1" dirty="0">
                <a:solidFill>
                  <a:schemeClr val="tx2"/>
                </a:solidFill>
              </a:rPr>
              <a:t>  </a:t>
            </a:r>
            <a:r>
              <a:rPr lang="fr-FR" sz="2100" b="1" u="sng" dirty="0">
                <a:solidFill>
                  <a:srgbClr val="002060"/>
                </a:solidFill>
              </a:rPr>
              <a:t>Mettre en place un tableau de bord   : </a:t>
            </a:r>
          </a:p>
          <a:p>
            <a:pPr algn="l"/>
            <a:r>
              <a:rPr lang="fr-FR" sz="2200" dirty="0"/>
              <a:t>Permettre à l’acheteur  :</a:t>
            </a:r>
          </a:p>
          <a:p>
            <a:pPr marL="342900" indent="-342900" algn="l">
              <a:lnSpc>
                <a:spcPct val="170000"/>
              </a:lnSpc>
              <a:buFont typeface="Wingdings" panose="05000000000000000000" pitchFamily="2" charset="2"/>
              <a:buChar char="§"/>
            </a:pPr>
            <a:r>
              <a:rPr lang="fr-FR" sz="2200" dirty="0"/>
              <a:t>Le suivi des  achats   </a:t>
            </a:r>
          </a:p>
          <a:p>
            <a:pPr marL="342900" indent="-342900" algn="l">
              <a:lnSpc>
                <a:spcPct val="170000"/>
              </a:lnSpc>
              <a:buFont typeface="Wingdings" panose="05000000000000000000" pitchFamily="2" charset="2"/>
              <a:buChar char="§"/>
            </a:pPr>
            <a:r>
              <a:rPr lang="fr-FR" sz="2200" dirty="0"/>
              <a:t>L’anticipation des retards de livraison    (Stock de sécurité ou consignation) </a:t>
            </a:r>
          </a:p>
          <a:p>
            <a:pPr marL="342900" indent="-342900" algn="l">
              <a:lnSpc>
                <a:spcPct val="170000"/>
              </a:lnSpc>
              <a:buFont typeface="Wingdings" panose="05000000000000000000" pitchFamily="2" charset="2"/>
              <a:buChar char="§"/>
            </a:pPr>
            <a:r>
              <a:rPr lang="fr-FR" sz="2200" dirty="0"/>
              <a:t>et au responsable des achats de piloter l’activité à travers les états de synthèses.     </a:t>
            </a:r>
          </a:p>
          <a:p>
            <a:pPr marL="342900" indent="-342900" algn="l">
              <a:buFont typeface="Wingdings" panose="05000000000000000000" pitchFamily="2" charset="2"/>
              <a:buChar char="§"/>
            </a:pPr>
            <a:endParaRPr lang="fr-FR" sz="2200" dirty="0"/>
          </a:p>
          <a:p>
            <a:pPr algn="l"/>
            <a:endParaRPr lang="fr-FR" sz="2200" dirty="0"/>
          </a:p>
          <a:p>
            <a:pPr algn="l"/>
            <a:endParaRPr lang="fr-FR" sz="2200" dirty="0"/>
          </a:p>
          <a:p>
            <a:pPr algn="l"/>
            <a:endParaRPr lang="fr-FR" sz="2000" b="1" u="sng" dirty="0">
              <a:solidFill>
                <a:srgbClr val="002060"/>
              </a:solidFill>
            </a:endParaRPr>
          </a:p>
        </p:txBody>
      </p:sp>
      <p:pic>
        <p:nvPicPr>
          <p:cNvPr id="5" name="Picture 42" descr="dmaic logobackground_transparant"/>
          <p:cNvPicPr>
            <a:picLocks noChangeAspect="1" noChangeArrowheads="1"/>
          </p:cNvPicPr>
          <p:nvPr/>
        </p:nvPicPr>
        <p:blipFill>
          <a:blip r:embed="rId2" cstate="print"/>
          <a:srcRect/>
          <a:stretch>
            <a:fillRect/>
          </a:stretch>
        </p:blipFill>
        <p:spPr bwMode="auto">
          <a:xfrm>
            <a:off x="75314" y="2557938"/>
            <a:ext cx="2360457" cy="2708193"/>
          </a:xfrm>
          <a:prstGeom prst="rect">
            <a:avLst/>
          </a:prstGeom>
          <a:noFill/>
          <a:ln w="9525">
            <a:noFill/>
            <a:miter lim="800000"/>
            <a:headEnd/>
            <a:tailEnd/>
          </a:ln>
        </p:spPr>
      </p:pic>
      <p:sp>
        <p:nvSpPr>
          <p:cNvPr id="10" name="Espace réservé du numéro de diapositive 9"/>
          <p:cNvSpPr>
            <a:spLocks noGrp="1"/>
          </p:cNvSpPr>
          <p:nvPr>
            <p:ph type="sldNum" sz="quarter" idx="12"/>
          </p:nvPr>
        </p:nvSpPr>
        <p:spPr/>
        <p:txBody>
          <a:bodyPr/>
          <a:lstStyle/>
          <a:p>
            <a:fld id="{C9F2E319-0919-499D-AD1F-7963255D1003}" type="slidenum">
              <a:rPr lang="id-ID" smtClean="0"/>
              <a:t>32</a:t>
            </a:fld>
            <a:endParaRPr lang="id-ID"/>
          </a:p>
        </p:txBody>
      </p:sp>
      <p:sp>
        <p:nvSpPr>
          <p:cNvPr id="17" name="Trapezoid 40"/>
          <p:cNvSpPr/>
          <p:nvPr/>
        </p:nvSpPr>
        <p:spPr bwMode="auto">
          <a:xfrm rot="5400000">
            <a:off x="-439502" y="3671211"/>
            <a:ext cx="1984715" cy="955089"/>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8" name="ZoneTexte 17"/>
          <p:cNvSpPr txBox="1"/>
          <p:nvPr/>
        </p:nvSpPr>
        <p:spPr>
          <a:xfrm rot="173668">
            <a:off x="392722" y="3856367"/>
            <a:ext cx="924070" cy="584775"/>
          </a:xfrm>
          <a:prstGeom prst="rect">
            <a:avLst/>
          </a:prstGeom>
          <a:noFill/>
        </p:spPr>
        <p:txBody>
          <a:bodyPr wrap="square" rtlCol="0">
            <a:spAutoFit/>
          </a:bodyPr>
          <a:lstStyle/>
          <a:p>
            <a:r>
              <a:rPr lang="fr-FR" sz="3200" b="1" dirty="0">
                <a:solidFill>
                  <a:srgbClr val="FF0000"/>
                </a:solidFill>
              </a:rPr>
              <a:t>I</a:t>
            </a:r>
          </a:p>
        </p:txBody>
      </p:sp>
      <p:graphicFrame>
        <p:nvGraphicFramePr>
          <p:cNvPr id="21"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Rectangle 21"/>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23" name="Rectangle 22"/>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80665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23"/>
                                        </p:tgtEl>
                                        <p:attrNameLst>
                                          <p:attrName>style.color</p:attrName>
                                        </p:attrNameLst>
                                      </p:cBhvr>
                                      <p:by>
                                        <p:hsl h="0" s="-12549" l="-25098"/>
                                      </p:by>
                                    </p:animClr>
                                    <p:animClr clrSpc="hsl" dir="cw">
                                      <p:cBhvr>
                                        <p:cTn id="7" dur="500" fill="hold"/>
                                        <p:tgtEl>
                                          <p:spTgt spid="23"/>
                                        </p:tgtEl>
                                        <p:attrNameLst>
                                          <p:attrName>fillcolor</p:attrName>
                                        </p:attrNameLst>
                                      </p:cBhvr>
                                      <p:by>
                                        <p:hsl h="0" s="-12549" l="-25098"/>
                                      </p:by>
                                    </p:animClr>
                                    <p:animClr clrSpc="hsl" dir="cw">
                                      <p:cBhvr>
                                        <p:cTn id="8" dur="500" fill="hold"/>
                                        <p:tgtEl>
                                          <p:spTgt spid="23"/>
                                        </p:tgtEl>
                                        <p:attrNameLst>
                                          <p:attrName>stroke.color</p:attrName>
                                        </p:attrNameLst>
                                      </p:cBhvr>
                                      <p:by>
                                        <p:hsl h="0" s="-12549" l="-25098"/>
                                      </p:by>
                                    </p:animClr>
                                    <p:set>
                                      <p:cBhvr>
                                        <p:cTn id="9" dur="500" fill="hold"/>
                                        <p:tgtEl>
                                          <p:spTgt spid="2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p:nvPr/>
        </p:nvPicPr>
        <p:blipFill rotWithShape="1">
          <a:blip r:embed="rId2"/>
          <a:srcRect l="4000" t="31655" r="24410" b="10908"/>
          <a:stretch/>
        </p:blipFill>
        <p:spPr bwMode="auto">
          <a:xfrm>
            <a:off x="2435771" y="1359766"/>
            <a:ext cx="9526039" cy="5498234"/>
          </a:xfrm>
          <a:prstGeom prst="rect">
            <a:avLst/>
          </a:prstGeom>
          <a:ln>
            <a:noFill/>
          </a:ln>
          <a:extLst>
            <a:ext uri="{53640926-AAD7-44D8-BBD7-CCE9431645EC}">
              <a14:shadowObscured xmlns:a14="http://schemas.microsoft.com/office/drawing/2010/main"/>
            </a:ext>
          </a:extLst>
        </p:spPr>
      </p:pic>
      <p:pic>
        <p:nvPicPr>
          <p:cNvPr id="5" name="Picture 42" descr="dmaic logobackground_transparant"/>
          <p:cNvPicPr>
            <a:picLocks noChangeAspect="1" noChangeArrowheads="1"/>
          </p:cNvPicPr>
          <p:nvPr/>
        </p:nvPicPr>
        <p:blipFill>
          <a:blip r:embed="rId3" cstate="print"/>
          <a:srcRect/>
          <a:stretch>
            <a:fillRect/>
          </a:stretch>
        </p:blipFill>
        <p:spPr bwMode="auto">
          <a:xfrm>
            <a:off x="75314" y="2557938"/>
            <a:ext cx="2360457" cy="2708193"/>
          </a:xfrm>
          <a:prstGeom prst="rect">
            <a:avLst/>
          </a:prstGeom>
          <a:noFill/>
          <a:ln w="9525">
            <a:noFill/>
            <a:miter lim="800000"/>
            <a:headEnd/>
            <a:tailEnd/>
          </a:ln>
        </p:spPr>
      </p:pic>
      <p:sp>
        <p:nvSpPr>
          <p:cNvPr id="6" name="Trapezoid 40"/>
          <p:cNvSpPr/>
          <p:nvPr/>
        </p:nvSpPr>
        <p:spPr bwMode="auto">
          <a:xfrm rot="5400000">
            <a:off x="-439502" y="3671211"/>
            <a:ext cx="1984715" cy="955089"/>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7" name="ZoneTexte 6"/>
          <p:cNvSpPr txBox="1"/>
          <p:nvPr/>
        </p:nvSpPr>
        <p:spPr>
          <a:xfrm rot="173668">
            <a:off x="392722" y="3856367"/>
            <a:ext cx="924070" cy="584775"/>
          </a:xfrm>
          <a:prstGeom prst="rect">
            <a:avLst/>
          </a:prstGeom>
          <a:noFill/>
        </p:spPr>
        <p:txBody>
          <a:bodyPr wrap="square" rtlCol="0">
            <a:spAutoFit/>
          </a:bodyPr>
          <a:lstStyle/>
          <a:p>
            <a:r>
              <a:rPr lang="fr-FR" sz="3200" b="1" dirty="0">
                <a:solidFill>
                  <a:srgbClr val="FF0000"/>
                </a:solidFill>
              </a:rPr>
              <a:t>I</a:t>
            </a:r>
          </a:p>
        </p:txBody>
      </p:sp>
      <p:graphicFrame>
        <p:nvGraphicFramePr>
          <p:cNvPr id="9"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Rectangle 9"/>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1" name="Rectangle 10"/>
          <p:cNvSpPr/>
          <p:nvPr/>
        </p:nvSpPr>
        <p:spPr>
          <a:xfrm>
            <a:off x="10742612" y="1359766"/>
            <a:ext cx="1219198" cy="545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7061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4" presetClass="emph" presetSubtype="0" fill="hold" grpId="0" nodeType="withEffect">
                                  <p:stCondLst>
                                    <p:cond delay="0"/>
                                  </p:stCondLst>
                                  <p:childTnLst>
                                    <p:animClr clrSpc="hsl" dir="cw">
                                      <p:cBhvr override="childStyle">
                                        <p:cTn id="14" dur="500" fill="hold"/>
                                        <p:tgtEl>
                                          <p:spTgt spid="12"/>
                                        </p:tgtEl>
                                        <p:attrNameLst>
                                          <p:attrName>style.color</p:attrName>
                                        </p:attrNameLst>
                                      </p:cBhvr>
                                      <p:by>
                                        <p:hsl h="0" s="-12549" l="-25098"/>
                                      </p:by>
                                    </p:animClr>
                                    <p:animClr clrSpc="hsl" dir="cw">
                                      <p:cBhvr>
                                        <p:cTn id="15" dur="500" fill="hold"/>
                                        <p:tgtEl>
                                          <p:spTgt spid="12"/>
                                        </p:tgtEl>
                                        <p:attrNameLst>
                                          <p:attrName>fillcolor</p:attrName>
                                        </p:attrNameLst>
                                      </p:cBhvr>
                                      <p:by>
                                        <p:hsl h="0" s="-12549" l="-25098"/>
                                      </p:by>
                                    </p:animClr>
                                    <p:animClr clrSpc="hsl" dir="cw">
                                      <p:cBhvr>
                                        <p:cTn id="16" dur="500" fill="hold"/>
                                        <p:tgtEl>
                                          <p:spTgt spid="12"/>
                                        </p:tgtEl>
                                        <p:attrNameLst>
                                          <p:attrName>stroke.color</p:attrName>
                                        </p:attrNameLst>
                                      </p:cBhvr>
                                      <p:by>
                                        <p:hsl h="0" s="-12549" l="-25098"/>
                                      </p:by>
                                    </p:animClr>
                                    <p:set>
                                      <p:cBhvr>
                                        <p:cTn id="17" dur="500" fill="hold"/>
                                        <p:tgtEl>
                                          <p:spTgt spid="1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836862" y="1627495"/>
            <a:ext cx="9351963" cy="5430837"/>
          </a:xfrm>
        </p:spPr>
        <p:txBody>
          <a:bodyPr>
            <a:normAutofit fontScale="90000"/>
          </a:bodyPr>
          <a:lstStyle/>
          <a:p>
            <a:pPr lvl="1" rtl="0"/>
            <a:br>
              <a:rPr lang="fr-FR" sz="1600" dirty="0"/>
            </a:br>
            <a:r>
              <a:rPr lang="fr-FR" b="1" dirty="0"/>
              <a:t>Améliorer le suivi :  </a:t>
            </a:r>
            <a:br>
              <a:rPr lang="fr-FR" sz="1600" b="1" dirty="0"/>
            </a:br>
            <a:br>
              <a:rPr lang="fr-FR" dirty="0"/>
            </a:br>
            <a:r>
              <a:rPr lang="fr-FR" dirty="0"/>
              <a:t>Partager la fiche d’évaluation avec les fournisseurs. </a:t>
            </a:r>
            <a:br>
              <a:rPr lang="fr-FR" dirty="0"/>
            </a:br>
            <a:r>
              <a:rPr lang="fr-FR" dirty="0"/>
              <a:t>Confirmer la  réception de la fiche d’évaluation notée</a:t>
            </a:r>
            <a:br>
              <a:rPr lang="fr-FR" dirty="0"/>
            </a:br>
            <a:r>
              <a:rPr lang="fr-FR" dirty="0"/>
              <a:t>Et demander le plan d’action</a:t>
            </a:r>
            <a:r>
              <a:rPr lang="fr-FR" sz="1600" dirty="0"/>
              <a:t> pour les points au-dessous du Target.    </a:t>
            </a:r>
            <a:br>
              <a:rPr lang="fr-FR" sz="1600" dirty="0"/>
            </a:br>
            <a:r>
              <a:rPr lang="fr-FR" dirty="0"/>
              <a:t>Réaliser un suivi sur  l’avancement du plan d’action.</a:t>
            </a:r>
            <a:br>
              <a:rPr lang="fr-FR" dirty="0"/>
            </a:br>
            <a:br>
              <a:rPr lang="fr-FR" dirty="0"/>
            </a:br>
            <a:r>
              <a:rPr lang="fr-FR" sz="2000" b="1" dirty="0"/>
              <a:t>Magasin :</a:t>
            </a:r>
            <a:br>
              <a:rPr lang="fr-FR" dirty="0"/>
            </a:br>
            <a:r>
              <a:rPr lang="fr-FR" dirty="0"/>
              <a:t>Mentionner dans le BL le </a:t>
            </a:r>
            <a:r>
              <a:rPr lang="fr-FR" dirty="0" err="1"/>
              <a:t>Vendor</a:t>
            </a:r>
            <a:r>
              <a:rPr lang="fr-FR" dirty="0"/>
              <a:t> site par fournisseurs et pour chaque livraison,   </a:t>
            </a:r>
            <a:br>
              <a:rPr lang="fr-FR" sz="1600" dirty="0"/>
            </a:br>
            <a:r>
              <a:rPr lang="fr-FR" dirty="0"/>
              <a:t>Proposer BL où il est mentionner  le site fournisseurs ‘</a:t>
            </a:r>
            <a:r>
              <a:rPr lang="fr-FR" dirty="0" err="1"/>
              <a:t>Vendor</a:t>
            </a:r>
            <a:r>
              <a:rPr lang="fr-FR" dirty="0"/>
              <a:t> site’. </a:t>
            </a:r>
            <a:br>
              <a:rPr lang="fr-FR" dirty="0"/>
            </a:br>
            <a:r>
              <a:rPr lang="fr-FR" dirty="0"/>
              <a:t> </a:t>
            </a:r>
            <a:br>
              <a:rPr lang="fr-FR" dirty="0"/>
            </a:br>
            <a:r>
              <a:rPr lang="fr-FR" sz="2000" b="1" dirty="0"/>
              <a:t>Sanctions : CMCP </a:t>
            </a:r>
            <a:br>
              <a:rPr lang="fr-FR" sz="1600" dirty="0"/>
            </a:br>
            <a:r>
              <a:rPr lang="fr-FR" dirty="0"/>
              <a:t>Non  attribution de marché ou diminution de parts de marché </a:t>
            </a:r>
            <a:br>
              <a:rPr lang="fr-FR" sz="1600" dirty="0"/>
            </a:br>
            <a:r>
              <a:rPr lang="fr-FR" dirty="0"/>
              <a:t>Menace de changement  fournisseurs  </a:t>
            </a:r>
            <a:br>
              <a:rPr lang="fr-FR" sz="1600" dirty="0"/>
            </a:br>
            <a:r>
              <a:rPr lang="fr-FR" dirty="0"/>
              <a:t> </a:t>
            </a:r>
            <a:br>
              <a:rPr lang="fr-FR" sz="1600" dirty="0"/>
            </a:br>
            <a:r>
              <a:rPr lang="fr-FR" sz="2000" b="1" dirty="0"/>
              <a:t>Motivation et référence : </a:t>
            </a:r>
            <a:br>
              <a:rPr lang="fr-FR" sz="1600" dirty="0"/>
            </a:br>
            <a:r>
              <a:rPr lang="fr-FR" dirty="0"/>
              <a:t>Préparer des trophées annuels pour les 5 premiers fournisseurs qui ont eu un niveau de service fournisseurs élevé </a:t>
            </a:r>
            <a:r>
              <a:rPr lang="fr-FR" sz="2400" dirty="0"/>
              <a:t>       </a:t>
            </a:r>
            <a:br>
              <a:rPr lang="fr-FR" sz="1600" dirty="0"/>
            </a:br>
            <a:endParaRPr lang="fr-FR" dirty="0"/>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34</a:t>
            </a:fld>
            <a:endParaRPr lang="id-ID"/>
          </a:p>
        </p:txBody>
      </p:sp>
      <p:sp>
        <p:nvSpPr>
          <p:cNvPr id="8" name="ZoneTexte 7"/>
          <p:cNvSpPr txBox="1"/>
          <p:nvPr/>
        </p:nvSpPr>
        <p:spPr>
          <a:xfrm>
            <a:off x="73451" y="1359766"/>
            <a:ext cx="2819400" cy="830997"/>
          </a:xfrm>
          <a:prstGeom prst="rect">
            <a:avLst/>
          </a:prstGeom>
          <a:noFill/>
        </p:spPr>
        <p:txBody>
          <a:bodyPr wrap="square" rtlCol="0">
            <a:spAutoFit/>
          </a:bodyPr>
          <a:lstStyle/>
          <a:p>
            <a:r>
              <a:rPr lang="fr-FR" sz="2400" b="1" dirty="0"/>
              <a:t>Plan d’action pour amélioration </a:t>
            </a:r>
          </a:p>
        </p:txBody>
      </p:sp>
      <p:pic>
        <p:nvPicPr>
          <p:cNvPr id="10" name="Picture 42" descr="dmaic logobackground_transparant"/>
          <p:cNvPicPr>
            <a:picLocks noChangeAspect="1" noChangeArrowheads="1"/>
          </p:cNvPicPr>
          <p:nvPr/>
        </p:nvPicPr>
        <p:blipFill>
          <a:blip r:embed="rId3" cstate="print"/>
          <a:srcRect/>
          <a:stretch>
            <a:fillRect/>
          </a:stretch>
        </p:blipFill>
        <p:spPr bwMode="auto">
          <a:xfrm>
            <a:off x="75314" y="2557938"/>
            <a:ext cx="2360457" cy="2708193"/>
          </a:xfrm>
          <a:prstGeom prst="rect">
            <a:avLst/>
          </a:prstGeom>
          <a:noFill/>
          <a:ln w="9525">
            <a:noFill/>
            <a:miter lim="800000"/>
            <a:headEnd/>
            <a:tailEnd/>
          </a:ln>
        </p:spPr>
      </p:pic>
      <p:sp>
        <p:nvSpPr>
          <p:cNvPr id="11" name="Trapezoid 40"/>
          <p:cNvSpPr/>
          <p:nvPr/>
        </p:nvSpPr>
        <p:spPr bwMode="auto">
          <a:xfrm rot="5400000">
            <a:off x="-439502" y="3671211"/>
            <a:ext cx="1984715" cy="955089"/>
          </a:xfrm>
          <a:prstGeom prst="trapezoid">
            <a:avLst>
              <a:gd name="adj" fmla="val 60955"/>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12" name="ZoneTexte 11"/>
          <p:cNvSpPr txBox="1"/>
          <p:nvPr/>
        </p:nvSpPr>
        <p:spPr>
          <a:xfrm rot="173668">
            <a:off x="392722" y="3856367"/>
            <a:ext cx="924070" cy="584775"/>
          </a:xfrm>
          <a:prstGeom prst="rect">
            <a:avLst/>
          </a:prstGeom>
          <a:noFill/>
        </p:spPr>
        <p:txBody>
          <a:bodyPr wrap="square" rtlCol="0">
            <a:spAutoFit/>
          </a:bodyPr>
          <a:lstStyle/>
          <a:p>
            <a:r>
              <a:rPr lang="fr-FR" sz="3200" b="1" dirty="0">
                <a:solidFill>
                  <a:srgbClr val="FF0000"/>
                </a:solidFill>
              </a:rPr>
              <a:t>I</a:t>
            </a:r>
          </a:p>
        </p:txBody>
      </p:sp>
      <p:graphicFrame>
        <p:nvGraphicFramePr>
          <p:cNvPr id="13"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 name="Rectangle 13"/>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5" name="Rectangle 14"/>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90495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5"/>
                                        </p:tgtEl>
                                        <p:attrNameLst>
                                          <p:attrName>style.color</p:attrName>
                                        </p:attrNameLst>
                                      </p:cBhvr>
                                      <p:by>
                                        <p:hsl h="0" s="-12549" l="-25098"/>
                                      </p:by>
                                    </p:animClr>
                                    <p:animClr clrSpc="hsl" dir="cw">
                                      <p:cBhvr>
                                        <p:cTn id="7" dur="500" fill="hold"/>
                                        <p:tgtEl>
                                          <p:spTgt spid="15"/>
                                        </p:tgtEl>
                                        <p:attrNameLst>
                                          <p:attrName>fillcolor</p:attrName>
                                        </p:attrNameLst>
                                      </p:cBhvr>
                                      <p:by>
                                        <p:hsl h="0" s="-12549" l="-25098"/>
                                      </p:by>
                                    </p:animClr>
                                    <p:animClr clrSpc="hsl" dir="cw">
                                      <p:cBhvr>
                                        <p:cTn id="8" dur="500" fill="hold"/>
                                        <p:tgtEl>
                                          <p:spTgt spid="15"/>
                                        </p:tgtEl>
                                        <p:attrNameLst>
                                          <p:attrName>stroke.color</p:attrName>
                                        </p:attrNameLst>
                                      </p:cBhvr>
                                      <p:by>
                                        <p:hsl h="0" s="-12549" l="-25098"/>
                                      </p:by>
                                    </p:animClr>
                                    <p:set>
                                      <p:cBhvr>
                                        <p:cTn id="9"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Espace réservé pour une image  2"/>
          <p:cNvPicPr>
            <a:picLocks noGrp="1"/>
          </p:cNvPicPr>
          <p:nvPr>
            <p:ph type="pic" sz="quarter" idx="10"/>
          </p:nvPr>
        </p:nvPicPr>
        <p:blipFill rotWithShape="1">
          <a:blip r:embed="rId3"/>
          <a:srcRect l="2657" t="23912" r="27746" b="24426"/>
          <a:stretch/>
        </p:blipFill>
        <p:spPr bwMode="auto">
          <a:xfrm>
            <a:off x="2931318" y="1370041"/>
            <a:ext cx="8631876" cy="270510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4" name="Image 3"/>
          <p:cNvPicPr/>
          <p:nvPr/>
        </p:nvPicPr>
        <p:blipFill rotWithShape="1">
          <a:blip r:embed="rId4"/>
          <a:srcRect l="6169" t="25000" r="8117" b="25417"/>
          <a:stretch/>
        </p:blipFill>
        <p:spPr bwMode="auto">
          <a:xfrm>
            <a:off x="2513012" y="3914775"/>
            <a:ext cx="9468488" cy="283845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5" name="Picture 42" descr="dmaic logobackground_transparant"/>
          <p:cNvPicPr>
            <a:picLocks noChangeAspect="1" noChangeArrowheads="1"/>
          </p:cNvPicPr>
          <p:nvPr/>
        </p:nvPicPr>
        <p:blipFill>
          <a:blip r:embed="rId5" cstate="print"/>
          <a:srcRect/>
          <a:stretch>
            <a:fillRect/>
          </a:stretch>
        </p:blipFill>
        <p:spPr bwMode="auto">
          <a:xfrm>
            <a:off x="75314" y="2557938"/>
            <a:ext cx="2360457" cy="2708193"/>
          </a:xfrm>
          <a:prstGeom prst="rect">
            <a:avLst/>
          </a:prstGeom>
          <a:noFill/>
          <a:ln w="9525">
            <a:noFill/>
            <a:miter lim="800000"/>
            <a:headEnd/>
            <a:tailEnd/>
          </a:ln>
        </p:spPr>
      </p:pic>
      <p:sp>
        <p:nvSpPr>
          <p:cNvPr id="6" name="Trapezoid 40"/>
          <p:cNvSpPr/>
          <p:nvPr/>
        </p:nvSpPr>
        <p:spPr bwMode="auto">
          <a:xfrm rot="8161898">
            <a:off x="-46806" y="2625834"/>
            <a:ext cx="1734151" cy="890715"/>
          </a:xfrm>
          <a:prstGeom prst="trapezoid">
            <a:avLst>
              <a:gd name="adj" fmla="val 70494"/>
            </a:avLst>
          </a:prstGeom>
          <a:noFill/>
          <a:ln w="38100" cap="flat" cmpd="sng" algn="ctr">
            <a:solidFill>
              <a:srgbClr val="FF0000"/>
            </a:solidFill>
            <a:prstDash val="solid"/>
            <a:round/>
            <a:headEnd type="none" w="med" len="med"/>
            <a:tailEnd type="none" w="med" len="med"/>
          </a:ln>
          <a:effectLst/>
        </p:spPr>
        <p:txBody>
          <a:bodyPr wrap="none" anchor="ctr"/>
          <a:lstStyle/>
          <a:p>
            <a:pPr eaLnBrk="0" hangingPunct="0">
              <a:buSzPct val="100000"/>
              <a:defRPr/>
            </a:pPr>
            <a:endParaRPr lang="en-GB" b="0">
              <a:latin typeface="Arial Narrow" charset="0"/>
              <a:cs typeface="Arial" charset="0"/>
              <a:sym typeface="Arial Narrow" charset="0"/>
            </a:endParaRPr>
          </a:p>
        </p:txBody>
      </p:sp>
      <p:sp>
        <p:nvSpPr>
          <p:cNvPr id="7" name="ZoneTexte 6"/>
          <p:cNvSpPr txBox="1"/>
          <p:nvPr/>
        </p:nvSpPr>
        <p:spPr>
          <a:xfrm>
            <a:off x="572324" y="2977514"/>
            <a:ext cx="683218" cy="584775"/>
          </a:xfrm>
          <a:prstGeom prst="rect">
            <a:avLst/>
          </a:prstGeom>
          <a:noFill/>
        </p:spPr>
        <p:txBody>
          <a:bodyPr wrap="square" rtlCol="0">
            <a:spAutoFit/>
          </a:bodyPr>
          <a:lstStyle/>
          <a:p>
            <a:r>
              <a:rPr lang="fr-FR" sz="3200" b="1" dirty="0">
                <a:solidFill>
                  <a:srgbClr val="FF0000"/>
                </a:solidFill>
              </a:rPr>
              <a:t>C</a:t>
            </a:r>
          </a:p>
        </p:txBody>
      </p:sp>
      <p:graphicFrame>
        <p:nvGraphicFramePr>
          <p:cNvPr id="10"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1" name="Rectangle 10"/>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
        <p:nvSpPr>
          <p:cNvPr id="13" name="Rectangle 12"/>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75659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3"/>
                                        </p:tgtEl>
                                        <p:attrNameLst>
                                          <p:attrName>style.color</p:attrName>
                                        </p:attrNameLst>
                                      </p:cBhvr>
                                      <p:by>
                                        <p:hsl h="0" s="-12549" l="-25098"/>
                                      </p:by>
                                    </p:animClr>
                                    <p:animClr clrSpc="hsl" dir="cw">
                                      <p:cBhvr>
                                        <p:cTn id="7" dur="500" fill="hold"/>
                                        <p:tgtEl>
                                          <p:spTgt spid="13"/>
                                        </p:tgtEl>
                                        <p:attrNameLst>
                                          <p:attrName>fillcolor</p:attrName>
                                        </p:attrNameLst>
                                      </p:cBhvr>
                                      <p:by>
                                        <p:hsl h="0" s="-12549" l="-25098"/>
                                      </p:by>
                                    </p:animClr>
                                    <p:animClr clrSpc="hsl" dir="cw">
                                      <p:cBhvr>
                                        <p:cTn id="8" dur="500" fill="hold"/>
                                        <p:tgtEl>
                                          <p:spTgt spid="13"/>
                                        </p:tgtEl>
                                        <p:attrNameLst>
                                          <p:attrName>stroke.color</p:attrName>
                                        </p:attrNameLst>
                                      </p:cBhvr>
                                      <p:by>
                                        <p:hsl h="0" s="-12549" l="-25098"/>
                                      </p:by>
                                    </p:animClr>
                                    <p:set>
                                      <p:cBhvr>
                                        <p:cTn id="9" dur="500" fill="hold"/>
                                        <p:tgtEl>
                                          <p:spTgt spid="1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0188" y="1378816"/>
            <a:ext cx="7083743" cy="838200"/>
          </a:xfrm>
        </p:spPr>
        <p:txBody>
          <a:bodyPr>
            <a:normAutofit fontScale="90000"/>
          </a:bodyPr>
          <a:lstStyle/>
          <a:p>
            <a:r>
              <a:rPr lang="fr-FR" sz="4800" dirty="0"/>
              <a:t>(avant / après) </a:t>
            </a:r>
          </a:p>
        </p:txBody>
      </p:sp>
      <p:sp>
        <p:nvSpPr>
          <p:cNvPr id="4" name="ZoneTexte 3"/>
          <p:cNvSpPr txBox="1"/>
          <p:nvPr/>
        </p:nvSpPr>
        <p:spPr>
          <a:xfrm>
            <a:off x="293699" y="4613693"/>
            <a:ext cx="5728884" cy="2031325"/>
          </a:xfrm>
          <a:prstGeom prst="rect">
            <a:avLst/>
          </a:prstGeom>
          <a:noFill/>
          <a:ln>
            <a:solidFill>
              <a:schemeClr val="bg2">
                <a:lumMod val="75000"/>
              </a:schemeClr>
            </a:solidFill>
          </a:ln>
        </p:spPr>
        <p:txBody>
          <a:bodyPr wrap="square" rtlCol="0">
            <a:spAutoFit/>
          </a:bodyPr>
          <a:lstStyle/>
          <a:p>
            <a:r>
              <a:rPr lang="fr-FR" sz="1400" dirty="0"/>
              <a:t>1- Suivi pour n’est pas partagé avec les fournisseurs  </a:t>
            </a:r>
          </a:p>
          <a:p>
            <a:r>
              <a:rPr lang="fr-FR" sz="1400" dirty="0"/>
              <a:t>2- Le but de suivi est de faire des plans d’actions   </a:t>
            </a:r>
          </a:p>
          <a:p>
            <a:r>
              <a:rPr lang="fr-FR" sz="1400" dirty="0"/>
              <a:t>3- la subjectivité de la notation d’évaluation (bon ,pas bon) </a:t>
            </a:r>
          </a:p>
          <a:p>
            <a:r>
              <a:rPr lang="fr-FR" sz="1400" dirty="0"/>
              <a:t>4- Les critères ne répondent pas parfaitement ou complètement  à la stratégie et la vision de l’</a:t>
            </a:r>
            <a:r>
              <a:rPr lang="fr-FR" sz="1400" dirty="0" err="1"/>
              <a:t>entrepise</a:t>
            </a:r>
            <a:r>
              <a:rPr lang="fr-FR" sz="1400" dirty="0"/>
              <a:t> </a:t>
            </a:r>
          </a:p>
          <a:p>
            <a:r>
              <a:rPr lang="fr-FR" sz="1400" dirty="0"/>
              <a:t>5- les indicateurs doivent être SMART</a:t>
            </a:r>
          </a:p>
          <a:p>
            <a:r>
              <a:rPr lang="fr-FR" sz="1400" dirty="0"/>
              <a:t>7- Les chefs de demandeurs négligent cette étape,</a:t>
            </a:r>
          </a:p>
          <a:p>
            <a:r>
              <a:rPr lang="fr-FR" sz="1400" dirty="0"/>
              <a:t>8- Les critères ne permet pas de visualiser l’évolution des frs, pénalise autres frs.   </a:t>
            </a: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585" t="23245" r="1442" b="26126"/>
          <a:stretch/>
        </p:blipFill>
        <p:spPr bwMode="auto">
          <a:xfrm>
            <a:off x="836612" y="2133600"/>
            <a:ext cx="4752559" cy="22347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0369" t="23565" r="17977" b="11783"/>
          <a:stretch/>
        </p:blipFill>
        <p:spPr bwMode="auto">
          <a:xfrm>
            <a:off x="6022583" y="1460837"/>
            <a:ext cx="6019800" cy="2971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ZoneTexte 6"/>
          <p:cNvSpPr txBox="1"/>
          <p:nvPr/>
        </p:nvSpPr>
        <p:spPr>
          <a:xfrm>
            <a:off x="6056031" y="4493499"/>
            <a:ext cx="6399213" cy="2031325"/>
          </a:xfrm>
          <a:prstGeom prst="rect">
            <a:avLst/>
          </a:prstGeom>
          <a:noFill/>
        </p:spPr>
        <p:txBody>
          <a:bodyPr wrap="square" rtlCol="0">
            <a:spAutoFit/>
          </a:bodyPr>
          <a:lstStyle/>
          <a:p>
            <a:r>
              <a:rPr lang="fr-FR" sz="1800" dirty="0"/>
              <a:t>1- permet de visualiser sur quoi agir précisément le plan d’action, </a:t>
            </a:r>
          </a:p>
          <a:p>
            <a:r>
              <a:rPr lang="fr-FR" sz="1800" dirty="0"/>
              <a:t>2- L’objectivité des critères d’évaluation, </a:t>
            </a:r>
          </a:p>
          <a:p>
            <a:r>
              <a:rPr lang="fr-FR" sz="1800" dirty="0"/>
              <a:t>3- indicateur qui répondent à la stratégie, </a:t>
            </a:r>
          </a:p>
          <a:p>
            <a:r>
              <a:rPr lang="fr-FR" sz="1800" dirty="0"/>
              <a:t>4- Préciser la fréquence</a:t>
            </a:r>
          </a:p>
          <a:p>
            <a:r>
              <a:rPr lang="fr-FR" sz="1800" dirty="0"/>
              <a:t>5- Les chefs de département </a:t>
            </a:r>
          </a:p>
          <a:p>
            <a:r>
              <a:rPr lang="fr-FR" sz="1800" dirty="0"/>
              <a:t>6- Piloter l’évolution de la performance fournisseurs.  </a:t>
            </a:r>
          </a:p>
        </p:txBody>
      </p:sp>
      <p:sp>
        <p:nvSpPr>
          <p:cNvPr id="3" name="Espace réservé du numéro de diapositive 2"/>
          <p:cNvSpPr>
            <a:spLocks noGrp="1"/>
          </p:cNvSpPr>
          <p:nvPr>
            <p:ph type="sldNum" sz="quarter" idx="12"/>
          </p:nvPr>
        </p:nvSpPr>
        <p:spPr/>
        <p:txBody>
          <a:bodyPr/>
          <a:lstStyle/>
          <a:p>
            <a:fld id="{C2F52289-4012-4053-9770-FE82CEB9514F}" type="slidenum">
              <a:rPr lang="en-US" smtClean="0"/>
              <a:pPr/>
              <a:t>36</a:t>
            </a:fld>
            <a:endParaRPr lang="en-US"/>
          </a:p>
        </p:txBody>
      </p:sp>
      <p:graphicFrame>
        <p:nvGraphicFramePr>
          <p:cNvPr id="9"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3010"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27379" t="34635" r="62811" b="42342"/>
          <a:stretch/>
        </p:blipFill>
        <p:spPr bwMode="auto">
          <a:xfrm>
            <a:off x="-20638" y="1306121"/>
            <a:ext cx="1276350" cy="1364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spTree>
    <p:extLst>
      <p:ext uri="{BB962C8B-B14F-4D97-AF65-F5344CB8AC3E}">
        <p14:creationId xmlns:p14="http://schemas.microsoft.com/office/powerpoint/2010/main" val="384609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additive="base">
                                        <p:cTn id="14" dur="500" fill="hold"/>
                                        <p:tgtEl>
                                          <p:spTgt spid="7"/>
                                        </p:tgtEl>
                                        <p:attrNameLst>
                                          <p:attrName>ppt_x</p:attrName>
                                        </p:attrNameLst>
                                      </p:cBhvr>
                                      <p:tavLst>
                                        <p:tav tm="0">
                                          <p:val>
                                            <p:strVal val="#ppt_x"/>
                                          </p:val>
                                        </p:tav>
                                        <p:tav tm="100000">
                                          <p:val>
                                            <p:strVal val="#ppt_x"/>
                                          </p:val>
                                        </p:tav>
                                      </p:tavLst>
                                    </p:anim>
                                    <p:anim calcmode="lin" valueType="num">
                                      <p:cBhvr additive="base">
                                        <p:cTn id="15"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9412" y="1359766"/>
            <a:ext cx="10969943" cy="1143000"/>
          </a:xfrm>
        </p:spPr>
        <p:txBody>
          <a:bodyPr/>
          <a:lstStyle/>
          <a:p>
            <a:r>
              <a:rPr lang="fr-FR" dirty="0" err="1"/>
              <a:t>Before</a:t>
            </a:r>
            <a:r>
              <a:rPr lang="fr-FR" dirty="0"/>
              <a:t> / </a:t>
            </a:r>
            <a:r>
              <a:rPr lang="fr-FR" dirty="0" err="1"/>
              <a:t>after</a:t>
            </a:r>
            <a:r>
              <a:rPr lang="fr-FR" dirty="0"/>
              <a:t> </a:t>
            </a:r>
          </a:p>
        </p:txBody>
      </p:sp>
      <p:sp>
        <p:nvSpPr>
          <p:cNvPr id="4" name="Espace réservé du numéro de diapositive 3"/>
          <p:cNvSpPr>
            <a:spLocks noGrp="1"/>
          </p:cNvSpPr>
          <p:nvPr>
            <p:ph type="sldNum" sz="quarter" idx="12"/>
          </p:nvPr>
        </p:nvSpPr>
        <p:spPr/>
        <p:txBody>
          <a:bodyPr/>
          <a:lstStyle/>
          <a:p>
            <a:fld id="{C2F52289-4012-4053-9770-FE82CEB9514F}" type="slidenum">
              <a:rPr lang="en-US" smtClean="0"/>
              <a:pPr/>
              <a:t>37</a:t>
            </a:fld>
            <a:endParaRPr lang="en-US"/>
          </a:p>
        </p:txBody>
      </p:sp>
      <p:graphicFrame>
        <p:nvGraphicFramePr>
          <p:cNvPr id="5" name="Graphique 4"/>
          <p:cNvGraphicFramePr>
            <a:graphicFrameLocks/>
          </p:cNvGraphicFramePr>
          <p:nvPr>
            <p:extLst>
              <p:ext uri="{D42A27DB-BD31-4B8C-83A1-F6EECF244321}">
                <p14:modId xmlns:p14="http://schemas.microsoft.com/office/powerpoint/2010/main" val="815529150"/>
              </p:ext>
            </p:extLst>
          </p:nvPr>
        </p:nvGraphicFramePr>
        <p:xfrm>
          <a:off x="75039" y="2438400"/>
          <a:ext cx="5103812" cy="5410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Espace réservé du contenu 5"/>
          <p:cNvGraphicFramePr>
            <a:graphicFrameLocks noGrp="1"/>
          </p:cNvGraphicFramePr>
          <p:nvPr>
            <p:ph idx="1"/>
            <p:extLst>
              <p:ext uri="{D42A27DB-BD31-4B8C-83A1-F6EECF244321}">
                <p14:modId xmlns:p14="http://schemas.microsoft.com/office/powerpoint/2010/main" val="3795837870"/>
              </p:ext>
            </p:extLst>
          </p:nvPr>
        </p:nvGraphicFramePr>
        <p:xfrm>
          <a:off x="5408612" y="2057400"/>
          <a:ext cx="6170613"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blématique </a:t>
            </a:r>
          </a:p>
        </p:txBody>
      </p:sp>
      <p:graphicFrame>
        <p:nvGraphicFramePr>
          <p:cNvPr id="9" name="Diagramme 54"/>
          <p:cNvGraphicFramePr/>
          <p:nvPr>
            <p:extLst>
              <p:ext uri="{D42A27DB-BD31-4B8C-83A1-F6EECF244321}">
                <p14:modId xmlns:p14="http://schemas.microsoft.com/office/powerpoint/2010/main" val="51049298"/>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44"/>
          <p:cNvPicPr>
            <a:picLocks noChangeAspect="1" noChangeArrowheads="1"/>
          </p:cNvPicPr>
          <p:nvPr/>
        </p:nvPicPr>
        <p:blipFill>
          <a:blip r:embed="rId9" cstate="print"/>
          <a:srcRect/>
          <a:stretch>
            <a:fillRect/>
          </a:stretch>
        </p:blipFill>
        <p:spPr bwMode="auto">
          <a:xfrm>
            <a:off x="-230187" y="1435966"/>
            <a:ext cx="1523999" cy="1447800"/>
          </a:xfrm>
          <a:prstGeom prst="rect">
            <a:avLst/>
          </a:prstGeom>
          <a:noFill/>
          <a:ln w="9525">
            <a:noFill/>
            <a:miter lim="800000"/>
            <a:headEnd/>
            <a:tailEnd/>
          </a:ln>
        </p:spPr>
      </p:pic>
      <p:sp>
        <p:nvSpPr>
          <p:cNvPr id="11" name="Rectangle 10"/>
          <p:cNvSpPr/>
          <p:nvPr/>
        </p:nvSpPr>
        <p:spPr>
          <a:xfrm>
            <a:off x="6475412" y="60585"/>
            <a:ext cx="2345736" cy="549015"/>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3879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293812" y="609600"/>
            <a:ext cx="9141619" cy="897308"/>
          </a:xfrm>
        </p:spPr>
        <p:txBody>
          <a:bodyPr>
            <a:normAutofit fontScale="90000"/>
          </a:bodyPr>
          <a:lstStyle/>
          <a:p>
            <a:r>
              <a:rPr lang="fr-FR" dirty="0"/>
              <a:t>Conclusion </a:t>
            </a: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38</a:t>
            </a:fld>
            <a:endParaRPr lang="id-ID"/>
          </a:p>
        </p:txBody>
      </p:sp>
      <p:graphicFrame>
        <p:nvGraphicFramePr>
          <p:cNvPr id="5" name="Diagramme 4"/>
          <p:cNvGraphicFramePr/>
          <p:nvPr>
            <p:extLst>
              <p:ext uri="{D42A27DB-BD31-4B8C-83A1-F6EECF244321}">
                <p14:modId xmlns:p14="http://schemas.microsoft.com/office/powerpoint/2010/main" val="3538548158"/>
              </p:ext>
            </p:extLst>
          </p:nvPr>
        </p:nvGraphicFramePr>
        <p:xfrm>
          <a:off x="2066973" y="1353420"/>
          <a:ext cx="8948984" cy="5003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ZoneTexte 5"/>
          <p:cNvSpPr txBox="1"/>
          <p:nvPr/>
        </p:nvSpPr>
        <p:spPr>
          <a:xfrm>
            <a:off x="2208212" y="2566489"/>
            <a:ext cx="1985938" cy="523220"/>
          </a:xfrm>
          <a:prstGeom prst="rect">
            <a:avLst/>
          </a:prstGeom>
          <a:noFill/>
        </p:spPr>
        <p:txBody>
          <a:bodyPr wrap="square" rtlCol="0">
            <a:spAutoFit/>
          </a:bodyPr>
          <a:lstStyle/>
          <a:p>
            <a:pPr algn="ctr">
              <a:spcBef>
                <a:spcPct val="50000"/>
              </a:spcBef>
            </a:pPr>
            <a:r>
              <a:rPr kumimoji="1" lang="fr-FR" sz="2800" b="1" dirty="0">
                <a:solidFill>
                  <a:schemeClr val="tx1">
                    <a:lumMod val="85000"/>
                    <a:lumOff val="15000"/>
                  </a:schemeClr>
                </a:solidFill>
                <a:latin typeface="Calibri" pitchFamily="34" charset="0"/>
              </a:rPr>
              <a:t>Réalisations</a:t>
            </a:r>
          </a:p>
        </p:txBody>
      </p:sp>
      <p:sp>
        <p:nvSpPr>
          <p:cNvPr id="7" name="ZoneTexte 6"/>
          <p:cNvSpPr txBox="1"/>
          <p:nvPr/>
        </p:nvSpPr>
        <p:spPr>
          <a:xfrm>
            <a:off x="5051911" y="1762586"/>
            <a:ext cx="2175074" cy="954107"/>
          </a:xfrm>
          <a:prstGeom prst="rect">
            <a:avLst/>
          </a:prstGeom>
          <a:noFill/>
        </p:spPr>
        <p:txBody>
          <a:bodyPr wrap="square" rtlCol="0">
            <a:spAutoFit/>
          </a:bodyPr>
          <a:lstStyle/>
          <a:p>
            <a:pPr algn="ctr"/>
            <a:r>
              <a:rPr kumimoji="1" lang="fr-FR" sz="2800" b="1" dirty="0">
                <a:solidFill>
                  <a:schemeClr val="tx1">
                    <a:lumMod val="85000"/>
                    <a:lumOff val="15000"/>
                  </a:schemeClr>
                </a:solidFill>
                <a:latin typeface="Calibri" pitchFamily="34" charset="0"/>
              </a:rPr>
              <a:t>Facteurs clés de succès</a:t>
            </a:r>
          </a:p>
        </p:txBody>
      </p:sp>
      <p:sp>
        <p:nvSpPr>
          <p:cNvPr id="8" name="ZoneTexte 7"/>
          <p:cNvSpPr txBox="1"/>
          <p:nvPr/>
        </p:nvSpPr>
        <p:spPr>
          <a:xfrm>
            <a:off x="8003414" y="1430516"/>
            <a:ext cx="2884335" cy="523220"/>
          </a:xfrm>
          <a:prstGeom prst="rect">
            <a:avLst/>
          </a:prstGeom>
          <a:noFill/>
        </p:spPr>
        <p:txBody>
          <a:bodyPr wrap="square" rtlCol="0">
            <a:spAutoFit/>
          </a:bodyPr>
          <a:lstStyle/>
          <a:p>
            <a:r>
              <a:rPr kumimoji="1" lang="fr-FR" sz="2800" b="1" dirty="0">
                <a:solidFill>
                  <a:schemeClr val="tx1">
                    <a:lumMod val="85000"/>
                    <a:lumOff val="15000"/>
                  </a:schemeClr>
                </a:solidFill>
                <a:latin typeface="Calibri" pitchFamily="34" charset="0"/>
              </a:rPr>
              <a:t>Acquis personnels</a:t>
            </a:r>
          </a:p>
        </p:txBody>
      </p:sp>
      <p:graphicFrame>
        <p:nvGraphicFramePr>
          <p:cNvPr id="10" name="Diagramme 54"/>
          <p:cNvGraphicFramePr/>
          <p:nvPr>
            <p:extLst>
              <p:ext uri="{D42A27DB-BD31-4B8C-83A1-F6EECF244321}">
                <p14:modId xmlns:p14="http://schemas.microsoft.com/office/powerpoint/2010/main" val="1877688533"/>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Rectangle 10"/>
          <p:cNvSpPr/>
          <p:nvPr/>
        </p:nvSpPr>
        <p:spPr>
          <a:xfrm>
            <a:off x="9843089" y="60585"/>
            <a:ext cx="2345736" cy="549015"/>
          </a:xfrm>
          <a:prstGeom prst="rect">
            <a:avLst/>
          </a:prstGeom>
          <a:solidFill>
            <a:schemeClr val="accent1">
              <a:alpha val="18000"/>
            </a:schemeClr>
          </a:solid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400" dirty="0"/>
          </a:p>
        </p:txBody>
      </p:sp>
    </p:spTree>
    <p:extLst>
      <p:ext uri="{BB962C8B-B14F-4D97-AF65-F5344CB8AC3E}">
        <p14:creationId xmlns:p14="http://schemas.microsoft.com/office/powerpoint/2010/main" val="3562539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24" presetClass="emph" presetSubtype="0" fill="hold" grpId="0" nodeType="withEffect">
                                  <p:stCondLst>
                                    <p:cond delay="0"/>
                                  </p:stCondLst>
                                  <p:childTnLst>
                                    <p:animClr clrSpc="hsl" dir="cw">
                                      <p:cBhvr override="childStyle">
                                        <p:cTn id="26" dur="500" fill="hold"/>
                                        <p:tgtEl>
                                          <p:spTgt spid="11"/>
                                        </p:tgtEl>
                                        <p:attrNameLst>
                                          <p:attrName>style.color</p:attrName>
                                        </p:attrNameLst>
                                      </p:cBhvr>
                                      <p:by>
                                        <p:hsl h="0" s="-12549" l="-25098"/>
                                      </p:by>
                                    </p:animClr>
                                    <p:animClr clrSpc="hsl" dir="cw">
                                      <p:cBhvr>
                                        <p:cTn id="27" dur="500" fill="hold"/>
                                        <p:tgtEl>
                                          <p:spTgt spid="11"/>
                                        </p:tgtEl>
                                        <p:attrNameLst>
                                          <p:attrName>fillcolor</p:attrName>
                                        </p:attrNameLst>
                                      </p:cBhvr>
                                      <p:by>
                                        <p:hsl h="0" s="-12549" l="-25098"/>
                                      </p:by>
                                    </p:animClr>
                                    <p:animClr clrSpc="hsl" dir="cw">
                                      <p:cBhvr>
                                        <p:cTn id="28" dur="500" fill="hold"/>
                                        <p:tgtEl>
                                          <p:spTgt spid="11"/>
                                        </p:tgtEl>
                                        <p:attrNameLst>
                                          <p:attrName>stroke.color</p:attrName>
                                        </p:attrNameLst>
                                      </p:cBhvr>
                                      <p:by>
                                        <p:hsl h="0" s="-12549" l="-25098"/>
                                      </p:by>
                                    </p:animClr>
                                    <p:set>
                                      <p:cBhvr>
                                        <p:cTn id="29" dur="500" fill="hold"/>
                                        <p:tgtEl>
                                          <p:spTgt spid="1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P spid="7" grpId="0"/>
      <p:bldP spid="8" grpId="0"/>
      <p:bldP spid="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306388" y="0"/>
            <a:ext cx="12725400" cy="7171194"/>
          </a:xfrm>
          <a:prstGeom prst="rect">
            <a:avLst/>
          </a:prstGeom>
          <a:solidFill>
            <a:schemeClr val="accent1">
              <a:lumMod val="20000"/>
              <a:lumOff val="80000"/>
            </a:schemeClr>
          </a:solidFill>
        </p:spPr>
        <p:txBody>
          <a:bodyPr wrap="square" rtlCol="0">
            <a:spAutoFit/>
          </a:bodyPr>
          <a:lstStyle/>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p:txBody>
      </p:sp>
      <p:sp>
        <p:nvSpPr>
          <p:cNvPr id="2" name="TextBox 1"/>
          <p:cNvSpPr txBox="1"/>
          <p:nvPr/>
        </p:nvSpPr>
        <p:spPr>
          <a:xfrm>
            <a:off x="3568820" y="2978647"/>
            <a:ext cx="5097478" cy="646331"/>
          </a:xfrm>
          <a:prstGeom prst="rect">
            <a:avLst/>
          </a:prstGeom>
          <a:noFill/>
        </p:spPr>
        <p:txBody>
          <a:bodyPr wrap="square" rtlCol="0">
            <a:spAutoFit/>
          </a:bodyPr>
          <a:lstStyle/>
          <a:p>
            <a:pPr algn="ctr"/>
            <a:r>
              <a:rPr lang="en-US" sz="3600" b="1" i="1" spc="-300" dirty="0">
                <a:solidFill>
                  <a:schemeClr val="tx1">
                    <a:lumMod val="65000"/>
                    <a:lumOff val="35000"/>
                  </a:schemeClr>
                </a:solidFill>
                <a:latin typeface="Source Sans Pro" pitchFamily="34" charset="0"/>
              </a:rPr>
              <a:t>Merci pour </a:t>
            </a:r>
            <a:r>
              <a:rPr lang="en-US" sz="3600" b="1" i="1" spc="-300" dirty="0" err="1">
                <a:solidFill>
                  <a:schemeClr val="tx1">
                    <a:lumMod val="65000"/>
                    <a:lumOff val="35000"/>
                  </a:schemeClr>
                </a:solidFill>
                <a:latin typeface="Source Sans Pro" pitchFamily="34" charset="0"/>
              </a:rPr>
              <a:t>votre</a:t>
            </a:r>
            <a:r>
              <a:rPr lang="en-US" sz="3600" b="1" i="1" spc="-300" dirty="0">
                <a:solidFill>
                  <a:schemeClr val="tx1">
                    <a:lumMod val="65000"/>
                    <a:lumOff val="35000"/>
                  </a:schemeClr>
                </a:solidFill>
                <a:latin typeface="Source Sans Pro" pitchFamily="34" charset="0"/>
              </a:rPr>
              <a:t> attention</a:t>
            </a:r>
            <a:endParaRPr lang="en-US" sz="3600" i="1" spc="-300" dirty="0">
              <a:solidFill>
                <a:schemeClr val="tx1">
                  <a:lumMod val="65000"/>
                  <a:lumOff val="35000"/>
                </a:schemeClr>
              </a:solidFill>
              <a:latin typeface="Source Sans Pro" pitchFamily="34" charset="0"/>
            </a:endParaRPr>
          </a:p>
        </p:txBody>
      </p:sp>
      <p:sp>
        <p:nvSpPr>
          <p:cNvPr id="3" name="Rectangle 2"/>
          <p:cNvSpPr/>
          <p:nvPr/>
        </p:nvSpPr>
        <p:spPr>
          <a:xfrm>
            <a:off x="5519358" y="2893595"/>
            <a:ext cx="398801" cy="52839"/>
          </a:xfrm>
          <a:prstGeom prst="rect">
            <a:avLst/>
          </a:prstGeom>
          <a:solidFill>
            <a:srgbClr val="9535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4" name="Rectangle 3"/>
          <p:cNvSpPr/>
          <p:nvPr/>
        </p:nvSpPr>
        <p:spPr>
          <a:xfrm>
            <a:off x="5120557" y="2893595"/>
            <a:ext cx="398801" cy="52839"/>
          </a:xfrm>
          <a:prstGeom prst="rect">
            <a:avLst/>
          </a:prstGeom>
          <a:solidFill>
            <a:srgbClr val="C62A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5" name="Rectangle 4"/>
          <p:cNvSpPr/>
          <p:nvPr/>
        </p:nvSpPr>
        <p:spPr>
          <a:xfrm>
            <a:off x="6316960" y="2893595"/>
            <a:ext cx="398801" cy="52839"/>
          </a:xfrm>
          <a:prstGeom prst="rect">
            <a:avLst/>
          </a:prstGeom>
          <a:solidFill>
            <a:srgbClr val="36A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6" name="Rectangle 5"/>
          <p:cNvSpPr/>
          <p:nvPr/>
        </p:nvSpPr>
        <p:spPr>
          <a:xfrm>
            <a:off x="5918160" y="2893595"/>
            <a:ext cx="398801" cy="52839"/>
          </a:xfrm>
          <a:prstGeom prst="rect">
            <a:avLst/>
          </a:prstGeom>
          <a:solidFill>
            <a:srgbClr val="E671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7" name="Rectangle 6"/>
          <p:cNvSpPr/>
          <p:nvPr/>
        </p:nvSpPr>
        <p:spPr>
          <a:xfrm>
            <a:off x="6715762" y="2893595"/>
            <a:ext cx="398801" cy="52839"/>
          </a:xfrm>
          <a:prstGeom prst="rect">
            <a:avLst/>
          </a:prstGeom>
          <a:solidFill>
            <a:srgbClr val="285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8" name="Rectangle 7"/>
          <p:cNvSpPr/>
          <p:nvPr/>
        </p:nvSpPr>
        <p:spPr>
          <a:xfrm>
            <a:off x="5519358" y="3757162"/>
            <a:ext cx="398801" cy="52839"/>
          </a:xfrm>
          <a:prstGeom prst="rect">
            <a:avLst/>
          </a:prstGeom>
          <a:solidFill>
            <a:srgbClr val="9535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9" name="Rectangle 8"/>
          <p:cNvSpPr/>
          <p:nvPr/>
        </p:nvSpPr>
        <p:spPr>
          <a:xfrm>
            <a:off x="5120557" y="3757162"/>
            <a:ext cx="398801" cy="52839"/>
          </a:xfrm>
          <a:prstGeom prst="rect">
            <a:avLst/>
          </a:prstGeom>
          <a:solidFill>
            <a:srgbClr val="C62A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10" name="Rectangle 9"/>
          <p:cNvSpPr/>
          <p:nvPr/>
        </p:nvSpPr>
        <p:spPr>
          <a:xfrm>
            <a:off x="6316960" y="3757162"/>
            <a:ext cx="398801" cy="52839"/>
          </a:xfrm>
          <a:prstGeom prst="rect">
            <a:avLst/>
          </a:prstGeom>
          <a:solidFill>
            <a:srgbClr val="36A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11" name="Rectangle 10"/>
          <p:cNvSpPr/>
          <p:nvPr/>
        </p:nvSpPr>
        <p:spPr>
          <a:xfrm>
            <a:off x="5918160" y="3757162"/>
            <a:ext cx="398801" cy="52839"/>
          </a:xfrm>
          <a:prstGeom prst="rect">
            <a:avLst/>
          </a:prstGeom>
          <a:solidFill>
            <a:srgbClr val="E671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
        <p:nvSpPr>
          <p:cNvPr id="12" name="Rectangle 11"/>
          <p:cNvSpPr/>
          <p:nvPr/>
        </p:nvSpPr>
        <p:spPr>
          <a:xfrm>
            <a:off x="6715762" y="3757162"/>
            <a:ext cx="398801" cy="52839"/>
          </a:xfrm>
          <a:prstGeom prst="rect">
            <a:avLst/>
          </a:prstGeom>
          <a:solidFill>
            <a:srgbClr val="285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Source Sans Pro" pitchFamily="34" charset="0"/>
            </a:endParaRPr>
          </a:p>
        </p:txBody>
      </p:sp>
    </p:spTree>
    <p:extLst>
      <p:ext uri="{BB962C8B-B14F-4D97-AF65-F5344CB8AC3E}">
        <p14:creationId xmlns:p14="http://schemas.microsoft.com/office/powerpoint/2010/main" val="20058486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iterate type="lt">
                                    <p:tmPct val="10000"/>
                                  </p:iterate>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75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75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750" fill="hold"/>
                                        <p:tgtEl>
                                          <p:spTgt spid="3"/>
                                        </p:tgtEl>
                                        <p:attrNameLst>
                                          <p:attrName>ppt_x</p:attrName>
                                        </p:attrNameLst>
                                      </p:cBhvr>
                                      <p:tavLst>
                                        <p:tav tm="0">
                                          <p:val>
                                            <p:strVal val="0-#ppt_w/2"/>
                                          </p:val>
                                        </p:tav>
                                        <p:tav tm="100000">
                                          <p:val>
                                            <p:strVal val="#ppt_x"/>
                                          </p:val>
                                        </p:tav>
                                      </p:tavLst>
                                    </p:anim>
                                    <p:anim calcmode="lin" valueType="num">
                                      <p:cBhvr additive="base">
                                        <p:cTn id="16" dur="750" fill="hold"/>
                                        <p:tgtEl>
                                          <p:spTgt spid="3"/>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750" fill="hold"/>
                                        <p:tgtEl>
                                          <p:spTgt spid="6"/>
                                        </p:tgtEl>
                                        <p:attrNameLst>
                                          <p:attrName>ppt_x</p:attrName>
                                        </p:attrNameLst>
                                      </p:cBhvr>
                                      <p:tavLst>
                                        <p:tav tm="0">
                                          <p:val>
                                            <p:strVal val="0-#ppt_w/2"/>
                                          </p:val>
                                        </p:tav>
                                        <p:tav tm="100000">
                                          <p:val>
                                            <p:strVal val="#ppt_x"/>
                                          </p:val>
                                        </p:tav>
                                      </p:tavLst>
                                    </p:anim>
                                    <p:anim calcmode="lin" valueType="num">
                                      <p:cBhvr additive="base">
                                        <p:cTn id="20" dur="75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75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750" fill="hold"/>
                                        <p:tgtEl>
                                          <p:spTgt spid="5"/>
                                        </p:tgtEl>
                                        <p:attrNameLst>
                                          <p:attrName>ppt_x</p:attrName>
                                        </p:attrNameLst>
                                      </p:cBhvr>
                                      <p:tavLst>
                                        <p:tav tm="0">
                                          <p:val>
                                            <p:strVal val="0-#ppt_w/2"/>
                                          </p:val>
                                        </p:tav>
                                        <p:tav tm="100000">
                                          <p:val>
                                            <p:strVal val="#ppt_x"/>
                                          </p:val>
                                        </p:tav>
                                      </p:tavLst>
                                    </p:anim>
                                    <p:anim calcmode="lin" valueType="num">
                                      <p:cBhvr additive="base">
                                        <p:cTn id="24" dur="75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0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750" fill="hold"/>
                                        <p:tgtEl>
                                          <p:spTgt spid="7"/>
                                        </p:tgtEl>
                                        <p:attrNameLst>
                                          <p:attrName>ppt_x</p:attrName>
                                        </p:attrNameLst>
                                      </p:cBhvr>
                                      <p:tavLst>
                                        <p:tav tm="0">
                                          <p:val>
                                            <p:strVal val="0-#ppt_w/2"/>
                                          </p:val>
                                        </p:tav>
                                        <p:tav tm="100000">
                                          <p:val>
                                            <p:strVal val="#ppt_x"/>
                                          </p:val>
                                        </p:tav>
                                      </p:tavLst>
                                    </p:anim>
                                    <p:anim calcmode="lin" valueType="num">
                                      <p:cBhvr additive="base">
                                        <p:cTn id="28" dur="75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6" decel="10000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750" fill="hold"/>
                                        <p:tgtEl>
                                          <p:spTgt spid="9"/>
                                        </p:tgtEl>
                                        <p:attrNameLst>
                                          <p:attrName>ppt_x</p:attrName>
                                        </p:attrNameLst>
                                      </p:cBhvr>
                                      <p:tavLst>
                                        <p:tav tm="0">
                                          <p:val>
                                            <p:strVal val="1+#ppt_w/2"/>
                                          </p:val>
                                        </p:tav>
                                        <p:tav tm="100000">
                                          <p:val>
                                            <p:strVal val="#ppt_x"/>
                                          </p:val>
                                        </p:tav>
                                      </p:tavLst>
                                    </p:anim>
                                    <p:anim calcmode="lin" valueType="num">
                                      <p:cBhvr additive="base">
                                        <p:cTn id="32" dur="750" fill="hold"/>
                                        <p:tgtEl>
                                          <p:spTgt spid="9"/>
                                        </p:tgtEl>
                                        <p:attrNameLst>
                                          <p:attrName>ppt_y</p:attrName>
                                        </p:attrNameLst>
                                      </p:cBhvr>
                                      <p:tavLst>
                                        <p:tav tm="0">
                                          <p:val>
                                            <p:strVal val="1+#ppt_h/2"/>
                                          </p:val>
                                        </p:tav>
                                        <p:tav tm="100000">
                                          <p:val>
                                            <p:strVal val="#ppt_y"/>
                                          </p:val>
                                        </p:tav>
                                      </p:tavLst>
                                    </p:anim>
                                  </p:childTnLst>
                                </p:cTn>
                              </p:par>
                              <p:par>
                                <p:cTn id="33" presetID="2" presetClass="entr" presetSubtype="6" decel="100000" fill="hold" grpId="0" nodeType="withEffect">
                                  <p:stCondLst>
                                    <p:cond delay="25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750" fill="hold"/>
                                        <p:tgtEl>
                                          <p:spTgt spid="8"/>
                                        </p:tgtEl>
                                        <p:attrNameLst>
                                          <p:attrName>ppt_x</p:attrName>
                                        </p:attrNameLst>
                                      </p:cBhvr>
                                      <p:tavLst>
                                        <p:tav tm="0">
                                          <p:val>
                                            <p:strVal val="1+#ppt_w/2"/>
                                          </p:val>
                                        </p:tav>
                                        <p:tav tm="100000">
                                          <p:val>
                                            <p:strVal val="#ppt_x"/>
                                          </p:val>
                                        </p:tav>
                                      </p:tavLst>
                                    </p:anim>
                                    <p:anim calcmode="lin" valueType="num">
                                      <p:cBhvr additive="base">
                                        <p:cTn id="36" dur="750" fill="hold"/>
                                        <p:tgtEl>
                                          <p:spTgt spid="8"/>
                                        </p:tgtEl>
                                        <p:attrNameLst>
                                          <p:attrName>ppt_y</p:attrName>
                                        </p:attrNameLst>
                                      </p:cBhvr>
                                      <p:tavLst>
                                        <p:tav tm="0">
                                          <p:val>
                                            <p:strVal val="1+#ppt_h/2"/>
                                          </p:val>
                                        </p:tav>
                                        <p:tav tm="100000">
                                          <p:val>
                                            <p:strVal val="#ppt_y"/>
                                          </p:val>
                                        </p:tav>
                                      </p:tavLst>
                                    </p:anim>
                                  </p:childTnLst>
                                </p:cTn>
                              </p:par>
                              <p:par>
                                <p:cTn id="37" presetID="2" presetClass="entr" presetSubtype="6" decel="100000" fill="hold" grpId="0" nodeType="withEffect">
                                  <p:stCondLst>
                                    <p:cond delay="50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750" fill="hold"/>
                                        <p:tgtEl>
                                          <p:spTgt spid="11"/>
                                        </p:tgtEl>
                                        <p:attrNameLst>
                                          <p:attrName>ppt_x</p:attrName>
                                        </p:attrNameLst>
                                      </p:cBhvr>
                                      <p:tavLst>
                                        <p:tav tm="0">
                                          <p:val>
                                            <p:strVal val="1+#ppt_w/2"/>
                                          </p:val>
                                        </p:tav>
                                        <p:tav tm="100000">
                                          <p:val>
                                            <p:strVal val="#ppt_x"/>
                                          </p:val>
                                        </p:tav>
                                      </p:tavLst>
                                    </p:anim>
                                    <p:anim calcmode="lin" valueType="num">
                                      <p:cBhvr additive="base">
                                        <p:cTn id="40" dur="750" fill="hold"/>
                                        <p:tgtEl>
                                          <p:spTgt spid="11"/>
                                        </p:tgtEl>
                                        <p:attrNameLst>
                                          <p:attrName>ppt_y</p:attrName>
                                        </p:attrNameLst>
                                      </p:cBhvr>
                                      <p:tavLst>
                                        <p:tav tm="0">
                                          <p:val>
                                            <p:strVal val="1+#ppt_h/2"/>
                                          </p:val>
                                        </p:tav>
                                        <p:tav tm="100000">
                                          <p:val>
                                            <p:strVal val="#ppt_y"/>
                                          </p:val>
                                        </p:tav>
                                      </p:tavLst>
                                    </p:anim>
                                  </p:childTnLst>
                                </p:cTn>
                              </p:par>
                              <p:par>
                                <p:cTn id="41" presetID="2" presetClass="entr" presetSubtype="6" decel="100000" fill="hold" grpId="0" nodeType="withEffect">
                                  <p:stCondLst>
                                    <p:cond delay="75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750" fill="hold"/>
                                        <p:tgtEl>
                                          <p:spTgt spid="10"/>
                                        </p:tgtEl>
                                        <p:attrNameLst>
                                          <p:attrName>ppt_x</p:attrName>
                                        </p:attrNameLst>
                                      </p:cBhvr>
                                      <p:tavLst>
                                        <p:tav tm="0">
                                          <p:val>
                                            <p:strVal val="1+#ppt_w/2"/>
                                          </p:val>
                                        </p:tav>
                                        <p:tav tm="100000">
                                          <p:val>
                                            <p:strVal val="#ppt_x"/>
                                          </p:val>
                                        </p:tav>
                                      </p:tavLst>
                                    </p:anim>
                                    <p:anim calcmode="lin" valueType="num">
                                      <p:cBhvr additive="base">
                                        <p:cTn id="44" dur="750" fill="hold"/>
                                        <p:tgtEl>
                                          <p:spTgt spid="10"/>
                                        </p:tgtEl>
                                        <p:attrNameLst>
                                          <p:attrName>ppt_y</p:attrName>
                                        </p:attrNameLst>
                                      </p:cBhvr>
                                      <p:tavLst>
                                        <p:tav tm="0">
                                          <p:val>
                                            <p:strVal val="1+#ppt_h/2"/>
                                          </p:val>
                                        </p:tav>
                                        <p:tav tm="100000">
                                          <p:val>
                                            <p:strVal val="#ppt_y"/>
                                          </p:val>
                                        </p:tav>
                                      </p:tavLst>
                                    </p:anim>
                                  </p:childTnLst>
                                </p:cTn>
                              </p:par>
                              <p:par>
                                <p:cTn id="45" presetID="2" presetClass="entr" presetSubtype="6" decel="100000" fill="hold" grpId="0" nodeType="withEffect">
                                  <p:stCondLst>
                                    <p:cond delay="100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750" fill="hold"/>
                                        <p:tgtEl>
                                          <p:spTgt spid="12"/>
                                        </p:tgtEl>
                                        <p:attrNameLst>
                                          <p:attrName>ppt_x</p:attrName>
                                        </p:attrNameLst>
                                      </p:cBhvr>
                                      <p:tavLst>
                                        <p:tav tm="0">
                                          <p:val>
                                            <p:strVal val="1+#ppt_w/2"/>
                                          </p:val>
                                        </p:tav>
                                        <p:tav tm="100000">
                                          <p:val>
                                            <p:strVal val="#ppt_x"/>
                                          </p:val>
                                        </p:tav>
                                      </p:tavLst>
                                    </p:anim>
                                    <p:anim calcmode="lin" valueType="num">
                                      <p:cBhvr additive="base">
                                        <p:cTn id="48" dur="75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a:grpSpLocks noChangeAspect="1"/>
          </p:cNvGrpSpPr>
          <p:nvPr/>
        </p:nvGrpSpPr>
        <p:grpSpPr bwMode="auto">
          <a:xfrm>
            <a:off x="1878809" y="2120922"/>
            <a:ext cx="711015" cy="711015"/>
            <a:chOff x="6560456" y="2515733"/>
            <a:chExt cx="359999" cy="359998"/>
          </a:xfrm>
        </p:grpSpPr>
        <p:sp>
          <p:nvSpPr>
            <p:cNvPr id="17" name="Oval 16"/>
            <p:cNvSpPr/>
            <p:nvPr/>
          </p:nvSpPr>
          <p:spPr>
            <a:xfrm>
              <a:off x="6560456" y="2515733"/>
              <a:ext cx="359999" cy="359998"/>
            </a:xfrm>
            <a:prstGeom prst="ellipse">
              <a:avLst/>
            </a:prstGeom>
            <a:solidFill>
              <a:schemeClr val="accent6"/>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sp>
        <p:grpSp>
          <p:nvGrpSpPr>
            <p:cNvPr id="18" name="Group 17"/>
            <p:cNvGrpSpPr>
              <a:grpSpLocks noChangeAspect="1"/>
            </p:cNvGrpSpPr>
            <p:nvPr/>
          </p:nvGrpSpPr>
          <p:grpSpPr>
            <a:xfrm>
              <a:off x="6653303" y="2610240"/>
              <a:ext cx="174299" cy="177740"/>
              <a:chOff x="7160655" y="2178006"/>
              <a:chExt cx="379359" cy="386846"/>
            </a:xfrm>
            <a:solidFill>
              <a:schemeClr val="bg1">
                <a:lumMod val="95000"/>
              </a:schemeClr>
            </a:solidFill>
          </p:grpSpPr>
          <p:sp>
            <p:nvSpPr>
              <p:cNvPr id="19" name="Freeform 36"/>
              <p:cNvSpPr>
                <a:spLocks noEditPoints="1"/>
              </p:cNvSpPr>
              <p:nvPr/>
            </p:nvSpPr>
            <p:spPr bwMode="auto">
              <a:xfrm>
                <a:off x="7277956" y="2178006"/>
                <a:ext cx="262058" cy="262058"/>
              </a:xfrm>
              <a:custGeom>
                <a:avLst/>
                <a:gdLst>
                  <a:gd name="T0" fmla="*/ 65 w 79"/>
                  <a:gd name="T1" fmla="*/ 14 h 79"/>
                  <a:gd name="T2" fmla="*/ 14 w 79"/>
                  <a:gd name="T3" fmla="*/ 14 h 79"/>
                  <a:gd name="T4" fmla="*/ 11 w 79"/>
                  <a:gd name="T5" fmla="*/ 63 h 79"/>
                  <a:gd name="T6" fmla="*/ 11 w 79"/>
                  <a:gd name="T7" fmla="*/ 63 h 79"/>
                  <a:gd name="T8" fmla="*/ 17 w 79"/>
                  <a:gd name="T9" fmla="*/ 68 h 79"/>
                  <a:gd name="T10" fmla="*/ 64 w 79"/>
                  <a:gd name="T11" fmla="*/ 65 h 79"/>
                  <a:gd name="T12" fmla="*/ 65 w 79"/>
                  <a:gd name="T13" fmla="*/ 14 h 79"/>
                  <a:gd name="T14" fmla="*/ 58 w 79"/>
                  <a:gd name="T15" fmla="*/ 59 h 79"/>
                  <a:gd name="T16" fmla="*/ 20 w 79"/>
                  <a:gd name="T17" fmla="*/ 59 h 79"/>
                  <a:gd name="T18" fmla="*/ 20 w 79"/>
                  <a:gd name="T19" fmla="*/ 21 h 79"/>
                  <a:gd name="T20" fmla="*/ 58 w 79"/>
                  <a:gd name="T21" fmla="*/ 21 h 79"/>
                  <a:gd name="T22" fmla="*/ 58 w 79"/>
                  <a:gd name="T23" fmla="*/ 5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79">
                    <a:moveTo>
                      <a:pt x="65" y="14"/>
                    </a:moveTo>
                    <a:cubicBezTo>
                      <a:pt x="51" y="0"/>
                      <a:pt x="28" y="0"/>
                      <a:pt x="14" y="14"/>
                    </a:cubicBezTo>
                    <a:cubicBezTo>
                      <a:pt x="0" y="28"/>
                      <a:pt x="0" y="49"/>
                      <a:pt x="11" y="63"/>
                    </a:cubicBezTo>
                    <a:cubicBezTo>
                      <a:pt x="11" y="63"/>
                      <a:pt x="11" y="63"/>
                      <a:pt x="11" y="63"/>
                    </a:cubicBezTo>
                    <a:cubicBezTo>
                      <a:pt x="14" y="66"/>
                      <a:pt x="15" y="67"/>
                      <a:pt x="17" y="68"/>
                    </a:cubicBezTo>
                    <a:cubicBezTo>
                      <a:pt x="31" y="79"/>
                      <a:pt x="51" y="78"/>
                      <a:pt x="64" y="65"/>
                    </a:cubicBezTo>
                    <a:cubicBezTo>
                      <a:pt x="78" y="51"/>
                      <a:pt x="79" y="29"/>
                      <a:pt x="65" y="14"/>
                    </a:cubicBezTo>
                    <a:close/>
                    <a:moveTo>
                      <a:pt x="58" y="59"/>
                    </a:moveTo>
                    <a:cubicBezTo>
                      <a:pt x="47" y="69"/>
                      <a:pt x="30" y="69"/>
                      <a:pt x="20" y="59"/>
                    </a:cubicBezTo>
                    <a:cubicBezTo>
                      <a:pt x="9" y="48"/>
                      <a:pt x="9" y="31"/>
                      <a:pt x="20" y="21"/>
                    </a:cubicBezTo>
                    <a:cubicBezTo>
                      <a:pt x="31" y="10"/>
                      <a:pt x="48" y="10"/>
                      <a:pt x="58" y="21"/>
                    </a:cubicBezTo>
                    <a:cubicBezTo>
                      <a:pt x="69" y="31"/>
                      <a:pt x="69" y="48"/>
                      <a:pt x="58" y="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20" name="Freeform 37"/>
              <p:cNvSpPr>
                <a:spLocks/>
              </p:cNvSpPr>
              <p:nvPr/>
            </p:nvSpPr>
            <p:spPr bwMode="auto">
              <a:xfrm>
                <a:off x="7160655" y="2400130"/>
                <a:ext cx="159730" cy="164722"/>
              </a:xfrm>
              <a:custGeom>
                <a:avLst/>
                <a:gdLst>
                  <a:gd name="T0" fmla="*/ 0 w 64"/>
                  <a:gd name="T1" fmla="*/ 52 h 66"/>
                  <a:gd name="T2" fmla="*/ 12 w 64"/>
                  <a:gd name="T3" fmla="*/ 66 h 66"/>
                  <a:gd name="T4" fmla="*/ 64 w 64"/>
                  <a:gd name="T5" fmla="*/ 8 h 66"/>
                  <a:gd name="T6" fmla="*/ 55 w 64"/>
                  <a:gd name="T7" fmla="*/ 0 h 66"/>
                  <a:gd name="T8" fmla="*/ 0 w 64"/>
                  <a:gd name="T9" fmla="*/ 52 h 66"/>
                </a:gdLst>
                <a:ahLst/>
                <a:cxnLst>
                  <a:cxn ang="0">
                    <a:pos x="T0" y="T1"/>
                  </a:cxn>
                  <a:cxn ang="0">
                    <a:pos x="T2" y="T3"/>
                  </a:cxn>
                  <a:cxn ang="0">
                    <a:pos x="T4" y="T5"/>
                  </a:cxn>
                  <a:cxn ang="0">
                    <a:pos x="T6" y="T7"/>
                  </a:cxn>
                  <a:cxn ang="0">
                    <a:pos x="T8" y="T9"/>
                  </a:cxn>
                </a:cxnLst>
                <a:rect l="0" t="0" r="r" b="b"/>
                <a:pathLst>
                  <a:path w="64" h="66">
                    <a:moveTo>
                      <a:pt x="0" y="52"/>
                    </a:moveTo>
                    <a:lnTo>
                      <a:pt x="12" y="66"/>
                    </a:lnTo>
                    <a:lnTo>
                      <a:pt x="64" y="8"/>
                    </a:lnTo>
                    <a:lnTo>
                      <a:pt x="55" y="0"/>
                    </a:lnTo>
                    <a:lnTo>
                      <a:pt x="0" y="5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21" name="Freeform 38"/>
              <p:cNvSpPr>
                <a:spLocks/>
              </p:cNvSpPr>
              <p:nvPr/>
            </p:nvSpPr>
            <p:spPr bwMode="auto">
              <a:xfrm>
                <a:off x="7412728" y="2265358"/>
                <a:ext cx="99831" cy="119797"/>
              </a:xfrm>
              <a:custGeom>
                <a:avLst/>
                <a:gdLst>
                  <a:gd name="T0" fmla="*/ 16 w 30"/>
                  <a:gd name="T1" fmla="*/ 0 h 36"/>
                  <a:gd name="T2" fmla="*/ 0 w 30"/>
                  <a:gd name="T3" fmla="*/ 34 h 36"/>
                  <a:gd name="T4" fmla="*/ 6 w 30"/>
                  <a:gd name="T5" fmla="*/ 36 h 36"/>
                  <a:gd name="T6" fmla="*/ 16 w 30"/>
                  <a:gd name="T7" fmla="*/ 0 h 36"/>
                </a:gdLst>
                <a:ahLst/>
                <a:cxnLst>
                  <a:cxn ang="0">
                    <a:pos x="T0" y="T1"/>
                  </a:cxn>
                  <a:cxn ang="0">
                    <a:pos x="T2" y="T3"/>
                  </a:cxn>
                  <a:cxn ang="0">
                    <a:pos x="T4" y="T5"/>
                  </a:cxn>
                  <a:cxn ang="0">
                    <a:pos x="T6" y="T7"/>
                  </a:cxn>
                </a:cxnLst>
                <a:rect l="0" t="0" r="r" b="b"/>
                <a:pathLst>
                  <a:path w="30" h="36">
                    <a:moveTo>
                      <a:pt x="16" y="0"/>
                    </a:moveTo>
                    <a:cubicBezTo>
                      <a:pt x="20" y="26"/>
                      <a:pt x="0" y="34"/>
                      <a:pt x="0" y="34"/>
                    </a:cubicBezTo>
                    <a:cubicBezTo>
                      <a:pt x="6" y="36"/>
                      <a:pt x="6" y="36"/>
                      <a:pt x="6" y="36"/>
                    </a:cubicBezTo>
                    <a:cubicBezTo>
                      <a:pt x="30" y="21"/>
                      <a:pt x="16" y="0"/>
                      <a:pt x="1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grpSp>
      </p:grpSp>
      <p:grpSp>
        <p:nvGrpSpPr>
          <p:cNvPr id="22" name="Group 21"/>
          <p:cNvGrpSpPr>
            <a:grpSpLocks noChangeAspect="1"/>
          </p:cNvGrpSpPr>
          <p:nvPr/>
        </p:nvGrpSpPr>
        <p:grpSpPr bwMode="auto">
          <a:xfrm>
            <a:off x="6216620" y="2070973"/>
            <a:ext cx="711015" cy="711015"/>
            <a:chOff x="6560455" y="4169941"/>
            <a:chExt cx="359999" cy="359998"/>
          </a:xfrm>
        </p:grpSpPr>
        <p:sp>
          <p:nvSpPr>
            <p:cNvPr id="23" name="Oval 22"/>
            <p:cNvSpPr/>
            <p:nvPr/>
          </p:nvSpPr>
          <p:spPr>
            <a:xfrm>
              <a:off x="6560455" y="4169941"/>
              <a:ext cx="359999" cy="359998"/>
            </a:xfrm>
            <a:prstGeom prst="ellipse">
              <a:avLst/>
            </a:prstGeom>
            <a:solidFill>
              <a:schemeClr val="accent4"/>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sp>
        <p:grpSp>
          <p:nvGrpSpPr>
            <p:cNvPr id="24" name="Group 23"/>
            <p:cNvGrpSpPr>
              <a:grpSpLocks noChangeAspect="1"/>
            </p:cNvGrpSpPr>
            <p:nvPr/>
          </p:nvGrpSpPr>
          <p:grpSpPr>
            <a:xfrm>
              <a:off x="6649416" y="4269792"/>
              <a:ext cx="182074" cy="160295"/>
              <a:chOff x="6040049" y="4182118"/>
              <a:chExt cx="521619" cy="459224"/>
            </a:xfrm>
            <a:solidFill>
              <a:schemeClr val="bg1">
                <a:lumMod val="95000"/>
              </a:schemeClr>
            </a:solidFill>
          </p:grpSpPr>
          <p:sp>
            <p:nvSpPr>
              <p:cNvPr id="25" name="Freeform 84"/>
              <p:cNvSpPr>
                <a:spLocks/>
              </p:cNvSpPr>
              <p:nvPr/>
            </p:nvSpPr>
            <p:spPr bwMode="auto">
              <a:xfrm>
                <a:off x="6087469" y="4202084"/>
                <a:ext cx="194671" cy="419291"/>
              </a:xfrm>
              <a:custGeom>
                <a:avLst/>
                <a:gdLst>
                  <a:gd name="T0" fmla="*/ 52 w 59"/>
                  <a:gd name="T1" fmla="*/ 5 h 126"/>
                  <a:gd name="T2" fmla="*/ 9 w 59"/>
                  <a:gd name="T3" fmla="*/ 38 h 126"/>
                  <a:gd name="T4" fmla="*/ 0 w 59"/>
                  <a:gd name="T5" fmla="*/ 39 h 126"/>
                  <a:gd name="T6" fmla="*/ 0 w 59"/>
                  <a:gd name="T7" fmla="*/ 86 h 126"/>
                  <a:gd name="T8" fmla="*/ 9 w 59"/>
                  <a:gd name="T9" fmla="*/ 88 h 126"/>
                  <a:gd name="T10" fmla="*/ 51 w 59"/>
                  <a:gd name="T11" fmla="*/ 119 h 126"/>
                  <a:gd name="T12" fmla="*/ 59 w 59"/>
                  <a:gd name="T13" fmla="*/ 119 h 126"/>
                  <a:gd name="T14" fmla="*/ 59 w 59"/>
                  <a:gd name="T15" fmla="*/ 5 h 126"/>
                  <a:gd name="T16" fmla="*/ 52 w 59"/>
                  <a:gd name="T17"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6">
                    <a:moveTo>
                      <a:pt x="52" y="5"/>
                    </a:moveTo>
                    <a:cubicBezTo>
                      <a:pt x="9" y="38"/>
                      <a:pt x="9" y="38"/>
                      <a:pt x="9" y="38"/>
                    </a:cubicBezTo>
                    <a:cubicBezTo>
                      <a:pt x="9" y="38"/>
                      <a:pt x="5" y="38"/>
                      <a:pt x="0" y="39"/>
                    </a:cubicBezTo>
                    <a:cubicBezTo>
                      <a:pt x="0" y="86"/>
                      <a:pt x="0" y="86"/>
                      <a:pt x="0" y="86"/>
                    </a:cubicBezTo>
                    <a:cubicBezTo>
                      <a:pt x="5" y="87"/>
                      <a:pt x="9" y="88"/>
                      <a:pt x="9" y="88"/>
                    </a:cubicBezTo>
                    <a:cubicBezTo>
                      <a:pt x="51" y="119"/>
                      <a:pt x="51" y="119"/>
                      <a:pt x="51" y="119"/>
                    </a:cubicBezTo>
                    <a:cubicBezTo>
                      <a:pt x="51" y="119"/>
                      <a:pt x="59" y="126"/>
                      <a:pt x="59" y="119"/>
                    </a:cubicBezTo>
                    <a:cubicBezTo>
                      <a:pt x="59" y="112"/>
                      <a:pt x="59" y="11"/>
                      <a:pt x="59" y="5"/>
                    </a:cubicBezTo>
                    <a:cubicBezTo>
                      <a:pt x="59" y="0"/>
                      <a:pt x="52" y="5"/>
                      <a:pt x="52"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26" name="Freeform 85"/>
              <p:cNvSpPr>
                <a:spLocks/>
              </p:cNvSpPr>
              <p:nvPr/>
            </p:nvSpPr>
            <p:spPr bwMode="auto">
              <a:xfrm>
                <a:off x="6040049" y="4339353"/>
                <a:ext cx="27454" cy="147252"/>
              </a:xfrm>
              <a:custGeom>
                <a:avLst/>
                <a:gdLst>
                  <a:gd name="T0" fmla="*/ 0 w 8"/>
                  <a:gd name="T1" fmla="*/ 8 h 44"/>
                  <a:gd name="T2" fmla="*/ 0 w 8"/>
                  <a:gd name="T3" fmla="*/ 38 h 44"/>
                  <a:gd name="T4" fmla="*/ 8 w 8"/>
                  <a:gd name="T5" fmla="*/ 44 h 44"/>
                  <a:gd name="T6" fmla="*/ 8 w 8"/>
                  <a:gd name="T7" fmla="*/ 0 h 44"/>
                  <a:gd name="T8" fmla="*/ 0 w 8"/>
                  <a:gd name="T9" fmla="*/ 8 h 44"/>
                </a:gdLst>
                <a:ahLst/>
                <a:cxnLst>
                  <a:cxn ang="0">
                    <a:pos x="T0" y="T1"/>
                  </a:cxn>
                  <a:cxn ang="0">
                    <a:pos x="T2" y="T3"/>
                  </a:cxn>
                  <a:cxn ang="0">
                    <a:pos x="T4" y="T5"/>
                  </a:cxn>
                  <a:cxn ang="0">
                    <a:pos x="T6" y="T7"/>
                  </a:cxn>
                  <a:cxn ang="0">
                    <a:pos x="T8" y="T9"/>
                  </a:cxn>
                </a:cxnLst>
                <a:rect l="0" t="0" r="r" b="b"/>
                <a:pathLst>
                  <a:path w="8" h="44">
                    <a:moveTo>
                      <a:pt x="0" y="8"/>
                    </a:moveTo>
                    <a:cubicBezTo>
                      <a:pt x="0" y="16"/>
                      <a:pt x="0" y="32"/>
                      <a:pt x="0" y="38"/>
                    </a:cubicBezTo>
                    <a:cubicBezTo>
                      <a:pt x="0" y="40"/>
                      <a:pt x="4" y="42"/>
                      <a:pt x="8" y="44"/>
                    </a:cubicBezTo>
                    <a:cubicBezTo>
                      <a:pt x="8" y="0"/>
                      <a:pt x="8" y="0"/>
                      <a:pt x="8" y="0"/>
                    </a:cubicBezTo>
                    <a:cubicBezTo>
                      <a:pt x="4" y="2"/>
                      <a:pt x="0" y="4"/>
                      <a:pt x="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27" name="Freeform 86"/>
              <p:cNvSpPr>
                <a:spLocks/>
              </p:cNvSpPr>
              <p:nvPr/>
            </p:nvSpPr>
            <p:spPr bwMode="auto">
              <a:xfrm>
                <a:off x="6329559" y="4296924"/>
                <a:ext cx="77370" cy="229612"/>
              </a:xfrm>
              <a:custGeom>
                <a:avLst/>
                <a:gdLst>
                  <a:gd name="T0" fmla="*/ 10 w 23"/>
                  <a:gd name="T1" fmla="*/ 2 h 69"/>
                  <a:gd name="T2" fmla="*/ 2 w 23"/>
                  <a:gd name="T3" fmla="*/ 2 h 69"/>
                  <a:gd name="T4" fmla="*/ 2 w 23"/>
                  <a:gd name="T5" fmla="*/ 10 h 69"/>
                  <a:gd name="T6" fmla="*/ 12 w 23"/>
                  <a:gd name="T7" fmla="*/ 35 h 69"/>
                  <a:gd name="T8" fmla="*/ 2 w 23"/>
                  <a:gd name="T9" fmla="*/ 60 h 69"/>
                  <a:gd name="T10" fmla="*/ 2 w 23"/>
                  <a:gd name="T11" fmla="*/ 67 h 69"/>
                  <a:gd name="T12" fmla="*/ 6 w 23"/>
                  <a:gd name="T13" fmla="*/ 69 h 69"/>
                  <a:gd name="T14" fmla="*/ 10 w 23"/>
                  <a:gd name="T15" fmla="*/ 67 h 69"/>
                  <a:gd name="T16" fmla="*/ 23 w 23"/>
                  <a:gd name="T17" fmla="*/ 35 h 69"/>
                  <a:gd name="T18" fmla="*/ 10 w 23"/>
                  <a:gd name="T19"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69">
                    <a:moveTo>
                      <a:pt x="10" y="2"/>
                    </a:moveTo>
                    <a:cubicBezTo>
                      <a:pt x="7" y="0"/>
                      <a:pt x="4" y="0"/>
                      <a:pt x="2" y="2"/>
                    </a:cubicBezTo>
                    <a:cubicBezTo>
                      <a:pt x="0" y="4"/>
                      <a:pt x="0" y="8"/>
                      <a:pt x="2" y="10"/>
                    </a:cubicBezTo>
                    <a:cubicBezTo>
                      <a:pt x="9" y="17"/>
                      <a:pt x="12" y="26"/>
                      <a:pt x="12" y="35"/>
                    </a:cubicBezTo>
                    <a:cubicBezTo>
                      <a:pt x="12" y="44"/>
                      <a:pt x="9" y="53"/>
                      <a:pt x="2" y="60"/>
                    </a:cubicBezTo>
                    <a:cubicBezTo>
                      <a:pt x="0" y="62"/>
                      <a:pt x="0" y="65"/>
                      <a:pt x="2" y="67"/>
                    </a:cubicBezTo>
                    <a:cubicBezTo>
                      <a:pt x="3" y="68"/>
                      <a:pt x="4" y="69"/>
                      <a:pt x="6" y="69"/>
                    </a:cubicBezTo>
                    <a:cubicBezTo>
                      <a:pt x="7" y="69"/>
                      <a:pt x="9" y="68"/>
                      <a:pt x="10" y="67"/>
                    </a:cubicBezTo>
                    <a:cubicBezTo>
                      <a:pt x="19" y="58"/>
                      <a:pt x="23" y="47"/>
                      <a:pt x="23" y="35"/>
                    </a:cubicBezTo>
                    <a:cubicBezTo>
                      <a:pt x="23" y="23"/>
                      <a:pt x="19" y="11"/>
                      <a:pt x="1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28" name="Freeform 87"/>
              <p:cNvSpPr>
                <a:spLocks/>
              </p:cNvSpPr>
              <p:nvPr/>
            </p:nvSpPr>
            <p:spPr bwMode="auto">
              <a:xfrm>
                <a:off x="6376980" y="4239521"/>
                <a:ext cx="102328" cy="341923"/>
              </a:xfrm>
              <a:custGeom>
                <a:avLst/>
                <a:gdLst>
                  <a:gd name="T0" fmla="*/ 10 w 31"/>
                  <a:gd name="T1" fmla="*/ 2 h 103"/>
                  <a:gd name="T2" fmla="*/ 3 w 31"/>
                  <a:gd name="T3" fmla="*/ 2 h 103"/>
                  <a:gd name="T4" fmla="*/ 3 w 31"/>
                  <a:gd name="T5" fmla="*/ 10 h 103"/>
                  <a:gd name="T6" fmla="*/ 20 w 31"/>
                  <a:gd name="T7" fmla="*/ 52 h 103"/>
                  <a:gd name="T8" fmla="*/ 3 w 31"/>
                  <a:gd name="T9" fmla="*/ 94 h 103"/>
                  <a:gd name="T10" fmla="*/ 3 w 31"/>
                  <a:gd name="T11" fmla="*/ 102 h 103"/>
                  <a:gd name="T12" fmla="*/ 6 w 31"/>
                  <a:gd name="T13" fmla="*/ 103 h 103"/>
                  <a:gd name="T14" fmla="*/ 10 w 31"/>
                  <a:gd name="T15" fmla="*/ 102 h 103"/>
                  <a:gd name="T16" fmla="*/ 31 w 31"/>
                  <a:gd name="T17" fmla="*/ 52 h 103"/>
                  <a:gd name="T18" fmla="*/ 10 w 31"/>
                  <a:gd name="T19"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103">
                    <a:moveTo>
                      <a:pt x="10" y="2"/>
                    </a:moveTo>
                    <a:cubicBezTo>
                      <a:pt x="8" y="0"/>
                      <a:pt x="5" y="0"/>
                      <a:pt x="3" y="2"/>
                    </a:cubicBezTo>
                    <a:cubicBezTo>
                      <a:pt x="0" y="4"/>
                      <a:pt x="0" y="8"/>
                      <a:pt x="3" y="10"/>
                    </a:cubicBezTo>
                    <a:cubicBezTo>
                      <a:pt x="14" y="21"/>
                      <a:pt x="20" y="37"/>
                      <a:pt x="20" y="52"/>
                    </a:cubicBezTo>
                    <a:cubicBezTo>
                      <a:pt x="20" y="67"/>
                      <a:pt x="14" y="82"/>
                      <a:pt x="3" y="94"/>
                    </a:cubicBezTo>
                    <a:cubicBezTo>
                      <a:pt x="0" y="96"/>
                      <a:pt x="0" y="100"/>
                      <a:pt x="3" y="102"/>
                    </a:cubicBezTo>
                    <a:cubicBezTo>
                      <a:pt x="4" y="103"/>
                      <a:pt x="5" y="103"/>
                      <a:pt x="6" y="103"/>
                    </a:cubicBezTo>
                    <a:cubicBezTo>
                      <a:pt x="8" y="103"/>
                      <a:pt x="9" y="103"/>
                      <a:pt x="10" y="102"/>
                    </a:cubicBezTo>
                    <a:cubicBezTo>
                      <a:pt x="24" y="88"/>
                      <a:pt x="31" y="70"/>
                      <a:pt x="31" y="52"/>
                    </a:cubicBezTo>
                    <a:cubicBezTo>
                      <a:pt x="31" y="34"/>
                      <a:pt x="24" y="16"/>
                      <a:pt x="1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sp>
            <p:nvSpPr>
              <p:cNvPr id="42" name="Freeform 88"/>
              <p:cNvSpPr>
                <a:spLocks/>
              </p:cNvSpPr>
              <p:nvPr/>
            </p:nvSpPr>
            <p:spPr bwMode="auto">
              <a:xfrm>
                <a:off x="6436879" y="4182118"/>
                <a:ext cx="124789" cy="459224"/>
              </a:xfrm>
              <a:custGeom>
                <a:avLst/>
                <a:gdLst>
                  <a:gd name="T0" fmla="*/ 10 w 38"/>
                  <a:gd name="T1" fmla="*/ 2 h 138"/>
                  <a:gd name="T2" fmla="*/ 2 w 38"/>
                  <a:gd name="T3" fmla="*/ 2 h 138"/>
                  <a:gd name="T4" fmla="*/ 2 w 38"/>
                  <a:gd name="T5" fmla="*/ 9 h 138"/>
                  <a:gd name="T6" fmla="*/ 27 w 38"/>
                  <a:gd name="T7" fmla="*/ 69 h 138"/>
                  <a:gd name="T8" fmla="*/ 2 w 38"/>
                  <a:gd name="T9" fmla="*/ 128 h 138"/>
                  <a:gd name="T10" fmla="*/ 2 w 38"/>
                  <a:gd name="T11" fmla="*/ 136 h 138"/>
                  <a:gd name="T12" fmla="*/ 6 w 38"/>
                  <a:gd name="T13" fmla="*/ 138 h 138"/>
                  <a:gd name="T14" fmla="*/ 10 w 38"/>
                  <a:gd name="T15" fmla="*/ 136 h 138"/>
                  <a:gd name="T16" fmla="*/ 38 w 38"/>
                  <a:gd name="T17" fmla="*/ 69 h 138"/>
                  <a:gd name="T18" fmla="*/ 10 w 38"/>
                  <a:gd name="T19" fmla="*/ 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38">
                    <a:moveTo>
                      <a:pt x="10" y="2"/>
                    </a:moveTo>
                    <a:cubicBezTo>
                      <a:pt x="8" y="0"/>
                      <a:pt x="5" y="0"/>
                      <a:pt x="2" y="2"/>
                    </a:cubicBezTo>
                    <a:cubicBezTo>
                      <a:pt x="0" y="4"/>
                      <a:pt x="0" y="7"/>
                      <a:pt x="2" y="9"/>
                    </a:cubicBezTo>
                    <a:cubicBezTo>
                      <a:pt x="19" y="26"/>
                      <a:pt x="27" y="47"/>
                      <a:pt x="27" y="69"/>
                    </a:cubicBezTo>
                    <a:cubicBezTo>
                      <a:pt x="27" y="90"/>
                      <a:pt x="19" y="112"/>
                      <a:pt x="2" y="128"/>
                    </a:cubicBezTo>
                    <a:cubicBezTo>
                      <a:pt x="0" y="130"/>
                      <a:pt x="0" y="134"/>
                      <a:pt x="2" y="136"/>
                    </a:cubicBezTo>
                    <a:cubicBezTo>
                      <a:pt x="4" y="137"/>
                      <a:pt x="5" y="138"/>
                      <a:pt x="6" y="138"/>
                    </a:cubicBezTo>
                    <a:cubicBezTo>
                      <a:pt x="8" y="138"/>
                      <a:pt x="9" y="137"/>
                      <a:pt x="10" y="136"/>
                    </a:cubicBezTo>
                    <a:cubicBezTo>
                      <a:pt x="29" y="117"/>
                      <a:pt x="38" y="93"/>
                      <a:pt x="38" y="69"/>
                    </a:cubicBezTo>
                    <a:cubicBezTo>
                      <a:pt x="38" y="45"/>
                      <a:pt x="29" y="20"/>
                      <a:pt x="10"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299"/>
              </a:p>
            </p:txBody>
          </p:sp>
        </p:grpSp>
      </p:grpSp>
      <p:grpSp>
        <p:nvGrpSpPr>
          <p:cNvPr id="46" name="Group 45"/>
          <p:cNvGrpSpPr>
            <a:grpSpLocks noChangeAspect="1"/>
          </p:cNvGrpSpPr>
          <p:nvPr/>
        </p:nvGrpSpPr>
        <p:grpSpPr bwMode="auto">
          <a:xfrm>
            <a:off x="3935584" y="2070111"/>
            <a:ext cx="711015" cy="711015"/>
            <a:chOff x="6560456" y="3342837"/>
            <a:chExt cx="359999" cy="359998"/>
          </a:xfrm>
        </p:grpSpPr>
        <p:sp>
          <p:nvSpPr>
            <p:cNvPr id="47" name="Oval 46"/>
            <p:cNvSpPr/>
            <p:nvPr/>
          </p:nvSpPr>
          <p:spPr>
            <a:xfrm>
              <a:off x="6560456" y="3342837"/>
              <a:ext cx="359999" cy="359998"/>
            </a:xfrm>
            <a:prstGeom prst="ellipse">
              <a:avLst/>
            </a:prstGeom>
            <a:solidFill>
              <a:schemeClr val="accent1"/>
            </a:solidFill>
            <a:ln>
              <a:noFill/>
            </a:ln>
          </p:spPr>
          <p:style>
            <a:lnRef idx="2">
              <a:schemeClr val="accent3">
                <a:hueOff val="552171"/>
                <a:satOff val="28263"/>
                <a:lumOff val="11872"/>
                <a:alphaOff val="0"/>
              </a:schemeClr>
            </a:lnRef>
            <a:fillRef idx="1">
              <a:schemeClr val="accent3">
                <a:hueOff val="552171"/>
                <a:satOff val="28263"/>
                <a:lumOff val="11872"/>
                <a:alphaOff val="0"/>
              </a:schemeClr>
            </a:fillRef>
            <a:effectRef idx="0">
              <a:schemeClr val="accent3">
                <a:hueOff val="552171"/>
                <a:satOff val="28263"/>
                <a:lumOff val="11872"/>
                <a:alphaOff val="0"/>
              </a:schemeClr>
            </a:effectRef>
            <a:fontRef idx="minor">
              <a:schemeClr val="lt1"/>
            </a:fontRef>
          </p:style>
        </p:sp>
        <p:sp>
          <p:nvSpPr>
            <p:cNvPr id="48" name="Freeform 6"/>
            <p:cNvSpPr>
              <a:spLocks noEditPoints="1"/>
            </p:cNvSpPr>
            <p:nvPr/>
          </p:nvSpPr>
          <p:spPr bwMode="auto">
            <a:xfrm>
              <a:off x="6664380" y="3422532"/>
              <a:ext cx="167110" cy="146795"/>
            </a:xfrm>
            <a:custGeom>
              <a:avLst/>
              <a:gdLst>
                <a:gd name="T0" fmla="*/ 167110 w 400"/>
                <a:gd name="T1" fmla="*/ 146795 h 352"/>
                <a:gd name="T2" fmla="*/ 164603 w 400"/>
                <a:gd name="T3" fmla="*/ 111764 h 352"/>
                <a:gd name="T4" fmla="*/ 142879 w 400"/>
                <a:gd name="T5" fmla="*/ 98419 h 352"/>
                <a:gd name="T6" fmla="*/ 126586 w 400"/>
                <a:gd name="T7" fmla="*/ 79653 h 352"/>
                <a:gd name="T8" fmla="*/ 132017 w 400"/>
                <a:gd name="T9" fmla="*/ 65474 h 352"/>
                <a:gd name="T10" fmla="*/ 136612 w 400"/>
                <a:gd name="T11" fmla="*/ 55882 h 352"/>
                <a:gd name="T12" fmla="*/ 134524 w 400"/>
                <a:gd name="T13" fmla="*/ 50878 h 352"/>
                <a:gd name="T14" fmla="*/ 135777 w 400"/>
                <a:gd name="T15" fmla="*/ 40869 h 352"/>
                <a:gd name="T16" fmla="*/ 116141 w 400"/>
                <a:gd name="T17" fmla="*/ 21269 h 352"/>
                <a:gd name="T18" fmla="*/ 96088 w 400"/>
                <a:gd name="T19" fmla="*/ 40869 h 352"/>
                <a:gd name="T20" fmla="*/ 97342 w 400"/>
                <a:gd name="T21" fmla="*/ 50878 h 352"/>
                <a:gd name="T22" fmla="*/ 95670 w 400"/>
                <a:gd name="T23" fmla="*/ 55882 h 352"/>
                <a:gd name="T24" fmla="*/ 100266 w 400"/>
                <a:gd name="T25" fmla="*/ 65474 h 352"/>
                <a:gd name="T26" fmla="*/ 105697 w 400"/>
                <a:gd name="T27" fmla="*/ 79653 h 352"/>
                <a:gd name="T28" fmla="*/ 98595 w 400"/>
                <a:gd name="T29" fmla="*/ 93415 h 352"/>
                <a:gd name="T30" fmla="*/ 129510 w 400"/>
                <a:gd name="T31" fmla="*/ 121773 h 352"/>
                <a:gd name="T32" fmla="*/ 129510 w 400"/>
                <a:gd name="T33" fmla="*/ 146795 h 352"/>
                <a:gd name="T34" fmla="*/ 167110 w 400"/>
                <a:gd name="T35" fmla="*/ 146795 h 352"/>
                <a:gd name="T36" fmla="*/ 85226 w 400"/>
                <a:gd name="T37" fmla="*/ 103007 h 352"/>
                <a:gd name="T38" fmla="*/ 63502 w 400"/>
                <a:gd name="T39" fmla="*/ 77985 h 352"/>
                <a:gd name="T40" fmla="*/ 70604 w 400"/>
                <a:gd name="T41" fmla="*/ 59218 h 352"/>
                <a:gd name="T42" fmla="*/ 76871 w 400"/>
                <a:gd name="T43" fmla="*/ 46290 h 352"/>
                <a:gd name="T44" fmla="*/ 74782 w 400"/>
                <a:gd name="T45" fmla="*/ 39618 h 352"/>
                <a:gd name="T46" fmla="*/ 76453 w 400"/>
                <a:gd name="T47" fmla="*/ 26273 h 352"/>
                <a:gd name="T48" fmla="*/ 49715 w 400"/>
                <a:gd name="T49" fmla="*/ 0 h 352"/>
                <a:gd name="T50" fmla="*/ 22978 w 400"/>
                <a:gd name="T51" fmla="*/ 26273 h 352"/>
                <a:gd name="T52" fmla="*/ 24649 w 400"/>
                <a:gd name="T53" fmla="*/ 39618 h 352"/>
                <a:gd name="T54" fmla="*/ 22142 w 400"/>
                <a:gd name="T55" fmla="*/ 46290 h 352"/>
                <a:gd name="T56" fmla="*/ 28409 w 400"/>
                <a:gd name="T57" fmla="*/ 59218 h 352"/>
                <a:gd name="T58" fmla="*/ 35929 w 400"/>
                <a:gd name="T59" fmla="*/ 77985 h 352"/>
                <a:gd name="T60" fmla="*/ 13787 w 400"/>
                <a:gd name="T61" fmla="*/ 103007 h 352"/>
                <a:gd name="T62" fmla="*/ 0 w 400"/>
                <a:gd name="T63" fmla="*/ 116352 h 352"/>
                <a:gd name="T64" fmla="*/ 0 w 400"/>
                <a:gd name="T65" fmla="*/ 146795 h 352"/>
                <a:gd name="T66" fmla="*/ 116141 w 400"/>
                <a:gd name="T67" fmla="*/ 146795 h 352"/>
                <a:gd name="T68" fmla="*/ 116141 w 400"/>
                <a:gd name="T69" fmla="*/ 123858 h 352"/>
                <a:gd name="T70" fmla="*/ 85226 w 400"/>
                <a:gd name="T71" fmla="*/ 103007 h 3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00" h="352">
                  <a:moveTo>
                    <a:pt x="400" y="352"/>
                  </a:moveTo>
                  <a:cubicBezTo>
                    <a:pt x="400" y="352"/>
                    <a:pt x="399" y="276"/>
                    <a:pt x="394" y="268"/>
                  </a:cubicBezTo>
                  <a:cubicBezTo>
                    <a:pt x="387" y="257"/>
                    <a:pt x="371" y="249"/>
                    <a:pt x="342" y="236"/>
                  </a:cubicBezTo>
                  <a:cubicBezTo>
                    <a:pt x="312" y="224"/>
                    <a:pt x="303" y="213"/>
                    <a:pt x="303" y="191"/>
                  </a:cubicBezTo>
                  <a:cubicBezTo>
                    <a:pt x="303" y="177"/>
                    <a:pt x="312" y="182"/>
                    <a:pt x="316" y="157"/>
                  </a:cubicBezTo>
                  <a:cubicBezTo>
                    <a:pt x="317" y="147"/>
                    <a:pt x="325" y="157"/>
                    <a:pt x="327" y="134"/>
                  </a:cubicBezTo>
                  <a:cubicBezTo>
                    <a:pt x="327" y="124"/>
                    <a:pt x="322" y="122"/>
                    <a:pt x="322" y="122"/>
                  </a:cubicBezTo>
                  <a:cubicBezTo>
                    <a:pt x="322" y="122"/>
                    <a:pt x="325" y="108"/>
                    <a:pt x="325" y="98"/>
                  </a:cubicBezTo>
                  <a:cubicBezTo>
                    <a:pt x="327" y="85"/>
                    <a:pt x="319" y="51"/>
                    <a:pt x="278" y="51"/>
                  </a:cubicBezTo>
                  <a:cubicBezTo>
                    <a:pt x="236" y="51"/>
                    <a:pt x="229" y="85"/>
                    <a:pt x="230" y="98"/>
                  </a:cubicBezTo>
                  <a:cubicBezTo>
                    <a:pt x="231" y="108"/>
                    <a:pt x="233" y="122"/>
                    <a:pt x="233" y="122"/>
                  </a:cubicBezTo>
                  <a:cubicBezTo>
                    <a:pt x="233" y="122"/>
                    <a:pt x="229" y="124"/>
                    <a:pt x="229" y="134"/>
                  </a:cubicBezTo>
                  <a:cubicBezTo>
                    <a:pt x="230" y="157"/>
                    <a:pt x="238" y="147"/>
                    <a:pt x="240" y="157"/>
                  </a:cubicBezTo>
                  <a:cubicBezTo>
                    <a:pt x="244" y="182"/>
                    <a:pt x="253" y="177"/>
                    <a:pt x="253" y="191"/>
                  </a:cubicBezTo>
                  <a:cubicBezTo>
                    <a:pt x="253" y="206"/>
                    <a:pt x="248" y="216"/>
                    <a:pt x="236" y="224"/>
                  </a:cubicBezTo>
                  <a:cubicBezTo>
                    <a:pt x="301" y="257"/>
                    <a:pt x="310" y="263"/>
                    <a:pt x="310" y="292"/>
                  </a:cubicBezTo>
                  <a:cubicBezTo>
                    <a:pt x="310" y="352"/>
                    <a:pt x="310" y="352"/>
                    <a:pt x="310" y="352"/>
                  </a:cubicBezTo>
                  <a:lnTo>
                    <a:pt x="400" y="352"/>
                  </a:lnTo>
                  <a:close/>
                  <a:moveTo>
                    <a:pt x="204" y="247"/>
                  </a:moveTo>
                  <a:cubicBezTo>
                    <a:pt x="165" y="231"/>
                    <a:pt x="152" y="217"/>
                    <a:pt x="152" y="187"/>
                  </a:cubicBezTo>
                  <a:cubicBezTo>
                    <a:pt x="152" y="169"/>
                    <a:pt x="164" y="175"/>
                    <a:pt x="169" y="142"/>
                  </a:cubicBezTo>
                  <a:cubicBezTo>
                    <a:pt x="172" y="129"/>
                    <a:pt x="182" y="142"/>
                    <a:pt x="184" y="111"/>
                  </a:cubicBezTo>
                  <a:cubicBezTo>
                    <a:pt x="184" y="98"/>
                    <a:pt x="179" y="95"/>
                    <a:pt x="179" y="95"/>
                  </a:cubicBezTo>
                  <a:cubicBezTo>
                    <a:pt x="179" y="95"/>
                    <a:pt x="181" y="77"/>
                    <a:pt x="183" y="63"/>
                  </a:cubicBezTo>
                  <a:cubicBezTo>
                    <a:pt x="184" y="45"/>
                    <a:pt x="174" y="0"/>
                    <a:pt x="119" y="0"/>
                  </a:cubicBezTo>
                  <a:cubicBezTo>
                    <a:pt x="64" y="0"/>
                    <a:pt x="54" y="45"/>
                    <a:pt x="55" y="63"/>
                  </a:cubicBezTo>
                  <a:cubicBezTo>
                    <a:pt x="56" y="77"/>
                    <a:pt x="59" y="95"/>
                    <a:pt x="59" y="95"/>
                  </a:cubicBezTo>
                  <a:cubicBezTo>
                    <a:pt x="59" y="95"/>
                    <a:pt x="53" y="98"/>
                    <a:pt x="53" y="111"/>
                  </a:cubicBezTo>
                  <a:cubicBezTo>
                    <a:pt x="55" y="142"/>
                    <a:pt x="66" y="129"/>
                    <a:pt x="68" y="142"/>
                  </a:cubicBezTo>
                  <a:cubicBezTo>
                    <a:pt x="74" y="175"/>
                    <a:pt x="86" y="169"/>
                    <a:pt x="86" y="187"/>
                  </a:cubicBezTo>
                  <a:cubicBezTo>
                    <a:pt x="86" y="217"/>
                    <a:pt x="73" y="231"/>
                    <a:pt x="33" y="247"/>
                  </a:cubicBezTo>
                  <a:cubicBezTo>
                    <a:pt x="21" y="252"/>
                    <a:pt x="0" y="260"/>
                    <a:pt x="0" y="279"/>
                  </a:cubicBezTo>
                  <a:cubicBezTo>
                    <a:pt x="0" y="352"/>
                    <a:pt x="0" y="352"/>
                    <a:pt x="0" y="352"/>
                  </a:cubicBezTo>
                  <a:cubicBezTo>
                    <a:pt x="278" y="352"/>
                    <a:pt x="278" y="352"/>
                    <a:pt x="278" y="352"/>
                  </a:cubicBezTo>
                  <a:cubicBezTo>
                    <a:pt x="278" y="352"/>
                    <a:pt x="278" y="309"/>
                    <a:pt x="278" y="297"/>
                  </a:cubicBezTo>
                  <a:cubicBezTo>
                    <a:pt x="278" y="280"/>
                    <a:pt x="244" y="264"/>
                    <a:pt x="204" y="2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d-ID" sz="2299"/>
            </a:p>
          </p:txBody>
        </p:sp>
      </p:grpSp>
      <p:sp>
        <p:nvSpPr>
          <p:cNvPr id="49" name="Content Placeholder 2"/>
          <p:cNvSpPr txBox="1">
            <a:spLocks/>
          </p:cNvSpPr>
          <p:nvPr/>
        </p:nvSpPr>
        <p:spPr>
          <a:xfrm>
            <a:off x="2683969" y="3265749"/>
            <a:ext cx="1527758" cy="904639"/>
          </a:xfrm>
          <a:prstGeom prst="rect">
            <a:avLst/>
          </a:prstGeom>
        </p:spPr>
        <p:txBody>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fontAlgn="auto">
              <a:lnSpc>
                <a:spcPct val="80000"/>
              </a:lnSpc>
              <a:defRPr/>
            </a:pPr>
            <a:r>
              <a:rPr lang="fr-FR"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Fabricant de lait</a:t>
            </a:r>
            <a:endParaRPr lang="id-ID"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a:p>
            <a:pPr algn="l" fontAlgn="auto">
              <a:lnSpc>
                <a:spcPct val="80000"/>
              </a:lnSpc>
              <a:defRPr/>
            </a:pPr>
            <a:r>
              <a:rPr lang="fr-FR" sz="1100" dirty="0"/>
              <a:t>le seul fabricant de lait infantile </a:t>
            </a:r>
            <a:endParaRPr lang="en-US" sz="1100" b="1" dirty="0">
              <a:solidFill>
                <a:schemeClr val="bg1">
                  <a:lumMod val="65000"/>
                </a:schemeClr>
              </a:solidFill>
              <a:ea typeface="Roboto" panose="02000000000000000000" pitchFamily="2" charset="0"/>
              <a:cs typeface="Arial" panose="020B0604020202020204" pitchFamily="34" charset="0"/>
            </a:endParaRPr>
          </a:p>
        </p:txBody>
      </p:sp>
      <p:sp>
        <p:nvSpPr>
          <p:cNvPr id="50" name="Content Placeholder 2"/>
          <p:cNvSpPr txBox="1">
            <a:spLocks/>
          </p:cNvSpPr>
          <p:nvPr/>
        </p:nvSpPr>
        <p:spPr>
          <a:xfrm>
            <a:off x="4865774" y="3302286"/>
            <a:ext cx="1526548" cy="904639"/>
          </a:xfrm>
          <a:prstGeom prst="rect">
            <a:avLst/>
          </a:prstGeom>
        </p:spPr>
        <p:txBody>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lnSpc>
                <a:spcPct val="80000"/>
              </a:lnSpc>
              <a:defRPr/>
            </a:pPr>
            <a:r>
              <a:rPr lang="fr-FR"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89 160 millions </a:t>
            </a:r>
            <a:endParaRPr lang="id-ID"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a:p>
            <a:pPr algn="l">
              <a:lnSpc>
                <a:spcPct val="80000"/>
              </a:lnSpc>
              <a:defRPr/>
            </a:pPr>
            <a:r>
              <a:rPr lang="fr-FR" sz="1100" dirty="0"/>
              <a:t>un chiffre d’affaire de 89 160 millions de CHF (franc Suisse) </a:t>
            </a:r>
            <a:endParaRPr lang="en-US" sz="1100" b="1" dirty="0">
              <a:solidFill>
                <a:schemeClr val="bg1">
                  <a:lumMod val="65000"/>
                </a:schemeClr>
              </a:solidFill>
              <a:ea typeface="Roboto" panose="02000000000000000000" pitchFamily="2" charset="0"/>
              <a:cs typeface="Arial" panose="020B0604020202020204" pitchFamily="34" charset="0"/>
            </a:endParaRPr>
          </a:p>
        </p:txBody>
      </p:sp>
      <p:sp>
        <p:nvSpPr>
          <p:cNvPr id="51" name="Content Placeholder 2"/>
          <p:cNvSpPr txBox="1">
            <a:spLocks/>
          </p:cNvSpPr>
          <p:nvPr/>
        </p:nvSpPr>
        <p:spPr>
          <a:xfrm>
            <a:off x="7050271" y="3265749"/>
            <a:ext cx="1526549" cy="904639"/>
          </a:xfrm>
          <a:prstGeom prst="rect">
            <a:avLst/>
          </a:prstGeom>
        </p:spPr>
        <p:txBody>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lnSpc>
                <a:spcPct val="80000"/>
              </a:lnSpc>
              <a:defRPr/>
            </a:pPr>
            <a:r>
              <a:rPr lang="fr-FR"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189 pays </a:t>
            </a:r>
          </a:p>
          <a:p>
            <a:pPr algn="l">
              <a:lnSpc>
                <a:spcPct val="80000"/>
              </a:lnSpc>
              <a:defRPr/>
            </a:pPr>
            <a:r>
              <a:rPr lang="fr-FR" sz="1400" dirty="0"/>
              <a:t>présents dans 189 pays</a:t>
            </a:r>
            <a:endParaRPr lang="id-ID" sz="1400"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Elbow Connector 52"/>
          <p:cNvCxnSpPr/>
          <p:nvPr/>
        </p:nvCxnSpPr>
        <p:spPr>
          <a:xfrm rot="5400000" flipV="1">
            <a:off x="2130198" y="2883519"/>
            <a:ext cx="553894" cy="450733"/>
          </a:xfrm>
          <a:prstGeom prst="bentConnector3">
            <a:avLst>
              <a:gd name="adj1" fmla="val 170412"/>
            </a:avLst>
          </a:prstGeom>
          <a:ln w="6350">
            <a:solidFill>
              <a:schemeClr val="accent6"/>
            </a:solidFill>
            <a:prstDash val="soli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a:xfrm rot="5400000" flipV="1">
            <a:off x="4235732" y="2883518"/>
            <a:ext cx="553894" cy="450733"/>
          </a:xfrm>
          <a:prstGeom prst="bentConnector3">
            <a:avLst>
              <a:gd name="adj1" fmla="val 170412"/>
            </a:avLst>
          </a:prstGeom>
          <a:ln w="6350">
            <a:solidFill>
              <a:schemeClr val="accent1"/>
            </a:solidFill>
            <a:prstDash val="soli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55" name="Elbow Connector 54"/>
          <p:cNvCxnSpPr/>
          <p:nvPr/>
        </p:nvCxnSpPr>
        <p:spPr>
          <a:xfrm rot="5400000" flipV="1">
            <a:off x="6448146" y="2861346"/>
            <a:ext cx="555480" cy="450733"/>
          </a:xfrm>
          <a:prstGeom prst="bentConnector3">
            <a:avLst>
              <a:gd name="adj1" fmla="val 170412"/>
            </a:avLst>
          </a:prstGeom>
          <a:ln w="6350">
            <a:solidFill>
              <a:schemeClr val="accent4"/>
            </a:solidFill>
            <a:prstDash val="solid"/>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57" name="Content Placeholder 2"/>
          <p:cNvSpPr txBox="1">
            <a:spLocks/>
          </p:cNvSpPr>
          <p:nvPr/>
        </p:nvSpPr>
        <p:spPr>
          <a:xfrm>
            <a:off x="4416865" y="4430948"/>
            <a:ext cx="7771960" cy="1237247"/>
          </a:xfrm>
          <a:prstGeom prst="rect">
            <a:avLst/>
          </a:prstGeom>
        </p:spPr>
        <p:txBody>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fontAlgn="auto">
              <a:defRPr/>
            </a:pPr>
            <a:r>
              <a:rPr lang="fr-FR" sz="2799" dirty="0">
                <a:latin typeface="Open Sans Extrabold" panose="020B0906030804020204" pitchFamily="34" charset="0"/>
                <a:ea typeface="Open Sans Extrabold" panose="020B0906030804020204" pitchFamily="34" charset="0"/>
                <a:cs typeface="Open Sans Extrabold" panose="020B0906030804020204" pitchFamily="34" charset="0"/>
              </a:rPr>
              <a:t>Certifications </a:t>
            </a:r>
            <a:endParaRPr lang="id-ID" sz="2799" dirty="0">
              <a:latin typeface="Open Sans Extrabold" panose="020B0906030804020204" pitchFamily="34" charset="0"/>
              <a:ea typeface="Open Sans Extrabold" panose="020B0906030804020204" pitchFamily="34" charset="0"/>
              <a:cs typeface="Open Sans Extrabold" panose="020B0906030804020204" pitchFamily="34" charset="0"/>
            </a:endParaRPr>
          </a:p>
        </p:txBody>
      </p:sp>
      <p:cxnSp>
        <p:nvCxnSpPr>
          <p:cNvPr id="68" name="Straight Connector 67"/>
          <p:cNvCxnSpPr/>
          <p:nvPr/>
        </p:nvCxnSpPr>
        <p:spPr>
          <a:xfrm>
            <a:off x="2447140" y="4517131"/>
            <a:ext cx="7383616" cy="0"/>
          </a:xfrm>
          <a:prstGeom prst="line">
            <a:avLst/>
          </a:prstGeom>
          <a:ln w="22225">
            <a:solidFill>
              <a:schemeClr val="bg1">
                <a:lumMod val="65000"/>
              </a:schemeClr>
            </a:solidFill>
            <a:prstDash val="sysDot"/>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4" name="Title 2"/>
          <p:cNvSpPr txBox="1">
            <a:spLocks/>
          </p:cNvSpPr>
          <p:nvPr/>
        </p:nvSpPr>
        <p:spPr>
          <a:xfrm>
            <a:off x="1220045" y="1275759"/>
            <a:ext cx="5707590" cy="592868"/>
          </a:xfrm>
          <a:prstGeom prst="rect">
            <a:avLst/>
          </a:prstGeom>
        </p:spPr>
        <p:txBody>
          <a:bodyPr vert="horz" lIns="91416" tIns="45708" rIns="91416" bIns="45708" rtlCol="0" anchor="ctr">
            <a:noAutofit/>
          </a:bodyPr>
          <a:lstStyle>
            <a:defPPr>
              <a:defRPr lang="en-US"/>
            </a:defPPr>
            <a:lvl1pPr lvl="0" algn="ctr">
              <a:spcBef>
                <a:spcPct val="0"/>
              </a:spcBef>
              <a:defRPr sz="24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sz="2000" dirty="0" err="1"/>
              <a:t>Prèsentation</a:t>
            </a:r>
            <a:r>
              <a:rPr lang="en-US" sz="2000" dirty="0"/>
              <a:t> Nestlé </a:t>
            </a:r>
            <a:r>
              <a:rPr lang="en-US" sz="2000" dirty="0" err="1"/>
              <a:t>fabrique</a:t>
            </a:r>
            <a:r>
              <a:rPr lang="en-US" sz="2000" dirty="0"/>
              <a:t> EL JADIDA  </a:t>
            </a:r>
          </a:p>
        </p:txBody>
      </p:sp>
      <p:pic>
        <p:nvPicPr>
          <p:cNvPr id="40" name="Image 39"/>
          <p:cNvPicPr/>
          <p:nvPr/>
        </p:nvPicPr>
        <p:blipFill rotWithShape="1">
          <a:blip r:embed="rId3">
            <a:extLst>
              <a:ext uri="{28A0092B-C50C-407E-A947-70E740481C1C}">
                <a14:useLocalDpi xmlns:a14="http://schemas.microsoft.com/office/drawing/2010/main" val="0"/>
              </a:ext>
            </a:extLst>
          </a:blip>
          <a:srcRect b="40944"/>
          <a:stretch/>
        </p:blipFill>
        <p:spPr bwMode="auto">
          <a:xfrm>
            <a:off x="3697339" y="5179212"/>
            <a:ext cx="1630680" cy="572452"/>
          </a:xfrm>
          <a:prstGeom prst="rect">
            <a:avLst/>
          </a:prstGeom>
          <a:ln>
            <a:noFill/>
          </a:ln>
          <a:extLst>
            <a:ext uri="{53640926-AAD7-44D8-BBD7-CCE9431645EC}">
              <a14:shadowObscured xmlns:a14="http://schemas.microsoft.com/office/drawing/2010/main"/>
            </a:ext>
          </a:extLst>
        </p:spPr>
      </p:pic>
      <p:pic>
        <p:nvPicPr>
          <p:cNvPr id="43" name="Image 42"/>
          <p:cNvPicPr/>
          <p:nvPr/>
        </p:nvPicPr>
        <p:blipFill>
          <a:blip r:embed="rId4">
            <a:extLst>
              <a:ext uri="{28A0092B-C50C-407E-A947-70E740481C1C}">
                <a14:useLocalDpi xmlns:a14="http://schemas.microsoft.com/office/drawing/2010/main" val="0"/>
              </a:ext>
            </a:extLst>
          </a:blip>
          <a:stretch>
            <a:fillRect/>
          </a:stretch>
        </p:blipFill>
        <p:spPr>
          <a:xfrm>
            <a:off x="7959736" y="5065054"/>
            <a:ext cx="1259983" cy="1062355"/>
          </a:xfrm>
          <a:prstGeom prst="rect">
            <a:avLst/>
          </a:prstGeom>
        </p:spPr>
      </p:pic>
      <p:pic>
        <p:nvPicPr>
          <p:cNvPr id="60" name="Image 59"/>
          <p:cNvPicPr/>
          <p:nvPr/>
        </p:nvPicPr>
        <p:blipFill>
          <a:blip r:embed="rId5">
            <a:extLst>
              <a:ext uri="{28A0092B-C50C-407E-A947-70E740481C1C}">
                <a14:useLocalDpi xmlns:a14="http://schemas.microsoft.com/office/drawing/2010/main" val="0"/>
              </a:ext>
            </a:extLst>
          </a:blip>
          <a:stretch>
            <a:fillRect/>
          </a:stretch>
        </p:blipFill>
        <p:spPr>
          <a:xfrm>
            <a:off x="9847311" y="5065053"/>
            <a:ext cx="1047702" cy="1062355"/>
          </a:xfrm>
          <a:prstGeom prst="rect">
            <a:avLst/>
          </a:prstGeom>
        </p:spPr>
      </p:pic>
      <p:pic>
        <p:nvPicPr>
          <p:cNvPr id="61" name="Image 60"/>
          <p:cNvPicPr/>
          <p:nvPr/>
        </p:nvPicPr>
        <p:blipFill>
          <a:blip r:embed="rId6" cstate="print">
            <a:extLst>
              <a:ext uri="{28A0092B-C50C-407E-A947-70E740481C1C}">
                <a14:useLocalDpi xmlns:a14="http://schemas.microsoft.com/office/drawing/2010/main" val="0"/>
              </a:ext>
            </a:extLst>
          </a:blip>
          <a:stretch>
            <a:fillRect/>
          </a:stretch>
        </p:blipFill>
        <p:spPr>
          <a:xfrm>
            <a:off x="2167043" y="5198496"/>
            <a:ext cx="1523206" cy="765810"/>
          </a:xfrm>
          <a:prstGeom prst="rect">
            <a:avLst/>
          </a:prstGeom>
        </p:spPr>
      </p:pic>
      <p:pic>
        <p:nvPicPr>
          <p:cNvPr id="62" name="Image 61"/>
          <p:cNvPicPr/>
          <p:nvPr/>
        </p:nvPicPr>
        <p:blipFill rotWithShape="1">
          <a:blip r:embed="rId3">
            <a:extLst>
              <a:ext uri="{28A0092B-C50C-407E-A947-70E740481C1C}">
                <a14:useLocalDpi xmlns:a14="http://schemas.microsoft.com/office/drawing/2010/main" val="0"/>
              </a:ext>
            </a:extLst>
          </a:blip>
          <a:srcRect t="59200" r="53700" b="21748"/>
          <a:stretch/>
        </p:blipFill>
        <p:spPr bwMode="auto">
          <a:xfrm>
            <a:off x="4073255" y="5843777"/>
            <a:ext cx="754983" cy="184681"/>
          </a:xfrm>
          <a:prstGeom prst="rect">
            <a:avLst/>
          </a:prstGeom>
          <a:ln>
            <a:noFill/>
          </a:ln>
          <a:extLst>
            <a:ext uri="{53640926-AAD7-44D8-BBD7-CCE9431645EC}">
              <a14:shadowObscured xmlns:a14="http://schemas.microsoft.com/office/drawing/2010/main"/>
            </a:ext>
          </a:extLst>
        </p:spPr>
      </p:pic>
      <p:pic>
        <p:nvPicPr>
          <p:cNvPr id="1026" name="Picture 2" descr="C:\Users\LAKTAM\Desktop\sans-titr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60237" y="5179212"/>
            <a:ext cx="1072712" cy="1118886"/>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1"/>
          <p:cNvSpPr>
            <a:spLocks noGrp="1"/>
          </p:cNvSpPr>
          <p:nvPr>
            <p:ph type="sldNum" sz="quarter" idx="12"/>
          </p:nvPr>
        </p:nvSpPr>
        <p:spPr/>
        <p:txBody>
          <a:bodyPr/>
          <a:lstStyle/>
          <a:p>
            <a:fld id="{C9F2E319-0919-499D-AD1F-7963255D1003}" type="slidenum">
              <a:rPr lang="id-ID" smtClean="0"/>
              <a:t>4</a:t>
            </a:fld>
            <a:endParaRPr lang="id-ID"/>
          </a:p>
        </p:txBody>
      </p:sp>
      <p:graphicFrame>
        <p:nvGraphicFramePr>
          <p:cNvPr id="80" name="Diagramme 54"/>
          <p:cNvGraphicFramePr/>
          <p:nvPr>
            <p:extLst>
              <p:ext uri="{D42A27DB-BD31-4B8C-83A1-F6EECF244321}">
                <p14:modId xmlns:p14="http://schemas.microsoft.com/office/powerpoint/2010/main" val="1633126930"/>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1" name="Arrondir un rectangle avec un coin diagonal 80"/>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2" name="Rectangle 81"/>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83" name="Rectangle 82"/>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84" name="Rectangle 83"/>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85" name="Rectangle 84"/>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86" name="Rectangle 8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tructure d’accueil</a:t>
            </a:r>
          </a:p>
        </p:txBody>
      </p:sp>
      <p:sp>
        <p:nvSpPr>
          <p:cNvPr id="87" name="Rectangle 86"/>
          <p:cNvSpPr/>
          <p:nvPr/>
        </p:nvSpPr>
        <p:spPr>
          <a:xfrm>
            <a:off x="0" y="58572"/>
            <a:ext cx="2345736" cy="46402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1672879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2250"/>
                                  </p:stCondLst>
                                  <p:childTnLst>
                                    <p:set>
                                      <p:cBhvr>
                                        <p:cTn id="6" dur="1" fill="hold">
                                          <p:stCondLst>
                                            <p:cond delay="0"/>
                                          </p:stCondLst>
                                        </p:cTn>
                                        <p:tgtEl>
                                          <p:spTgt spid="16"/>
                                        </p:tgtEl>
                                        <p:attrNameLst>
                                          <p:attrName>style.visibility</p:attrName>
                                        </p:attrNameLst>
                                      </p:cBhvr>
                                      <p:to>
                                        <p:strVal val="visible"/>
                                      </p:to>
                                    </p:set>
                                    <p:anim calcmode="lin" valueType="num">
                                      <p:cBhvr>
                                        <p:cTn id="7" dur="1000" fill="hold"/>
                                        <p:tgtEl>
                                          <p:spTgt spid="16"/>
                                        </p:tgtEl>
                                        <p:attrNameLst>
                                          <p:attrName>ppt_w</p:attrName>
                                        </p:attrNameLst>
                                      </p:cBhvr>
                                      <p:tavLst>
                                        <p:tav tm="0">
                                          <p:val>
                                            <p:fltVal val="0"/>
                                          </p:val>
                                        </p:tav>
                                        <p:tav tm="100000">
                                          <p:val>
                                            <p:strVal val="#ppt_w"/>
                                          </p:val>
                                        </p:tav>
                                      </p:tavLst>
                                    </p:anim>
                                    <p:anim calcmode="lin" valueType="num">
                                      <p:cBhvr>
                                        <p:cTn id="8" dur="1000" fill="hold"/>
                                        <p:tgtEl>
                                          <p:spTgt spid="16"/>
                                        </p:tgtEl>
                                        <p:attrNameLst>
                                          <p:attrName>ppt_h</p:attrName>
                                        </p:attrNameLst>
                                      </p:cBhvr>
                                      <p:tavLst>
                                        <p:tav tm="0">
                                          <p:val>
                                            <p:fltVal val="0"/>
                                          </p:val>
                                        </p:tav>
                                        <p:tav tm="100000">
                                          <p:val>
                                            <p:strVal val="#ppt_h"/>
                                          </p:val>
                                        </p:tav>
                                      </p:tavLst>
                                    </p:anim>
                                    <p:animEffect transition="in" filter="fade">
                                      <p:cBhvr>
                                        <p:cTn id="9" dur="1000"/>
                                        <p:tgtEl>
                                          <p:spTgt spid="16"/>
                                        </p:tgtEl>
                                      </p:cBhvr>
                                    </p:animEffect>
                                  </p:childTnLst>
                                </p:cTn>
                              </p:par>
                              <p:par>
                                <p:cTn id="10" presetID="53" presetClass="entr" presetSubtype="16" fill="hold" nodeType="withEffect">
                                  <p:stCondLst>
                                    <p:cond delay="2250"/>
                                  </p:stCondLst>
                                  <p:childTnLst>
                                    <p:set>
                                      <p:cBhvr>
                                        <p:cTn id="11" dur="1" fill="hold">
                                          <p:stCondLst>
                                            <p:cond delay="0"/>
                                          </p:stCondLst>
                                        </p:cTn>
                                        <p:tgtEl>
                                          <p:spTgt spid="46"/>
                                        </p:tgtEl>
                                        <p:attrNameLst>
                                          <p:attrName>style.visibility</p:attrName>
                                        </p:attrNameLst>
                                      </p:cBhvr>
                                      <p:to>
                                        <p:strVal val="visible"/>
                                      </p:to>
                                    </p:set>
                                    <p:anim calcmode="lin" valueType="num">
                                      <p:cBhvr>
                                        <p:cTn id="12" dur="1000" fill="hold"/>
                                        <p:tgtEl>
                                          <p:spTgt spid="46"/>
                                        </p:tgtEl>
                                        <p:attrNameLst>
                                          <p:attrName>ppt_w</p:attrName>
                                        </p:attrNameLst>
                                      </p:cBhvr>
                                      <p:tavLst>
                                        <p:tav tm="0">
                                          <p:val>
                                            <p:fltVal val="0"/>
                                          </p:val>
                                        </p:tav>
                                        <p:tav tm="100000">
                                          <p:val>
                                            <p:strVal val="#ppt_w"/>
                                          </p:val>
                                        </p:tav>
                                      </p:tavLst>
                                    </p:anim>
                                    <p:anim calcmode="lin" valueType="num">
                                      <p:cBhvr>
                                        <p:cTn id="13" dur="1000" fill="hold"/>
                                        <p:tgtEl>
                                          <p:spTgt spid="46"/>
                                        </p:tgtEl>
                                        <p:attrNameLst>
                                          <p:attrName>ppt_h</p:attrName>
                                        </p:attrNameLst>
                                      </p:cBhvr>
                                      <p:tavLst>
                                        <p:tav tm="0">
                                          <p:val>
                                            <p:fltVal val="0"/>
                                          </p:val>
                                        </p:tav>
                                        <p:tav tm="100000">
                                          <p:val>
                                            <p:strVal val="#ppt_h"/>
                                          </p:val>
                                        </p:tav>
                                      </p:tavLst>
                                    </p:anim>
                                    <p:animEffect transition="in" filter="fade">
                                      <p:cBhvr>
                                        <p:cTn id="14" dur="1000"/>
                                        <p:tgtEl>
                                          <p:spTgt spid="46"/>
                                        </p:tgtEl>
                                      </p:cBhvr>
                                    </p:animEffect>
                                  </p:childTnLst>
                                </p:cTn>
                              </p:par>
                              <p:par>
                                <p:cTn id="15" presetID="53" presetClass="entr" presetSubtype="16" fill="hold" nodeType="withEffect">
                                  <p:stCondLst>
                                    <p:cond delay="2250"/>
                                  </p:stCondLst>
                                  <p:childTnLst>
                                    <p:set>
                                      <p:cBhvr>
                                        <p:cTn id="16" dur="1" fill="hold">
                                          <p:stCondLst>
                                            <p:cond delay="0"/>
                                          </p:stCondLst>
                                        </p:cTn>
                                        <p:tgtEl>
                                          <p:spTgt spid="22"/>
                                        </p:tgtEl>
                                        <p:attrNameLst>
                                          <p:attrName>style.visibility</p:attrName>
                                        </p:attrNameLst>
                                      </p:cBhvr>
                                      <p:to>
                                        <p:strVal val="visible"/>
                                      </p:to>
                                    </p:set>
                                    <p:anim calcmode="lin" valueType="num">
                                      <p:cBhvr>
                                        <p:cTn id="17" dur="1000" fill="hold"/>
                                        <p:tgtEl>
                                          <p:spTgt spid="22"/>
                                        </p:tgtEl>
                                        <p:attrNameLst>
                                          <p:attrName>ppt_w</p:attrName>
                                        </p:attrNameLst>
                                      </p:cBhvr>
                                      <p:tavLst>
                                        <p:tav tm="0">
                                          <p:val>
                                            <p:fltVal val="0"/>
                                          </p:val>
                                        </p:tav>
                                        <p:tav tm="100000">
                                          <p:val>
                                            <p:strVal val="#ppt_w"/>
                                          </p:val>
                                        </p:tav>
                                      </p:tavLst>
                                    </p:anim>
                                    <p:anim calcmode="lin" valueType="num">
                                      <p:cBhvr>
                                        <p:cTn id="18" dur="1000" fill="hold"/>
                                        <p:tgtEl>
                                          <p:spTgt spid="22"/>
                                        </p:tgtEl>
                                        <p:attrNameLst>
                                          <p:attrName>ppt_h</p:attrName>
                                        </p:attrNameLst>
                                      </p:cBhvr>
                                      <p:tavLst>
                                        <p:tav tm="0">
                                          <p:val>
                                            <p:fltVal val="0"/>
                                          </p:val>
                                        </p:tav>
                                        <p:tav tm="100000">
                                          <p:val>
                                            <p:strVal val="#ppt_h"/>
                                          </p:val>
                                        </p:tav>
                                      </p:tavLst>
                                    </p:anim>
                                    <p:animEffect transition="in" filter="fade">
                                      <p:cBhvr>
                                        <p:cTn id="19" dur="1000"/>
                                        <p:tgtEl>
                                          <p:spTgt spid="22"/>
                                        </p:tgtEl>
                                      </p:cBhvr>
                                    </p:animEffect>
                                  </p:childTnLst>
                                </p:cTn>
                              </p:par>
                              <p:par>
                                <p:cTn id="20" presetID="22" presetClass="entr" presetSubtype="1" fill="hold" nodeType="withEffect">
                                  <p:stCondLst>
                                    <p:cond delay="3250"/>
                                  </p:stCondLst>
                                  <p:childTnLst>
                                    <p:set>
                                      <p:cBhvr>
                                        <p:cTn id="21" dur="1" fill="hold">
                                          <p:stCondLst>
                                            <p:cond delay="0"/>
                                          </p:stCondLst>
                                        </p:cTn>
                                        <p:tgtEl>
                                          <p:spTgt spid="53"/>
                                        </p:tgtEl>
                                        <p:attrNameLst>
                                          <p:attrName>style.visibility</p:attrName>
                                        </p:attrNameLst>
                                      </p:cBhvr>
                                      <p:to>
                                        <p:strVal val="visible"/>
                                      </p:to>
                                    </p:set>
                                    <p:animEffect transition="in" filter="wipe(up)">
                                      <p:cBhvr>
                                        <p:cTn id="22" dur="500"/>
                                        <p:tgtEl>
                                          <p:spTgt spid="53"/>
                                        </p:tgtEl>
                                      </p:cBhvr>
                                    </p:animEffect>
                                  </p:childTnLst>
                                </p:cTn>
                              </p:par>
                              <p:par>
                                <p:cTn id="23" presetID="22" presetClass="entr" presetSubtype="1" fill="hold" nodeType="withEffect">
                                  <p:stCondLst>
                                    <p:cond delay="3250"/>
                                  </p:stCondLst>
                                  <p:childTnLst>
                                    <p:set>
                                      <p:cBhvr>
                                        <p:cTn id="24" dur="1" fill="hold">
                                          <p:stCondLst>
                                            <p:cond delay="0"/>
                                          </p:stCondLst>
                                        </p:cTn>
                                        <p:tgtEl>
                                          <p:spTgt spid="54"/>
                                        </p:tgtEl>
                                        <p:attrNameLst>
                                          <p:attrName>style.visibility</p:attrName>
                                        </p:attrNameLst>
                                      </p:cBhvr>
                                      <p:to>
                                        <p:strVal val="visible"/>
                                      </p:to>
                                    </p:set>
                                    <p:animEffect transition="in" filter="wipe(up)">
                                      <p:cBhvr>
                                        <p:cTn id="25" dur="500"/>
                                        <p:tgtEl>
                                          <p:spTgt spid="54"/>
                                        </p:tgtEl>
                                      </p:cBhvr>
                                    </p:animEffect>
                                  </p:childTnLst>
                                </p:cTn>
                              </p:par>
                              <p:par>
                                <p:cTn id="26" presetID="22" presetClass="entr" presetSubtype="1" fill="hold" nodeType="withEffect">
                                  <p:stCondLst>
                                    <p:cond delay="3250"/>
                                  </p:stCondLst>
                                  <p:childTnLst>
                                    <p:set>
                                      <p:cBhvr>
                                        <p:cTn id="27" dur="1" fill="hold">
                                          <p:stCondLst>
                                            <p:cond delay="0"/>
                                          </p:stCondLst>
                                        </p:cTn>
                                        <p:tgtEl>
                                          <p:spTgt spid="55"/>
                                        </p:tgtEl>
                                        <p:attrNameLst>
                                          <p:attrName>style.visibility</p:attrName>
                                        </p:attrNameLst>
                                      </p:cBhvr>
                                      <p:to>
                                        <p:strVal val="visible"/>
                                      </p:to>
                                    </p:set>
                                    <p:animEffect transition="in" filter="wipe(up)">
                                      <p:cBhvr>
                                        <p:cTn id="28" dur="500"/>
                                        <p:tgtEl>
                                          <p:spTgt spid="55"/>
                                        </p:tgtEl>
                                      </p:cBhvr>
                                    </p:animEffect>
                                  </p:childTnLst>
                                </p:cTn>
                              </p:par>
                              <p:par>
                                <p:cTn id="29" presetID="22" presetClass="entr" presetSubtype="8" fill="hold" grpId="0" nodeType="withEffect">
                                  <p:stCondLst>
                                    <p:cond delay="3250"/>
                                  </p:stCondLst>
                                  <p:childTnLst>
                                    <p:set>
                                      <p:cBhvr>
                                        <p:cTn id="30" dur="1" fill="hold">
                                          <p:stCondLst>
                                            <p:cond delay="0"/>
                                          </p:stCondLst>
                                        </p:cTn>
                                        <p:tgtEl>
                                          <p:spTgt spid="49"/>
                                        </p:tgtEl>
                                        <p:attrNameLst>
                                          <p:attrName>style.visibility</p:attrName>
                                        </p:attrNameLst>
                                      </p:cBhvr>
                                      <p:to>
                                        <p:strVal val="visible"/>
                                      </p:to>
                                    </p:set>
                                    <p:animEffect transition="in" filter="wipe(left)">
                                      <p:cBhvr>
                                        <p:cTn id="31" dur="750"/>
                                        <p:tgtEl>
                                          <p:spTgt spid="49"/>
                                        </p:tgtEl>
                                      </p:cBhvr>
                                    </p:animEffect>
                                  </p:childTnLst>
                                </p:cTn>
                              </p:par>
                              <p:par>
                                <p:cTn id="32" presetID="22" presetClass="entr" presetSubtype="8" fill="hold" grpId="0" nodeType="withEffect">
                                  <p:stCondLst>
                                    <p:cond delay="3250"/>
                                  </p:stCondLst>
                                  <p:childTnLst>
                                    <p:set>
                                      <p:cBhvr>
                                        <p:cTn id="33" dur="1" fill="hold">
                                          <p:stCondLst>
                                            <p:cond delay="0"/>
                                          </p:stCondLst>
                                        </p:cTn>
                                        <p:tgtEl>
                                          <p:spTgt spid="50"/>
                                        </p:tgtEl>
                                        <p:attrNameLst>
                                          <p:attrName>style.visibility</p:attrName>
                                        </p:attrNameLst>
                                      </p:cBhvr>
                                      <p:to>
                                        <p:strVal val="visible"/>
                                      </p:to>
                                    </p:set>
                                    <p:animEffect transition="in" filter="wipe(left)">
                                      <p:cBhvr>
                                        <p:cTn id="34" dur="750"/>
                                        <p:tgtEl>
                                          <p:spTgt spid="50"/>
                                        </p:tgtEl>
                                      </p:cBhvr>
                                    </p:animEffect>
                                  </p:childTnLst>
                                </p:cTn>
                              </p:par>
                              <p:par>
                                <p:cTn id="35" presetID="22" presetClass="entr" presetSubtype="8" fill="hold" grpId="0" nodeType="withEffect">
                                  <p:stCondLst>
                                    <p:cond delay="3250"/>
                                  </p:stCondLst>
                                  <p:childTnLst>
                                    <p:set>
                                      <p:cBhvr>
                                        <p:cTn id="36" dur="1" fill="hold">
                                          <p:stCondLst>
                                            <p:cond delay="0"/>
                                          </p:stCondLst>
                                        </p:cTn>
                                        <p:tgtEl>
                                          <p:spTgt spid="51"/>
                                        </p:tgtEl>
                                        <p:attrNameLst>
                                          <p:attrName>style.visibility</p:attrName>
                                        </p:attrNameLst>
                                      </p:cBhvr>
                                      <p:to>
                                        <p:strVal val="visible"/>
                                      </p:to>
                                    </p:set>
                                    <p:animEffect transition="in" filter="wipe(left)">
                                      <p:cBhvr>
                                        <p:cTn id="37" dur="750"/>
                                        <p:tgtEl>
                                          <p:spTgt spid="51"/>
                                        </p:tgtEl>
                                      </p:cBhvr>
                                    </p:animEffect>
                                  </p:childTnLst>
                                </p:cTn>
                              </p:par>
                              <p:par>
                                <p:cTn id="38" presetID="45" presetClass="entr" presetSubtype="0" fill="hold" grpId="0" nodeType="withEffect">
                                  <p:stCondLst>
                                    <p:cond delay="1500"/>
                                  </p:stCondLst>
                                  <p:childTnLst>
                                    <p:set>
                                      <p:cBhvr>
                                        <p:cTn id="39" dur="1" fill="hold">
                                          <p:stCondLst>
                                            <p:cond delay="0"/>
                                          </p:stCondLst>
                                        </p:cTn>
                                        <p:tgtEl>
                                          <p:spTgt spid="57"/>
                                        </p:tgtEl>
                                        <p:attrNameLst>
                                          <p:attrName>style.visibility</p:attrName>
                                        </p:attrNameLst>
                                      </p:cBhvr>
                                      <p:to>
                                        <p:strVal val="visible"/>
                                      </p:to>
                                    </p:set>
                                    <p:animEffect transition="in" filter="fade">
                                      <p:cBhvr>
                                        <p:cTn id="40" dur="2000"/>
                                        <p:tgtEl>
                                          <p:spTgt spid="57"/>
                                        </p:tgtEl>
                                      </p:cBhvr>
                                    </p:animEffect>
                                    <p:anim calcmode="lin" valueType="num">
                                      <p:cBhvr>
                                        <p:cTn id="41" dur="2000" fill="hold"/>
                                        <p:tgtEl>
                                          <p:spTgt spid="57"/>
                                        </p:tgtEl>
                                        <p:attrNameLst>
                                          <p:attrName>ppt_w</p:attrName>
                                        </p:attrNameLst>
                                      </p:cBhvr>
                                      <p:tavLst>
                                        <p:tav tm="0" fmla="#ppt_w*sin(2.5*pi*$)">
                                          <p:val>
                                            <p:fltVal val="0"/>
                                          </p:val>
                                        </p:tav>
                                        <p:tav tm="100000">
                                          <p:val>
                                            <p:fltVal val="1"/>
                                          </p:val>
                                        </p:tav>
                                      </p:tavLst>
                                    </p:anim>
                                    <p:anim calcmode="lin" valueType="num">
                                      <p:cBhvr>
                                        <p:cTn id="42" dur="2000" fill="hold"/>
                                        <p:tgtEl>
                                          <p:spTgt spid="57"/>
                                        </p:tgtEl>
                                        <p:attrNameLst>
                                          <p:attrName>ppt_h</p:attrName>
                                        </p:attrNameLst>
                                      </p:cBhvr>
                                      <p:tavLst>
                                        <p:tav tm="0">
                                          <p:val>
                                            <p:strVal val="#ppt_h"/>
                                          </p:val>
                                        </p:tav>
                                        <p:tav tm="100000">
                                          <p:val>
                                            <p:strVal val="#ppt_h"/>
                                          </p:val>
                                        </p:tav>
                                      </p:tavLst>
                                    </p:anim>
                                  </p:childTnLst>
                                </p:cTn>
                              </p:par>
                              <p:par>
                                <p:cTn id="43" presetID="2" presetClass="entr" presetSubtype="4" fill="hold" nodeType="withEffect">
                                  <p:stCondLst>
                                    <p:cond delay="3250"/>
                                  </p:stCondLst>
                                  <p:childTnLst>
                                    <p:set>
                                      <p:cBhvr>
                                        <p:cTn id="44" dur="1" fill="hold">
                                          <p:stCondLst>
                                            <p:cond delay="0"/>
                                          </p:stCondLst>
                                        </p:cTn>
                                        <p:tgtEl>
                                          <p:spTgt spid="68"/>
                                        </p:tgtEl>
                                        <p:attrNameLst>
                                          <p:attrName>style.visibility</p:attrName>
                                        </p:attrNameLst>
                                      </p:cBhvr>
                                      <p:to>
                                        <p:strVal val="visible"/>
                                      </p:to>
                                    </p:set>
                                    <p:anim calcmode="lin" valueType="num">
                                      <p:cBhvr additive="base">
                                        <p:cTn id="45" dur="500" fill="hold"/>
                                        <p:tgtEl>
                                          <p:spTgt spid="68"/>
                                        </p:tgtEl>
                                        <p:attrNameLst>
                                          <p:attrName>ppt_x</p:attrName>
                                        </p:attrNameLst>
                                      </p:cBhvr>
                                      <p:tavLst>
                                        <p:tav tm="0">
                                          <p:val>
                                            <p:strVal val="#ppt_x"/>
                                          </p:val>
                                        </p:tav>
                                        <p:tav tm="100000">
                                          <p:val>
                                            <p:strVal val="#ppt_x"/>
                                          </p:val>
                                        </p:tav>
                                      </p:tavLst>
                                    </p:anim>
                                    <p:anim calcmode="lin" valueType="num">
                                      <p:cBhvr additive="base">
                                        <p:cTn id="46" dur="500" fill="hold"/>
                                        <p:tgtEl>
                                          <p:spTgt spid="68"/>
                                        </p:tgtEl>
                                        <p:attrNameLst>
                                          <p:attrName>ppt_y</p:attrName>
                                        </p:attrNameLst>
                                      </p:cBhvr>
                                      <p:tavLst>
                                        <p:tav tm="0">
                                          <p:val>
                                            <p:strVal val="1+#ppt_h/2"/>
                                          </p:val>
                                        </p:tav>
                                        <p:tav tm="100000">
                                          <p:val>
                                            <p:strVal val="#ppt_y"/>
                                          </p:val>
                                        </p:tav>
                                      </p:tavLst>
                                    </p:anim>
                                  </p:childTnLst>
                                </p:cTn>
                              </p:par>
                              <p:par>
                                <p:cTn id="47" presetID="24" presetClass="emph" presetSubtype="0" fill="hold" grpId="0" nodeType="withEffect">
                                  <p:stCondLst>
                                    <p:cond delay="0"/>
                                  </p:stCondLst>
                                  <p:childTnLst>
                                    <p:animClr clrSpc="hsl" dir="cw">
                                      <p:cBhvr override="childStyle">
                                        <p:cTn id="48" dur="500" fill="hold"/>
                                        <p:tgtEl>
                                          <p:spTgt spid="87"/>
                                        </p:tgtEl>
                                        <p:attrNameLst>
                                          <p:attrName>style.color</p:attrName>
                                        </p:attrNameLst>
                                      </p:cBhvr>
                                      <p:by>
                                        <p:hsl h="0" s="-12549" l="-25098"/>
                                      </p:by>
                                    </p:animClr>
                                    <p:animClr clrSpc="hsl" dir="cw">
                                      <p:cBhvr>
                                        <p:cTn id="49" dur="500" fill="hold"/>
                                        <p:tgtEl>
                                          <p:spTgt spid="87"/>
                                        </p:tgtEl>
                                        <p:attrNameLst>
                                          <p:attrName>fillcolor</p:attrName>
                                        </p:attrNameLst>
                                      </p:cBhvr>
                                      <p:by>
                                        <p:hsl h="0" s="-12549" l="-25098"/>
                                      </p:by>
                                    </p:animClr>
                                    <p:animClr clrSpc="hsl" dir="cw">
                                      <p:cBhvr>
                                        <p:cTn id="50" dur="500" fill="hold"/>
                                        <p:tgtEl>
                                          <p:spTgt spid="87"/>
                                        </p:tgtEl>
                                        <p:attrNameLst>
                                          <p:attrName>stroke.color</p:attrName>
                                        </p:attrNameLst>
                                      </p:cBhvr>
                                      <p:by>
                                        <p:hsl h="0" s="-12549" l="-25098"/>
                                      </p:by>
                                    </p:animClr>
                                    <p:set>
                                      <p:cBhvr>
                                        <p:cTn id="51" dur="500" fill="hold"/>
                                        <p:tgtEl>
                                          <p:spTgt spid="8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P spid="51" grpId="0"/>
      <p:bldP spid="57" grpId="0"/>
      <p:bldP spid="8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031471" y="381000"/>
            <a:ext cx="7719589" cy="1015663"/>
          </a:xfrm>
          <a:prstGeom prst="rect">
            <a:avLst/>
          </a:prstGeom>
          <a:noFill/>
        </p:spPr>
        <p:txBody>
          <a:bodyPr wrap="square" rtlCol="0">
            <a:spAutoFit/>
          </a:bodyPr>
          <a:lstStyle/>
          <a:p>
            <a:pPr algn="ctr"/>
            <a:r>
              <a:rPr lang="fr-FR" sz="2000" b="1" dirty="0"/>
              <a:t>Ecole supérieure des industries </a:t>
            </a:r>
          </a:p>
          <a:p>
            <a:pPr algn="ctr"/>
            <a:r>
              <a:rPr lang="fr-FR" sz="2000" b="1" dirty="0"/>
              <a:t>de textile et d’habillements  - </a:t>
            </a:r>
          </a:p>
          <a:p>
            <a:pPr algn="ctr"/>
            <a:r>
              <a:rPr lang="fr-FR" sz="2000" b="1" dirty="0"/>
              <a:t>Nestlé Maroc </a:t>
            </a:r>
          </a:p>
        </p:txBody>
      </p:sp>
      <p:sp>
        <p:nvSpPr>
          <p:cNvPr id="8" name="TextBox 7"/>
          <p:cNvSpPr txBox="1"/>
          <p:nvPr/>
        </p:nvSpPr>
        <p:spPr>
          <a:xfrm>
            <a:off x="0" y="2667001"/>
            <a:ext cx="12188825" cy="954107"/>
          </a:xfrm>
          <a:prstGeom prst="rect">
            <a:avLst/>
          </a:prstGeom>
          <a:solidFill>
            <a:schemeClr val="tx2">
              <a:lumMod val="50000"/>
              <a:lumOff val="50000"/>
            </a:schemeClr>
          </a:solidFill>
        </p:spPr>
        <p:txBody>
          <a:bodyPr wrap="square" rtlCol="0">
            <a:spAutoFit/>
          </a:bodyPr>
          <a:lstStyle/>
          <a:p>
            <a:pPr algn="ctr"/>
            <a:r>
              <a:rPr lang="fr-FR" sz="3200" b="1" i="1" dirty="0">
                <a:solidFill>
                  <a:schemeClr val="bg2"/>
                </a:solidFill>
              </a:rPr>
              <a:t>   Evaluation de la performance fournisseurs</a:t>
            </a:r>
          </a:p>
          <a:p>
            <a:pPr algn="ctr"/>
            <a:r>
              <a:rPr lang="fr-FR" sz="2400" dirty="0">
                <a:solidFill>
                  <a:schemeClr val="bg2"/>
                </a:solidFill>
              </a:rPr>
              <a:t>Matière première et emballages </a:t>
            </a:r>
            <a:endParaRPr lang="fr-FR" sz="3200" b="1" i="1" dirty="0">
              <a:solidFill>
                <a:schemeClr val="bg2"/>
              </a:solidFill>
            </a:endParaRPr>
          </a:p>
        </p:txBody>
      </p:sp>
      <p:sp>
        <p:nvSpPr>
          <p:cNvPr id="13" name="TextBox 12"/>
          <p:cNvSpPr txBox="1"/>
          <p:nvPr/>
        </p:nvSpPr>
        <p:spPr>
          <a:xfrm>
            <a:off x="2133044" y="1600200"/>
            <a:ext cx="8024310" cy="707886"/>
          </a:xfrm>
          <a:prstGeom prst="rect">
            <a:avLst/>
          </a:prstGeom>
          <a:noFill/>
        </p:spPr>
        <p:txBody>
          <a:bodyPr wrap="square" rtlCol="0">
            <a:spAutoFit/>
          </a:bodyPr>
          <a:lstStyle/>
          <a:p>
            <a:pPr algn="ctr"/>
            <a:r>
              <a:rPr lang="fr-FR" sz="2000" i="1" dirty="0"/>
              <a:t>Soutenance de projet de fin d’étude </a:t>
            </a:r>
          </a:p>
          <a:p>
            <a:pPr algn="ctr"/>
            <a:r>
              <a:rPr lang="fr-FR" sz="2000" i="1" dirty="0"/>
              <a:t>Licence professionnelle : Gestion des Achats et Sourcing</a:t>
            </a:r>
          </a:p>
        </p:txBody>
      </p:sp>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1880" y="88732"/>
            <a:ext cx="2473352" cy="1307932"/>
          </a:xfrm>
          <a:prstGeom prst="rect">
            <a:avLst/>
          </a:prstGeom>
        </p:spPr>
      </p:pic>
      <p:pic>
        <p:nvPicPr>
          <p:cNvPr id="14" name="Picture 4" descr="Image associÃ©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57355" y="103912"/>
            <a:ext cx="1626149" cy="981268"/>
          </a:xfrm>
          <a:prstGeom prst="rect">
            <a:avLst/>
          </a:prstGeom>
          <a:noFill/>
          <a:extLst>
            <a:ext uri="{909E8E84-426E-40DD-AFC4-6F175D3DCCD1}">
              <a14:hiddenFill xmlns:a14="http://schemas.microsoft.com/office/drawing/2010/main">
                <a:solidFill>
                  <a:srgbClr val="FFFFFF"/>
                </a:solidFill>
              </a14:hiddenFill>
            </a:ext>
          </a:extLst>
        </p:spPr>
      </p:pic>
      <p:sp>
        <p:nvSpPr>
          <p:cNvPr id="4" name="Espace réservé du numéro de diapositive 3"/>
          <p:cNvSpPr>
            <a:spLocks noGrp="1"/>
          </p:cNvSpPr>
          <p:nvPr>
            <p:ph type="sldNum" sz="quarter" idx="12"/>
          </p:nvPr>
        </p:nvSpPr>
        <p:spPr/>
        <p:txBody>
          <a:bodyPr/>
          <a:lstStyle/>
          <a:p>
            <a:fld id="{C9F2E319-0919-499D-AD1F-7963255D1003}" type="slidenum">
              <a:rPr lang="id-ID" smtClean="0"/>
              <a:t>40</a:t>
            </a:fld>
            <a:endParaRPr lang="id-ID"/>
          </a:p>
        </p:txBody>
      </p:sp>
      <p:sp>
        <p:nvSpPr>
          <p:cNvPr id="16" name="ZoneTexte 15"/>
          <p:cNvSpPr txBox="1"/>
          <p:nvPr/>
        </p:nvSpPr>
        <p:spPr>
          <a:xfrm>
            <a:off x="124420" y="4648200"/>
            <a:ext cx="6926893" cy="3093154"/>
          </a:xfrm>
          <a:prstGeom prst="rect">
            <a:avLst/>
          </a:prstGeom>
          <a:noFill/>
        </p:spPr>
        <p:txBody>
          <a:bodyPr wrap="square" rtlCol="0">
            <a:spAutoFit/>
          </a:bodyPr>
          <a:lstStyle/>
          <a:p>
            <a:r>
              <a:rPr lang="en-US" b="1" dirty="0" err="1">
                <a:solidFill>
                  <a:schemeClr val="tx1">
                    <a:lumMod val="75000"/>
                    <a:lumOff val="25000"/>
                  </a:schemeClr>
                </a:solidFill>
                <a:latin typeface="+mj-lt"/>
              </a:rPr>
              <a:t>Soutenu</a:t>
            </a:r>
            <a:r>
              <a:rPr lang="en-US" b="1" dirty="0">
                <a:solidFill>
                  <a:schemeClr val="tx1">
                    <a:lumMod val="75000"/>
                    <a:lumOff val="25000"/>
                  </a:schemeClr>
                </a:solidFill>
                <a:latin typeface="+mj-lt"/>
              </a:rPr>
              <a:t> le 07 </a:t>
            </a:r>
            <a:r>
              <a:rPr lang="en-US" b="1" dirty="0" err="1">
                <a:solidFill>
                  <a:schemeClr val="tx1">
                    <a:lumMod val="75000"/>
                    <a:lumOff val="25000"/>
                  </a:schemeClr>
                </a:solidFill>
                <a:latin typeface="+mj-lt"/>
              </a:rPr>
              <a:t>juin</a:t>
            </a:r>
            <a:r>
              <a:rPr lang="en-US" b="1" dirty="0">
                <a:solidFill>
                  <a:schemeClr val="tx1">
                    <a:lumMod val="75000"/>
                    <a:lumOff val="25000"/>
                  </a:schemeClr>
                </a:solidFill>
                <a:latin typeface="+mj-lt"/>
              </a:rPr>
              <a:t> 2018, </a:t>
            </a:r>
            <a:r>
              <a:rPr lang="en-US" b="1" dirty="0" err="1">
                <a:solidFill>
                  <a:schemeClr val="tx1">
                    <a:lumMod val="75000"/>
                    <a:lumOff val="25000"/>
                  </a:schemeClr>
                </a:solidFill>
                <a:latin typeface="+mj-lt"/>
              </a:rPr>
              <a:t>devant</a:t>
            </a:r>
            <a:r>
              <a:rPr lang="en-US" b="1" dirty="0">
                <a:solidFill>
                  <a:schemeClr val="tx1">
                    <a:lumMod val="75000"/>
                    <a:lumOff val="25000"/>
                  </a:schemeClr>
                </a:solidFill>
                <a:latin typeface="+mj-lt"/>
              </a:rPr>
              <a:t> les </a:t>
            </a:r>
            <a:r>
              <a:rPr lang="en-US" b="1" dirty="0" err="1">
                <a:solidFill>
                  <a:schemeClr val="tx1">
                    <a:lumMod val="75000"/>
                    <a:lumOff val="25000"/>
                  </a:schemeClr>
                </a:solidFill>
                <a:latin typeface="+mj-lt"/>
              </a:rPr>
              <a:t>membres</a:t>
            </a:r>
            <a:r>
              <a:rPr lang="en-US" b="1" dirty="0">
                <a:solidFill>
                  <a:schemeClr val="tx1">
                    <a:lumMod val="75000"/>
                    <a:lumOff val="25000"/>
                  </a:schemeClr>
                </a:solidFill>
                <a:latin typeface="+mj-lt"/>
              </a:rPr>
              <a:t> de  Jury:</a:t>
            </a:r>
          </a:p>
          <a:p>
            <a:endParaRPr lang="en-US" sz="1600" dirty="0">
              <a:solidFill>
                <a:schemeClr val="tx1">
                  <a:lumMod val="75000"/>
                  <a:lumOff val="25000"/>
                </a:schemeClr>
              </a:solidFill>
              <a:latin typeface="+mj-lt"/>
            </a:endParaRPr>
          </a:p>
          <a:p>
            <a:r>
              <a:rPr lang="en-US" sz="1600" dirty="0">
                <a:solidFill>
                  <a:schemeClr val="tx1">
                    <a:lumMod val="75000"/>
                    <a:lumOff val="25000"/>
                  </a:schemeClr>
                </a:solidFill>
                <a:latin typeface="+mj-lt"/>
              </a:rPr>
              <a:t>Dr. ESSAID            :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a:t>
            </a:r>
          </a:p>
          <a:p>
            <a:r>
              <a:rPr lang="en-US" sz="1600" dirty="0">
                <a:solidFill>
                  <a:schemeClr val="tx1">
                    <a:lumMod val="75000"/>
                    <a:lumOff val="25000"/>
                  </a:schemeClr>
                </a:solidFill>
                <a:latin typeface="+mj-lt"/>
              </a:rPr>
              <a:t>M. FILALI               :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a:t>
            </a:r>
          </a:p>
          <a:p>
            <a:r>
              <a:rPr lang="en-US" sz="1600" dirty="0">
                <a:solidFill>
                  <a:schemeClr val="tx1">
                    <a:lumMod val="75000"/>
                    <a:lumOff val="25000"/>
                  </a:schemeClr>
                </a:solidFill>
                <a:latin typeface="+mj-lt"/>
              </a:rPr>
              <a:t>Mme. MERRAHI    :</a:t>
            </a:r>
            <a:r>
              <a:rPr lang="fr-FR" sz="1600" dirty="0">
                <a:solidFill>
                  <a:schemeClr val="tx1">
                    <a:lumMod val="75000"/>
                    <a:lumOff val="25000"/>
                  </a:schemeClr>
                </a:solidFill>
                <a:latin typeface="+mj-lt"/>
              </a:rPr>
              <a:t>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 </a:t>
            </a:r>
          </a:p>
          <a:p>
            <a:r>
              <a:rPr lang="en-US" sz="1600" dirty="0">
                <a:solidFill>
                  <a:schemeClr val="tx1">
                    <a:lumMod val="75000"/>
                    <a:lumOff val="25000"/>
                  </a:schemeClr>
                </a:solidFill>
                <a:latin typeface="+mj-lt"/>
              </a:rPr>
              <a:t>M. EL YAACOUBI  :</a:t>
            </a:r>
            <a:r>
              <a:rPr lang="fr-FR" sz="1600" dirty="0">
                <a:solidFill>
                  <a:schemeClr val="tx1">
                    <a:lumMod val="75000"/>
                    <a:lumOff val="25000"/>
                  </a:schemeClr>
                </a:solidFill>
                <a:latin typeface="+mj-lt"/>
              </a:rPr>
              <a:t>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 </a:t>
            </a:r>
          </a:p>
          <a:p>
            <a:r>
              <a:rPr lang="en-US" dirty="0">
                <a:solidFill>
                  <a:schemeClr val="tx1">
                    <a:lumMod val="75000"/>
                    <a:lumOff val="25000"/>
                  </a:schemeClr>
                </a:solidFill>
                <a:latin typeface="Source Sans Pro" panose="020B0503030403020204" pitchFamily="34" charset="0"/>
              </a:rPr>
              <a:t> </a:t>
            </a:r>
            <a:endParaRPr lang="fr-FR" dirty="0">
              <a:solidFill>
                <a:schemeClr val="tx1">
                  <a:lumMod val="75000"/>
                  <a:lumOff val="25000"/>
                </a:schemeClr>
              </a:solidFill>
              <a:latin typeface="Source Sans Pro" panose="020B0503030403020204" pitchFamily="34" charset="0"/>
            </a:endParaRPr>
          </a:p>
          <a:p>
            <a:r>
              <a:rPr lang="fr-FR" dirty="0">
                <a:solidFill>
                  <a:schemeClr val="tx1">
                    <a:lumMod val="75000"/>
                    <a:lumOff val="25000"/>
                  </a:schemeClr>
                </a:solidFill>
                <a:latin typeface="Source Sans Pro" panose="020B0503030403020204" pitchFamily="34" charset="0"/>
              </a:rPr>
              <a:t>  </a:t>
            </a:r>
          </a:p>
          <a:p>
            <a:r>
              <a:rPr lang="fr-FR" dirty="0">
                <a:solidFill>
                  <a:schemeClr val="tx1">
                    <a:lumMod val="75000"/>
                    <a:lumOff val="25000"/>
                  </a:schemeClr>
                </a:solidFill>
                <a:latin typeface="Source Sans Pro" panose="020B0503030403020204" pitchFamily="34" charset="0"/>
              </a:rPr>
              <a:t>    </a:t>
            </a:r>
            <a:endParaRPr lang="fr-FR" dirty="0">
              <a:solidFill>
                <a:schemeClr val="tx1">
                  <a:lumMod val="75000"/>
                  <a:lumOff val="25000"/>
                </a:schemeClr>
              </a:solidFill>
              <a:latin typeface="+mj-lt"/>
            </a:endParaRPr>
          </a:p>
        </p:txBody>
      </p:sp>
      <p:sp>
        <p:nvSpPr>
          <p:cNvPr id="17" name="ZoneTexte 16"/>
          <p:cNvSpPr txBox="1"/>
          <p:nvPr/>
        </p:nvSpPr>
        <p:spPr>
          <a:xfrm>
            <a:off x="7694612" y="4690408"/>
            <a:ext cx="4669855" cy="1723549"/>
          </a:xfrm>
          <a:prstGeom prst="rect">
            <a:avLst/>
          </a:prstGeom>
          <a:noFill/>
        </p:spPr>
        <p:txBody>
          <a:bodyPr wrap="square" rtlCol="0">
            <a:spAutoFit/>
          </a:bodyPr>
          <a:lstStyle/>
          <a:p>
            <a:r>
              <a:rPr lang="en-US" b="1" dirty="0" err="1">
                <a:latin typeface="+mj-lt"/>
              </a:rPr>
              <a:t>Encadré</a:t>
            </a:r>
            <a:r>
              <a:rPr lang="en-US" b="1" dirty="0">
                <a:latin typeface="+mj-lt"/>
              </a:rPr>
              <a:t> par: </a:t>
            </a:r>
          </a:p>
          <a:p>
            <a:endParaRPr lang="en-US" dirty="0">
              <a:latin typeface="+mj-lt"/>
            </a:endParaRPr>
          </a:p>
          <a:p>
            <a:r>
              <a:rPr lang="fr-FR" sz="2000" dirty="0">
                <a:latin typeface="+mj-lt"/>
              </a:rPr>
              <a:t>Maitre de stage: </a:t>
            </a:r>
            <a:r>
              <a:rPr lang="fr-FR" sz="2000" b="1" dirty="0">
                <a:latin typeface="+mj-lt"/>
              </a:rPr>
              <a:t>M. RACHIDI Hassan </a:t>
            </a:r>
          </a:p>
          <a:p>
            <a:r>
              <a:rPr lang="fr-FR" sz="2000" dirty="0">
                <a:latin typeface="+mj-lt"/>
              </a:rPr>
              <a:t>Encadrant</a:t>
            </a:r>
            <a:r>
              <a:rPr lang="en-US" sz="2000" dirty="0">
                <a:latin typeface="+mj-lt"/>
              </a:rPr>
              <a:t> </a:t>
            </a:r>
            <a:r>
              <a:rPr lang="fr-FR" sz="2000" dirty="0">
                <a:latin typeface="+mj-lt"/>
              </a:rPr>
              <a:t>Pédagogique: </a:t>
            </a:r>
            <a:r>
              <a:rPr lang="fr-FR" sz="2000" b="1" dirty="0">
                <a:latin typeface="+mj-lt"/>
              </a:rPr>
              <a:t>Mme. DJOUDI Fatna </a:t>
            </a:r>
          </a:p>
        </p:txBody>
      </p:sp>
    </p:spTree>
    <p:extLst>
      <p:ext uri="{BB962C8B-B14F-4D97-AF65-F5344CB8AC3E}">
        <p14:creationId xmlns:p14="http://schemas.microsoft.com/office/powerpoint/2010/main" val="805442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à coins arrondis 18"/>
          <p:cNvSpPr/>
          <p:nvPr/>
        </p:nvSpPr>
        <p:spPr>
          <a:xfrm>
            <a:off x="10567582" y="78177"/>
            <a:ext cx="1497505" cy="1103516"/>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extBox 3"/>
          <p:cNvSpPr txBox="1"/>
          <p:nvPr/>
        </p:nvSpPr>
        <p:spPr>
          <a:xfrm>
            <a:off x="2874926" y="2397158"/>
            <a:ext cx="6430657" cy="1015663"/>
          </a:xfrm>
          <a:prstGeom prst="rect">
            <a:avLst/>
          </a:prstGeom>
          <a:noFill/>
        </p:spPr>
        <p:txBody>
          <a:bodyPr wrap="square" rtlCol="0">
            <a:spAutoFit/>
          </a:bodyPr>
          <a:lstStyle/>
          <a:p>
            <a:pPr algn="ctr"/>
            <a:r>
              <a:rPr lang="fr-FR" sz="3600" b="1" spc="-300" dirty="0">
                <a:solidFill>
                  <a:schemeClr val="tx1">
                    <a:lumMod val="75000"/>
                    <a:lumOff val="25000"/>
                  </a:schemeClr>
                </a:solidFill>
                <a:latin typeface="+mj-lt"/>
              </a:rPr>
              <a:t>Evaluation des  fournisseurs  </a:t>
            </a:r>
          </a:p>
          <a:p>
            <a:pPr algn="ctr"/>
            <a:r>
              <a:rPr lang="fr-FR" sz="2400" spc="-300" dirty="0">
                <a:solidFill>
                  <a:schemeClr val="tx1">
                    <a:lumMod val="75000"/>
                    <a:lumOff val="25000"/>
                  </a:schemeClr>
                </a:solidFill>
                <a:latin typeface="Arial" panose="020B0604020202020204" pitchFamily="34" charset="0"/>
                <a:cs typeface="Arial" panose="020B0604020202020204" pitchFamily="34" charset="0"/>
              </a:rPr>
              <a:t>Matières premières et  emballages </a:t>
            </a:r>
          </a:p>
        </p:txBody>
      </p:sp>
      <p:cxnSp>
        <p:nvCxnSpPr>
          <p:cNvPr id="5" name="Straight Connector 4"/>
          <p:cNvCxnSpPr/>
          <p:nvPr/>
        </p:nvCxnSpPr>
        <p:spPr>
          <a:xfrm>
            <a:off x="4843213" y="1681282"/>
            <a:ext cx="197793"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5326049" y="1503676"/>
            <a:ext cx="1528417" cy="307777"/>
          </a:xfrm>
          <a:prstGeom prst="rect">
            <a:avLst/>
          </a:prstGeom>
          <a:noFill/>
        </p:spPr>
        <p:txBody>
          <a:bodyPr wrap="none">
            <a:spAutoFit/>
          </a:bodyPr>
          <a:lstStyle/>
          <a:p>
            <a:pPr algn="ctr"/>
            <a:r>
              <a:rPr lang="en-US" sz="1400" dirty="0">
                <a:solidFill>
                  <a:schemeClr val="tx1">
                    <a:lumMod val="65000"/>
                    <a:lumOff val="35000"/>
                  </a:schemeClr>
                </a:solidFill>
                <a:latin typeface="Source Sans Pro" pitchFamily="34" charset="0"/>
              </a:rPr>
              <a:t>Fatina EL KTAM</a:t>
            </a:r>
          </a:p>
        </p:txBody>
      </p:sp>
      <p:cxnSp>
        <p:nvCxnSpPr>
          <p:cNvPr id="13" name="Straight Connector 12"/>
          <p:cNvCxnSpPr/>
          <p:nvPr/>
        </p:nvCxnSpPr>
        <p:spPr>
          <a:xfrm>
            <a:off x="7051315" y="1684067"/>
            <a:ext cx="197793"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 name="ZoneTexte 2"/>
          <p:cNvSpPr txBox="1"/>
          <p:nvPr/>
        </p:nvSpPr>
        <p:spPr>
          <a:xfrm>
            <a:off x="7325852" y="4690408"/>
            <a:ext cx="5038615" cy="1723549"/>
          </a:xfrm>
          <a:prstGeom prst="rect">
            <a:avLst/>
          </a:prstGeom>
          <a:noFill/>
        </p:spPr>
        <p:txBody>
          <a:bodyPr wrap="square" rtlCol="0">
            <a:spAutoFit/>
          </a:bodyPr>
          <a:lstStyle/>
          <a:p>
            <a:r>
              <a:rPr lang="en-US" b="1" dirty="0" err="1">
                <a:latin typeface="+mj-lt"/>
              </a:rPr>
              <a:t>Encadré</a:t>
            </a:r>
            <a:r>
              <a:rPr lang="en-US" b="1" dirty="0">
                <a:latin typeface="+mj-lt"/>
              </a:rPr>
              <a:t> par: </a:t>
            </a:r>
          </a:p>
          <a:p>
            <a:endParaRPr lang="en-US" dirty="0">
              <a:latin typeface="+mj-lt"/>
            </a:endParaRPr>
          </a:p>
          <a:p>
            <a:r>
              <a:rPr lang="fr-FR" sz="2000" dirty="0">
                <a:latin typeface="+mj-lt"/>
              </a:rPr>
              <a:t>Maitre de stage: </a:t>
            </a:r>
            <a:r>
              <a:rPr lang="fr-FR" sz="2000" b="1" dirty="0">
                <a:latin typeface="+mj-lt"/>
              </a:rPr>
              <a:t>M. RACHIDI Hassan </a:t>
            </a:r>
          </a:p>
          <a:p>
            <a:r>
              <a:rPr lang="fr-FR" sz="2000" dirty="0">
                <a:latin typeface="+mj-lt"/>
              </a:rPr>
              <a:t>Encadrant</a:t>
            </a:r>
            <a:r>
              <a:rPr lang="en-US" sz="2000" dirty="0">
                <a:latin typeface="+mj-lt"/>
              </a:rPr>
              <a:t> </a:t>
            </a:r>
            <a:r>
              <a:rPr lang="fr-FR" sz="2000" dirty="0">
                <a:latin typeface="+mj-lt"/>
              </a:rPr>
              <a:t>Pédagogique: </a:t>
            </a:r>
            <a:r>
              <a:rPr lang="fr-FR" sz="2000" b="1" dirty="0">
                <a:latin typeface="+mj-lt"/>
              </a:rPr>
              <a:t>Mme. DJOUDI Fatna </a:t>
            </a:r>
          </a:p>
        </p:txBody>
      </p:sp>
      <p:sp>
        <p:nvSpPr>
          <p:cNvPr id="14" name="ZoneTexte 13"/>
          <p:cNvSpPr txBox="1"/>
          <p:nvPr/>
        </p:nvSpPr>
        <p:spPr>
          <a:xfrm>
            <a:off x="124420" y="4648200"/>
            <a:ext cx="6926893" cy="3093154"/>
          </a:xfrm>
          <a:prstGeom prst="rect">
            <a:avLst/>
          </a:prstGeom>
          <a:noFill/>
        </p:spPr>
        <p:txBody>
          <a:bodyPr wrap="square" rtlCol="0">
            <a:spAutoFit/>
          </a:bodyPr>
          <a:lstStyle/>
          <a:p>
            <a:r>
              <a:rPr lang="en-US" b="1" dirty="0" err="1">
                <a:solidFill>
                  <a:schemeClr val="tx1">
                    <a:lumMod val="75000"/>
                    <a:lumOff val="25000"/>
                  </a:schemeClr>
                </a:solidFill>
                <a:latin typeface="+mj-lt"/>
              </a:rPr>
              <a:t>Soutenu</a:t>
            </a:r>
            <a:r>
              <a:rPr lang="en-US" b="1" dirty="0">
                <a:solidFill>
                  <a:schemeClr val="tx1">
                    <a:lumMod val="75000"/>
                    <a:lumOff val="25000"/>
                  </a:schemeClr>
                </a:solidFill>
                <a:latin typeface="+mj-lt"/>
              </a:rPr>
              <a:t> le 07 </a:t>
            </a:r>
            <a:r>
              <a:rPr lang="en-US" b="1" dirty="0" err="1">
                <a:solidFill>
                  <a:schemeClr val="tx1">
                    <a:lumMod val="75000"/>
                    <a:lumOff val="25000"/>
                  </a:schemeClr>
                </a:solidFill>
                <a:latin typeface="+mj-lt"/>
              </a:rPr>
              <a:t>juin</a:t>
            </a:r>
            <a:r>
              <a:rPr lang="en-US" b="1" dirty="0">
                <a:solidFill>
                  <a:schemeClr val="tx1">
                    <a:lumMod val="75000"/>
                    <a:lumOff val="25000"/>
                  </a:schemeClr>
                </a:solidFill>
                <a:latin typeface="+mj-lt"/>
              </a:rPr>
              <a:t> 2018, </a:t>
            </a:r>
            <a:r>
              <a:rPr lang="en-US" b="1" dirty="0" err="1">
                <a:solidFill>
                  <a:schemeClr val="tx1">
                    <a:lumMod val="75000"/>
                    <a:lumOff val="25000"/>
                  </a:schemeClr>
                </a:solidFill>
                <a:latin typeface="+mj-lt"/>
              </a:rPr>
              <a:t>devant</a:t>
            </a:r>
            <a:r>
              <a:rPr lang="en-US" b="1" dirty="0">
                <a:solidFill>
                  <a:schemeClr val="tx1">
                    <a:lumMod val="75000"/>
                    <a:lumOff val="25000"/>
                  </a:schemeClr>
                </a:solidFill>
                <a:latin typeface="+mj-lt"/>
              </a:rPr>
              <a:t> les </a:t>
            </a:r>
            <a:r>
              <a:rPr lang="en-US" b="1" dirty="0" err="1">
                <a:solidFill>
                  <a:schemeClr val="tx1">
                    <a:lumMod val="75000"/>
                    <a:lumOff val="25000"/>
                  </a:schemeClr>
                </a:solidFill>
                <a:latin typeface="+mj-lt"/>
              </a:rPr>
              <a:t>membres</a:t>
            </a:r>
            <a:r>
              <a:rPr lang="en-US" b="1" dirty="0">
                <a:solidFill>
                  <a:schemeClr val="tx1">
                    <a:lumMod val="75000"/>
                    <a:lumOff val="25000"/>
                  </a:schemeClr>
                </a:solidFill>
                <a:latin typeface="+mj-lt"/>
              </a:rPr>
              <a:t> de  Jury:</a:t>
            </a:r>
          </a:p>
          <a:p>
            <a:endParaRPr lang="en-US" sz="1600" dirty="0">
              <a:solidFill>
                <a:schemeClr val="tx1">
                  <a:lumMod val="75000"/>
                  <a:lumOff val="25000"/>
                </a:schemeClr>
              </a:solidFill>
              <a:latin typeface="+mj-lt"/>
            </a:endParaRPr>
          </a:p>
          <a:p>
            <a:r>
              <a:rPr lang="en-US" sz="1600" dirty="0">
                <a:solidFill>
                  <a:schemeClr val="tx1">
                    <a:lumMod val="75000"/>
                    <a:lumOff val="25000"/>
                  </a:schemeClr>
                </a:solidFill>
                <a:latin typeface="+mj-lt"/>
              </a:rPr>
              <a:t>Dr. ESSAID            :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a:t>
            </a:r>
          </a:p>
          <a:p>
            <a:r>
              <a:rPr lang="en-US" sz="1600" dirty="0">
                <a:solidFill>
                  <a:schemeClr val="tx1">
                    <a:lumMod val="75000"/>
                    <a:lumOff val="25000"/>
                  </a:schemeClr>
                </a:solidFill>
                <a:latin typeface="+mj-lt"/>
              </a:rPr>
              <a:t>M. FILALI               :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a:t>
            </a:r>
          </a:p>
          <a:p>
            <a:r>
              <a:rPr lang="en-US" sz="1600" dirty="0">
                <a:solidFill>
                  <a:schemeClr val="tx1">
                    <a:lumMod val="75000"/>
                    <a:lumOff val="25000"/>
                  </a:schemeClr>
                </a:solidFill>
                <a:latin typeface="+mj-lt"/>
              </a:rPr>
              <a:t>Mme. MERRAHI    :</a:t>
            </a:r>
            <a:r>
              <a:rPr lang="fr-FR" sz="1600" dirty="0">
                <a:solidFill>
                  <a:schemeClr val="tx1">
                    <a:lumMod val="75000"/>
                    <a:lumOff val="25000"/>
                  </a:schemeClr>
                </a:solidFill>
                <a:latin typeface="+mj-lt"/>
              </a:rPr>
              <a:t>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 </a:t>
            </a:r>
          </a:p>
          <a:p>
            <a:r>
              <a:rPr lang="en-US" sz="1600" dirty="0">
                <a:solidFill>
                  <a:schemeClr val="tx1">
                    <a:lumMod val="75000"/>
                    <a:lumOff val="25000"/>
                  </a:schemeClr>
                </a:solidFill>
                <a:latin typeface="+mj-lt"/>
              </a:rPr>
              <a:t>M. EL YAACOUBI  :</a:t>
            </a:r>
            <a:r>
              <a:rPr lang="fr-FR" sz="1600" dirty="0">
                <a:solidFill>
                  <a:schemeClr val="tx1">
                    <a:lumMod val="75000"/>
                    <a:lumOff val="25000"/>
                  </a:schemeClr>
                </a:solidFill>
                <a:latin typeface="+mj-lt"/>
              </a:rPr>
              <a:t> </a:t>
            </a:r>
            <a:r>
              <a:rPr lang="fr-FR" sz="1600" dirty="0" err="1">
                <a:solidFill>
                  <a:schemeClr val="tx1">
                    <a:lumMod val="75000"/>
                    <a:lumOff val="25000"/>
                  </a:schemeClr>
                </a:solidFill>
                <a:latin typeface="+mj-lt"/>
              </a:rPr>
              <a:t>Proffessseur</a:t>
            </a:r>
            <a:r>
              <a:rPr lang="en-US" sz="1600" dirty="0">
                <a:solidFill>
                  <a:schemeClr val="tx1">
                    <a:lumMod val="75000"/>
                    <a:lumOff val="25000"/>
                  </a:schemeClr>
                </a:solidFill>
                <a:latin typeface="+mj-lt"/>
              </a:rPr>
              <a:t> à </a:t>
            </a:r>
            <a:r>
              <a:rPr lang="en-US" sz="1600" dirty="0" err="1">
                <a:solidFill>
                  <a:schemeClr val="tx1">
                    <a:lumMod val="75000"/>
                    <a:lumOff val="25000"/>
                  </a:schemeClr>
                </a:solidFill>
                <a:latin typeface="+mj-lt"/>
              </a:rPr>
              <a:t>l’ESITH</a:t>
            </a:r>
            <a:r>
              <a:rPr lang="en-US" sz="1600" dirty="0">
                <a:solidFill>
                  <a:schemeClr val="tx1">
                    <a:lumMod val="75000"/>
                    <a:lumOff val="25000"/>
                  </a:schemeClr>
                </a:solidFill>
                <a:latin typeface="+mj-lt"/>
              </a:rPr>
              <a:t> Casablanca </a:t>
            </a:r>
          </a:p>
          <a:p>
            <a:r>
              <a:rPr lang="en-US" dirty="0">
                <a:solidFill>
                  <a:schemeClr val="tx1">
                    <a:lumMod val="75000"/>
                    <a:lumOff val="25000"/>
                  </a:schemeClr>
                </a:solidFill>
                <a:latin typeface="Source Sans Pro" panose="020B0503030403020204" pitchFamily="34" charset="0"/>
              </a:rPr>
              <a:t> </a:t>
            </a:r>
            <a:endParaRPr lang="fr-FR" dirty="0">
              <a:solidFill>
                <a:schemeClr val="tx1">
                  <a:lumMod val="75000"/>
                  <a:lumOff val="25000"/>
                </a:schemeClr>
              </a:solidFill>
              <a:latin typeface="Source Sans Pro" panose="020B0503030403020204" pitchFamily="34" charset="0"/>
            </a:endParaRPr>
          </a:p>
          <a:p>
            <a:r>
              <a:rPr lang="fr-FR" dirty="0">
                <a:solidFill>
                  <a:schemeClr val="tx1">
                    <a:lumMod val="75000"/>
                    <a:lumOff val="25000"/>
                  </a:schemeClr>
                </a:solidFill>
                <a:latin typeface="Source Sans Pro" panose="020B0503030403020204" pitchFamily="34" charset="0"/>
              </a:rPr>
              <a:t>  </a:t>
            </a:r>
          </a:p>
          <a:p>
            <a:r>
              <a:rPr lang="fr-FR" dirty="0">
                <a:solidFill>
                  <a:schemeClr val="tx1">
                    <a:lumMod val="75000"/>
                    <a:lumOff val="25000"/>
                  </a:schemeClr>
                </a:solidFill>
                <a:latin typeface="Source Sans Pro" panose="020B0503030403020204" pitchFamily="34" charset="0"/>
              </a:rPr>
              <a:t>    </a:t>
            </a:r>
            <a:endParaRPr lang="fr-FR" dirty="0">
              <a:solidFill>
                <a:schemeClr val="tx1">
                  <a:lumMod val="75000"/>
                  <a:lumOff val="25000"/>
                </a:schemeClr>
              </a:solidFill>
              <a:latin typeface="+mj-lt"/>
            </a:endParaRPr>
          </a:p>
        </p:txBody>
      </p:sp>
      <p:sp>
        <p:nvSpPr>
          <p:cNvPr id="18" name="ZoneTexte 17"/>
          <p:cNvSpPr txBox="1"/>
          <p:nvPr/>
        </p:nvSpPr>
        <p:spPr>
          <a:xfrm>
            <a:off x="1655691" y="463826"/>
            <a:ext cx="8280452" cy="1154162"/>
          </a:xfrm>
          <a:prstGeom prst="rect">
            <a:avLst/>
          </a:prstGeom>
          <a:noFill/>
        </p:spPr>
        <p:txBody>
          <a:bodyPr wrap="square" rtlCol="0">
            <a:spAutoFit/>
          </a:bodyPr>
          <a:lstStyle/>
          <a:p>
            <a:pPr algn="ctr"/>
            <a:r>
              <a:rPr lang="fr-FR" b="1" dirty="0">
                <a:solidFill>
                  <a:schemeClr val="tx1">
                    <a:lumMod val="65000"/>
                    <a:lumOff val="35000"/>
                  </a:schemeClr>
                </a:solidFill>
              </a:rPr>
              <a:t>Ecole supérieure des industries de textile et d’habillement Casablanca  </a:t>
            </a:r>
          </a:p>
          <a:p>
            <a:pPr algn="ctr"/>
            <a:r>
              <a:rPr lang="fr-FR" b="1" dirty="0">
                <a:solidFill>
                  <a:schemeClr val="tx1">
                    <a:lumMod val="65000"/>
                    <a:lumOff val="35000"/>
                  </a:schemeClr>
                </a:solidFill>
              </a:rPr>
              <a:t>Nestlé </a:t>
            </a:r>
          </a:p>
        </p:txBody>
      </p:sp>
      <p:sp>
        <p:nvSpPr>
          <p:cNvPr id="24" name="Rectangle à coins arrondis 23"/>
          <p:cNvSpPr/>
          <p:nvPr/>
        </p:nvSpPr>
        <p:spPr>
          <a:xfrm>
            <a:off x="216094" y="97420"/>
            <a:ext cx="1497505" cy="1103516"/>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8199" y="100872"/>
            <a:ext cx="2096268" cy="1058126"/>
          </a:xfrm>
          <a:prstGeom prst="rect">
            <a:avLst/>
          </a:prstGeom>
        </p:spPr>
      </p:pic>
      <p:pic>
        <p:nvPicPr>
          <p:cNvPr id="9" name="Image 8"/>
          <p:cNvPicPr>
            <a:picLocks noChangeAspect="1"/>
          </p:cNvPicPr>
          <p:nvPr/>
        </p:nvPicPr>
        <p:blipFill rotWithShape="1">
          <a:blip r:embed="rId4">
            <a:extLst>
              <a:ext uri="{28A0092B-C50C-407E-A947-70E740481C1C}">
                <a14:useLocalDpi xmlns:a14="http://schemas.microsoft.com/office/drawing/2010/main" val="0"/>
              </a:ext>
            </a:extLst>
          </a:blip>
          <a:srcRect t="16681"/>
          <a:stretch/>
        </p:blipFill>
        <p:spPr>
          <a:xfrm>
            <a:off x="252886" y="132098"/>
            <a:ext cx="1460713" cy="995605"/>
          </a:xfrm>
          <a:prstGeom prst="rect">
            <a:avLst/>
          </a:prstGeom>
        </p:spPr>
      </p:pic>
    </p:spTree>
    <p:extLst>
      <p:ext uri="{BB962C8B-B14F-4D97-AF65-F5344CB8AC3E}">
        <p14:creationId xmlns:p14="http://schemas.microsoft.com/office/powerpoint/2010/main" val="31347616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22" presetClass="entr" presetSubtype="2"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wipe(right)">
                                      <p:cBhvr>
                                        <p:cTn id="10" dur="750"/>
                                        <p:tgtEl>
                                          <p:spTgt spid="5"/>
                                        </p:tgtEl>
                                      </p:cBhvr>
                                    </p:animEffect>
                                  </p:childTnLst>
                                </p:cTn>
                              </p:par>
                              <p:par>
                                <p:cTn id="11" presetID="22" presetClass="entr" presetSubtype="8"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750"/>
                                        <p:tgtEl>
                                          <p:spTgt spid="13"/>
                                        </p:tgtEl>
                                      </p:cBhvr>
                                    </p:animEffect>
                                  </p:childTnLst>
                                </p:cTn>
                              </p:par>
                            </p:childTnLst>
                          </p:cTn>
                        </p:par>
                        <p:par>
                          <p:cTn id="14" fill="hold">
                            <p:stCondLst>
                              <p:cond delay="1250"/>
                            </p:stCondLst>
                            <p:childTnLst>
                              <p:par>
                                <p:cTn id="15" presetID="2" presetClass="entr" presetSubtype="4" decel="100000" fill="hold" grpId="0" nodeType="afterEffect">
                                  <p:stCondLst>
                                    <p:cond delay="0"/>
                                  </p:stCondLst>
                                  <p:iterate type="wd">
                                    <p:tmPct val="10000"/>
                                  </p:iterate>
                                  <p:childTnLst>
                                    <p:set>
                                      <p:cBhvr>
                                        <p:cTn id="16" dur="1" fill="hold">
                                          <p:stCondLst>
                                            <p:cond delay="0"/>
                                          </p:stCondLst>
                                        </p:cTn>
                                        <p:tgtEl>
                                          <p:spTgt spid="4"/>
                                        </p:tgtEl>
                                        <p:attrNameLst>
                                          <p:attrName>style.visibility</p:attrName>
                                        </p:attrNameLst>
                                      </p:cBhvr>
                                      <p:to>
                                        <p:strVal val="visible"/>
                                      </p:to>
                                    </p:set>
                                    <p:anim calcmode="lin" valueType="num">
                                      <p:cBhvr additive="base">
                                        <p:cTn id="17" dur="750" fill="hold"/>
                                        <p:tgtEl>
                                          <p:spTgt spid="4"/>
                                        </p:tgtEl>
                                        <p:attrNameLst>
                                          <p:attrName>ppt_x</p:attrName>
                                        </p:attrNameLst>
                                      </p:cBhvr>
                                      <p:tavLst>
                                        <p:tav tm="0">
                                          <p:val>
                                            <p:strVal val="#ppt_x"/>
                                          </p:val>
                                        </p:tav>
                                        <p:tav tm="100000">
                                          <p:val>
                                            <p:strVal val="#ppt_x"/>
                                          </p:val>
                                        </p:tav>
                                      </p:tavLst>
                                    </p:anim>
                                    <p:anim calcmode="lin" valueType="num">
                                      <p:cBhvr additive="base">
                                        <p:cTn id="18" dur="75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2450"/>
                            </p:stCondLst>
                            <p:childTnLst>
                              <p:par>
                                <p:cTn id="20" presetID="10" presetClass="entr" presetSubtype="0"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par>
                          <p:cTn id="23" fill="hold">
                            <p:stCondLst>
                              <p:cond delay="2950"/>
                            </p:stCondLst>
                            <p:childTnLst>
                              <p:par>
                                <p:cTn id="24" presetID="10" presetClass="entr" presetSubtype="0" fill="hold" grpId="0"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3" grpId="0"/>
      <p:bldP spid="1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89212" y="-228600"/>
            <a:ext cx="7239000" cy="1143000"/>
          </a:xfrm>
        </p:spPr>
        <p:txBody>
          <a:bodyPr>
            <a:normAutofit/>
          </a:bodyPr>
          <a:lstStyle/>
          <a:p>
            <a:r>
              <a:rPr lang="fr-FR" sz="2000" dirty="0"/>
              <a:t>Plan d’action /Solution proposé </a:t>
            </a:r>
          </a:p>
        </p:txBody>
      </p:sp>
      <p:sp>
        <p:nvSpPr>
          <p:cNvPr id="3" name="Espace réservé du contenu 2"/>
          <p:cNvSpPr>
            <a:spLocks noGrp="1"/>
          </p:cNvSpPr>
          <p:nvPr>
            <p:ph idx="1"/>
          </p:nvPr>
        </p:nvSpPr>
        <p:spPr>
          <a:xfrm>
            <a:off x="227012" y="838200"/>
            <a:ext cx="5715000" cy="5715000"/>
          </a:xfrm>
        </p:spPr>
        <p:txBody>
          <a:bodyPr>
            <a:normAutofit fontScale="40000" lnSpcReduction="20000"/>
          </a:bodyPr>
          <a:lstStyle/>
          <a:p>
            <a:pPr marL="0" indent="0">
              <a:buNone/>
            </a:pPr>
            <a:r>
              <a:rPr lang="fr-FR" sz="4500" b="1" dirty="0"/>
              <a:t>Qualité : </a:t>
            </a:r>
          </a:p>
          <a:p>
            <a:pPr>
              <a:buFontTx/>
              <a:buChar char="-"/>
            </a:pPr>
            <a:r>
              <a:rPr lang="fr-FR" dirty="0"/>
              <a:t>Réaliser le contrôle qualité ( des </a:t>
            </a:r>
            <a:r>
              <a:rPr lang="fr-FR" dirty="0" err="1"/>
              <a:t>bouqots</a:t>
            </a:r>
            <a:r>
              <a:rPr lang="fr-FR" dirty="0"/>
              <a:t>) à temps pour éviter l’</a:t>
            </a:r>
            <a:r>
              <a:rPr lang="fr-FR" dirty="0" err="1"/>
              <a:t>arrét</a:t>
            </a:r>
            <a:r>
              <a:rPr lang="fr-FR" dirty="0"/>
              <a:t> de </a:t>
            </a:r>
            <a:r>
              <a:rPr lang="fr-FR" dirty="0" err="1"/>
              <a:t>productionà</a:t>
            </a:r>
            <a:r>
              <a:rPr lang="fr-FR" dirty="0"/>
              <a:t> la date demandé,</a:t>
            </a:r>
          </a:p>
          <a:p>
            <a:pPr>
              <a:buFontTx/>
              <a:buChar char="-"/>
            </a:pPr>
            <a:r>
              <a:rPr lang="fr-FR" dirty="0"/>
              <a:t>(libérer) la marchandises en 2jrs maximum . </a:t>
            </a:r>
          </a:p>
          <a:p>
            <a:pPr marL="0" indent="0">
              <a:buNone/>
            </a:pPr>
            <a:r>
              <a:rPr lang="fr-FR" sz="4500" b="1" dirty="0"/>
              <a:t>Acheteurs : </a:t>
            </a:r>
          </a:p>
          <a:p>
            <a:pPr>
              <a:buFontTx/>
              <a:buChar char="-"/>
            </a:pPr>
            <a:r>
              <a:rPr lang="fr-FR" dirty="0"/>
              <a:t>Demander au Strategic </a:t>
            </a:r>
            <a:r>
              <a:rPr lang="fr-FR" dirty="0" err="1"/>
              <a:t>Buyer</a:t>
            </a:r>
            <a:r>
              <a:rPr lang="fr-FR" dirty="0"/>
              <a:t> qu’il soit très réactif </a:t>
            </a:r>
            <a:r>
              <a:rPr lang="fr-FR" dirty="0">
                <a:sym typeface="Wingdings" panose="05000000000000000000" pitchFamily="2" charset="2"/>
              </a:rPr>
              <a:t> et répondre au mail surtout des frs pour accordé le nouveau prix des fournisseurs , </a:t>
            </a:r>
          </a:p>
          <a:p>
            <a:pPr>
              <a:buFontTx/>
              <a:buChar char="-"/>
            </a:pPr>
            <a:r>
              <a:rPr lang="fr-FR" dirty="0">
                <a:sym typeface="Wingdings" panose="05000000000000000000" pitchFamily="2" charset="2"/>
              </a:rPr>
              <a:t>Planificateur  </a:t>
            </a:r>
          </a:p>
          <a:p>
            <a:pPr>
              <a:buFontTx/>
              <a:buChar char="-"/>
            </a:pPr>
            <a:r>
              <a:rPr lang="fr-FR" dirty="0">
                <a:sym typeface="Wingdings" panose="05000000000000000000" pitchFamily="2" charset="2"/>
              </a:rPr>
              <a:t>Stock de consignation  ou de sécurité,   </a:t>
            </a:r>
          </a:p>
          <a:p>
            <a:pPr marL="0" indent="0">
              <a:buNone/>
            </a:pPr>
            <a:r>
              <a:rPr lang="fr-FR" sz="4500" b="1" dirty="0">
                <a:sym typeface="Wingdings" panose="05000000000000000000" pitchFamily="2" charset="2"/>
              </a:rPr>
              <a:t>Système :     </a:t>
            </a:r>
          </a:p>
          <a:p>
            <a:pPr>
              <a:buFontTx/>
              <a:buChar char="-"/>
            </a:pPr>
            <a:r>
              <a:rPr lang="fr-FR" dirty="0">
                <a:sym typeface="Wingdings" panose="05000000000000000000" pitchFamily="2" charset="2"/>
              </a:rPr>
              <a:t>Réajuster le MRP pour recevoir des données exacte de notre besoin pour passé la commande au frs </a:t>
            </a:r>
          </a:p>
          <a:p>
            <a:pPr>
              <a:buFontTx/>
              <a:buChar char="-"/>
            </a:pPr>
            <a:r>
              <a:rPr lang="fr-FR" dirty="0">
                <a:sym typeface="Wingdings" panose="05000000000000000000" pitchFamily="2" charset="2"/>
              </a:rPr>
              <a:t>Formation pour maitriser l’outil de nouveau calcul FOB, </a:t>
            </a:r>
          </a:p>
          <a:p>
            <a:pPr marL="0" indent="0">
              <a:buNone/>
            </a:pPr>
            <a:r>
              <a:rPr lang="fr-FR" sz="4500" b="1" dirty="0">
                <a:sym typeface="Wingdings" panose="05000000000000000000" pitchFamily="2" charset="2"/>
              </a:rPr>
              <a:t>Le frs </a:t>
            </a:r>
            <a:r>
              <a:rPr lang="fr-FR" dirty="0">
                <a:sym typeface="Wingdings" panose="05000000000000000000" pitchFamily="2" charset="2"/>
              </a:rPr>
              <a:t>:    </a:t>
            </a:r>
          </a:p>
          <a:p>
            <a:pPr>
              <a:buFontTx/>
              <a:buChar char="-"/>
            </a:pPr>
            <a:r>
              <a:rPr lang="fr-FR" dirty="0">
                <a:sym typeface="Wingdings" panose="05000000000000000000" pitchFamily="2" charset="2"/>
              </a:rPr>
              <a:t>Respect des Prévisions partager avec lui,    </a:t>
            </a:r>
          </a:p>
          <a:p>
            <a:pPr>
              <a:buFontTx/>
              <a:buChar char="-"/>
            </a:pPr>
            <a:r>
              <a:rPr lang="fr-FR" dirty="0"/>
              <a:t>les produits qui ont une certificats faut les envoyer avant la réception et avec la réception pour vérifier la conformité.      </a:t>
            </a:r>
          </a:p>
          <a:p>
            <a:pPr marL="0" indent="0">
              <a:buNone/>
            </a:pPr>
            <a:r>
              <a:rPr lang="fr-FR" sz="4500" b="1" dirty="0">
                <a:sym typeface="Wingdings" panose="05000000000000000000" pitchFamily="2" charset="2"/>
              </a:rPr>
              <a:t>Magasin :      </a:t>
            </a:r>
          </a:p>
          <a:p>
            <a:pPr>
              <a:buFontTx/>
              <a:buChar char="-"/>
            </a:pPr>
            <a:r>
              <a:rPr lang="fr-FR" dirty="0"/>
              <a:t>La saisi de la réception à temps pour éviter l’écart entre le stock physique et sur le système.   </a:t>
            </a:r>
          </a:p>
          <a:p>
            <a:endParaRPr lang="fr-FR" dirty="0"/>
          </a:p>
        </p:txBody>
      </p:sp>
      <p:sp>
        <p:nvSpPr>
          <p:cNvPr id="5" name="Espace réservé du numéro de diapositive 4"/>
          <p:cNvSpPr>
            <a:spLocks noGrp="1"/>
          </p:cNvSpPr>
          <p:nvPr>
            <p:ph type="sldNum" sz="quarter" idx="12"/>
          </p:nvPr>
        </p:nvSpPr>
        <p:spPr/>
        <p:txBody>
          <a:bodyPr/>
          <a:lstStyle/>
          <a:p>
            <a:fld id="{C2F52289-4012-4053-9770-FE82CEB9514F}" type="slidenum">
              <a:rPr lang="en-US" smtClean="0"/>
              <a:pPr/>
              <a:t>42</a:t>
            </a:fld>
            <a:endParaRPr lang="en-US"/>
          </a:p>
        </p:txBody>
      </p:sp>
    </p:spTree>
    <p:extLst>
      <p:ext uri="{BB962C8B-B14F-4D97-AF65-F5344CB8AC3E}">
        <p14:creationId xmlns:p14="http://schemas.microsoft.com/office/powerpoint/2010/main" val="29222605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2"/>
          <p:cNvSpPr txBox="1">
            <a:spLocks/>
          </p:cNvSpPr>
          <p:nvPr/>
        </p:nvSpPr>
        <p:spPr bwMode="auto">
          <a:xfrm>
            <a:off x="7694613" y="2509838"/>
            <a:ext cx="29718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eaLnBrk="1" hangingPunct="1">
              <a:buFont typeface="Arial" pitchFamily="34" charset="0"/>
              <a:buNone/>
            </a:pPr>
            <a:r>
              <a:rPr lang="sv-SE" altLang="fr-FR" sz="1200">
                <a:latin typeface="Open Sans Light" pitchFamily="34" charset="0"/>
                <a:ea typeface="Open Sans Light" pitchFamily="34" charset="0"/>
                <a:cs typeface="Open Sans Light" pitchFamily="34" charset="0"/>
              </a:rPr>
              <a:t>Lorem ipsum dolor sit amet, adipiscing elit, sed do eiusmod tempor incididunt ut labore</a:t>
            </a:r>
          </a:p>
        </p:txBody>
      </p:sp>
      <p:sp>
        <p:nvSpPr>
          <p:cNvPr id="46" name="Content Placeholder 4"/>
          <p:cNvSpPr txBox="1">
            <a:spLocks/>
          </p:cNvSpPr>
          <p:nvPr/>
        </p:nvSpPr>
        <p:spPr bwMode="auto">
          <a:xfrm>
            <a:off x="7694613" y="2214563"/>
            <a:ext cx="22082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eaLnBrk="1" hangingPunct="1">
              <a:buFont typeface="Arial" pitchFamily="34" charset="0"/>
              <a:buNone/>
            </a:pPr>
            <a:r>
              <a:rPr lang="en-US" altLang="fr-FR" sz="1500" b="1">
                <a:ea typeface="Open Sans Light" pitchFamily="34" charset="0"/>
                <a:cs typeface="Open Sans Light" pitchFamily="34" charset="0"/>
              </a:rPr>
              <a:t>PROFESSIONAL</a:t>
            </a:r>
          </a:p>
        </p:txBody>
      </p:sp>
      <p:sp>
        <p:nvSpPr>
          <p:cNvPr id="47" name="Shape 415"/>
          <p:cNvSpPr/>
          <p:nvPr/>
        </p:nvSpPr>
        <p:spPr>
          <a:xfrm>
            <a:off x="6176963" y="2727325"/>
            <a:ext cx="1085850" cy="1190625"/>
          </a:xfrm>
          <a:prstGeom prst="line">
            <a:avLst/>
          </a:prstGeom>
          <a:ln w="19050">
            <a:solidFill>
              <a:schemeClr val="bg1">
                <a:lumMod val="85000"/>
              </a:schemeClr>
            </a:solidFill>
            <a:miter lim="400000"/>
          </a:ln>
        </p:spPr>
        <p:txBody>
          <a:bodyPr lIns="0" tIns="0" rIns="0" bIns="0"/>
          <a:lstStyle/>
          <a:p>
            <a:pPr defTabSz="228554" eaLnBrk="1" fontAlgn="auto" hangingPunct="1">
              <a:spcBef>
                <a:spcPts val="0"/>
              </a:spcBef>
              <a:spcAft>
                <a:spcPts val="0"/>
              </a:spcAft>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48" name="Shape 416"/>
          <p:cNvSpPr/>
          <p:nvPr/>
        </p:nvSpPr>
        <p:spPr>
          <a:xfrm flipH="1">
            <a:off x="5713413" y="4332288"/>
            <a:ext cx="1514475" cy="842962"/>
          </a:xfrm>
          <a:prstGeom prst="line">
            <a:avLst/>
          </a:prstGeom>
          <a:ln w="19050">
            <a:solidFill>
              <a:schemeClr val="bg1">
                <a:lumMod val="85000"/>
              </a:schemeClr>
            </a:solidFill>
            <a:miter lim="400000"/>
          </a:ln>
        </p:spPr>
        <p:txBody>
          <a:bodyPr lIns="0" tIns="0" rIns="0" bIns="0"/>
          <a:lstStyle/>
          <a:p>
            <a:pPr defTabSz="228554" eaLnBrk="1" fontAlgn="auto" hangingPunct="1">
              <a:spcBef>
                <a:spcPts val="0"/>
              </a:spcBef>
              <a:spcAft>
                <a:spcPts val="0"/>
              </a:spcAft>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49" name="Shape 417"/>
          <p:cNvSpPr/>
          <p:nvPr/>
        </p:nvSpPr>
        <p:spPr>
          <a:xfrm flipH="1">
            <a:off x="5067300" y="2887663"/>
            <a:ext cx="539750" cy="1827212"/>
          </a:xfrm>
          <a:prstGeom prst="line">
            <a:avLst/>
          </a:prstGeom>
          <a:ln w="19050">
            <a:solidFill>
              <a:schemeClr val="bg1">
                <a:lumMod val="85000"/>
              </a:schemeClr>
            </a:solidFill>
            <a:miter lim="400000"/>
          </a:ln>
        </p:spPr>
        <p:txBody>
          <a:bodyPr lIns="0" tIns="0" rIns="0" bIns="0"/>
          <a:lstStyle/>
          <a:p>
            <a:pPr defTabSz="228554" eaLnBrk="1" fontAlgn="auto" hangingPunct="1">
              <a:spcBef>
                <a:spcPts val="0"/>
              </a:spcBef>
              <a:spcAft>
                <a:spcPts val="0"/>
              </a:spcAft>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grpSp>
        <p:nvGrpSpPr>
          <p:cNvPr id="50" name="Group 420"/>
          <p:cNvGrpSpPr/>
          <p:nvPr/>
        </p:nvGrpSpPr>
        <p:grpSpPr>
          <a:xfrm>
            <a:off x="5216994" y="2291263"/>
            <a:ext cx="1465435" cy="1465751"/>
            <a:chOff x="0" y="0"/>
            <a:chExt cx="2931632" cy="2931500"/>
          </a:xfrm>
          <a:solidFill>
            <a:schemeClr val="tx1">
              <a:lumMod val="65000"/>
              <a:lumOff val="35000"/>
            </a:schemeClr>
          </a:solidFill>
        </p:grpSpPr>
        <p:sp>
          <p:nvSpPr>
            <p:cNvPr id="51" name="Shape 418"/>
            <p:cNvSpPr/>
            <p:nvPr/>
          </p:nvSpPr>
          <p:spPr>
            <a:xfrm>
              <a:off x="0" y="0"/>
              <a:ext cx="2931633" cy="2931501"/>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3"/>
                    <a:pt x="7872" y="5499"/>
                    <a:pt x="10800" y="5499"/>
                  </a:cubicBezTo>
                  <a:cubicBezTo>
                    <a:pt x="13728" y="5499"/>
                    <a:pt x="16100" y="7873"/>
                    <a:pt x="16100" y="10800"/>
                  </a:cubicBezTo>
                  <a:cubicBezTo>
                    <a:pt x="16100" y="13728"/>
                    <a:pt x="13728" y="16102"/>
                    <a:pt x="10800" y="16102"/>
                  </a:cubicBezTo>
                  <a:cubicBezTo>
                    <a:pt x="7872" y="16102"/>
                    <a:pt x="5499" y="13728"/>
                    <a:pt x="5499" y="10800"/>
                  </a:cubicBezTo>
                  <a:close/>
                  <a:moveTo>
                    <a:pt x="0" y="9882"/>
                  </a:moveTo>
                  <a:lnTo>
                    <a:pt x="0" y="11719"/>
                  </a:lnTo>
                  <a:cubicBezTo>
                    <a:pt x="0" y="12204"/>
                    <a:pt x="397" y="12601"/>
                    <a:pt x="881" y="12601"/>
                  </a:cubicBezTo>
                  <a:lnTo>
                    <a:pt x="1963" y="12601"/>
                  </a:lnTo>
                  <a:cubicBezTo>
                    <a:pt x="2448" y="12601"/>
                    <a:pt x="2966" y="12979"/>
                    <a:pt x="3113" y="13440"/>
                  </a:cubicBezTo>
                  <a:lnTo>
                    <a:pt x="3495" y="14370"/>
                  </a:lnTo>
                  <a:cubicBezTo>
                    <a:pt x="3719" y="14800"/>
                    <a:pt x="3622" y="15433"/>
                    <a:pt x="3279" y="15776"/>
                  </a:cubicBezTo>
                  <a:lnTo>
                    <a:pt x="2514" y="16541"/>
                  </a:lnTo>
                  <a:cubicBezTo>
                    <a:pt x="2171" y="16883"/>
                    <a:pt x="2171" y="17445"/>
                    <a:pt x="2514" y="17788"/>
                  </a:cubicBezTo>
                  <a:lnTo>
                    <a:pt x="3813" y="19087"/>
                  </a:lnTo>
                  <a:cubicBezTo>
                    <a:pt x="4155" y="19429"/>
                    <a:pt x="4717" y="19429"/>
                    <a:pt x="5060" y="19087"/>
                  </a:cubicBezTo>
                  <a:lnTo>
                    <a:pt x="5825" y="18321"/>
                  </a:lnTo>
                  <a:cubicBezTo>
                    <a:pt x="6167" y="17979"/>
                    <a:pt x="6800" y="17881"/>
                    <a:pt x="7230" y="18105"/>
                  </a:cubicBezTo>
                  <a:lnTo>
                    <a:pt x="8160" y="18487"/>
                  </a:lnTo>
                  <a:cubicBezTo>
                    <a:pt x="8622" y="18635"/>
                    <a:pt x="9000" y="19153"/>
                    <a:pt x="9000" y="19638"/>
                  </a:cubicBezTo>
                  <a:lnTo>
                    <a:pt x="9000" y="20720"/>
                  </a:lnTo>
                  <a:cubicBezTo>
                    <a:pt x="9000" y="21204"/>
                    <a:pt x="9397" y="21600"/>
                    <a:pt x="9881" y="21600"/>
                  </a:cubicBezTo>
                  <a:lnTo>
                    <a:pt x="11719" y="21600"/>
                  </a:lnTo>
                  <a:cubicBezTo>
                    <a:pt x="12203" y="21600"/>
                    <a:pt x="12600" y="21204"/>
                    <a:pt x="12600" y="20720"/>
                  </a:cubicBezTo>
                  <a:lnTo>
                    <a:pt x="12600" y="19638"/>
                  </a:lnTo>
                  <a:cubicBezTo>
                    <a:pt x="12600" y="19153"/>
                    <a:pt x="12978" y="18635"/>
                    <a:pt x="13439" y="18487"/>
                  </a:cubicBezTo>
                  <a:lnTo>
                    <a:pt x="14370" y="18105"/>
                  </a:lnTo>
                  <a:cubicBezTo>
                    <a:pt x="14801" y="17881"/>
                    <a:pt x="15432" y="17979"/>
                    <a:pt x="15775" y="18321"/>
                  </a:cubicBezTo>
                  <a:lnTo>
                    <a:pt x="16540" y="19087"/>
                  </a:lnTo>
                  <a:cubicBezTo>
                    <a:pt x="16883" y="19429"/>
                    <a:pt x="17444" y="19429"/>
                    <a:pt x="17787" y="19087"/>
                  </a:cubicBezTo>
                  <a:lnTo>
                    <a:pt x="19086" y="17788"/>
                  </a:lnTo>
                  <a:cubicBezTo>
                    <a:pt x="19429" y="17445"/>
                    <a:pt x="19429" y="16883"/>
                    <a:pt x="19086" y="16541"/>
                  </a:cubicBezTo>
                  <a:lnTo>
                    <a:pt x="18321" y="15776"/>
                  </a:lnTo>
                  <a:cubicBezTo>
                    <a:pt x="17978" y="15433"/>
                    <a:pt x="17880" y="14800"/>
                    <a:pt x="18104" y="14370"/>
                  </a:cubicBezTo>
                  <a:lnTo>
                    <a:pt x="18487" y="13440"/>
                  </a:lnTo>
                  <a:cubicBezTo>
                    <a:pt x="18634" y="12979"/>
                    <a:pt x="19152" y="12601"/>
                    <a:pt x="19637" y="12601"/>
                  </a:cubicBezTo>
                  <a:lnTo>
                    <a:pt x="20718" y="12601"/>
                  </a:lnTo>
                  <a:cubicBezTo>
                    <a:pt x="21203" y="12601"/>
                    <a:pt x="21600" y="12204"/>
                    <a:pt x="21600" y="11719"/>
                  </a:cubicBezTo>
                  <a:lnTo>
                    <a:pt x="21600" y="9882"/>
                  </a:lnTo>
                  <a:cubicBezTo>
                    <a:pt x="21600" y="9397"/>
                    <a:pt x="21203" y="9000"/>
                    <a:pt x="20718" y="9000"/>
                  </a:cubicBezTo>
                  <a:lnTo>
                    <a:pt x="19637" y="9000"/>
                  </a:lnTo>
                  <a:cubicBezTo>
                    <a:pt x="19152" y="9000"/>
                    <a:pt x="18634" y="8622"/>
                    <a:pt x="18487" y="8160"/>
                  </a:cubicBezTo>
                  <a:lnTo>
                    <a:pt x="18104" y="7230"/>
                  </a:lnTo>
                  <a:cubicBezTo>
                    <a:pt x="17880" y="6800"/>
                    <a:pt x="17978" y="6168"/>
                    <a:pt x="18321" y="5824"/>
                  </a:cubicBezTo>
                  <a:lnTo>
                    <a:pt x="19086" y="5060"/>
                  </a:lnTo>
                  <a:cubicBezTo>
                    <a:pt x="19429" y="4717"/>
                    <a:pt x="19429" y="4156"/>
                    <a:pt x="19086" y="3813"/>
                  </a:cubicBezTo>
                  <a:lnTo>
                    <a:pt x="17787" y="2514"/>
                  </a:lnTo>
                  <a:cubicBezTo>
                    <a:pt x="17444" y="2171"/>
                    <a:pt x="16883" y="2171"/>
                    <a:pt x="16540" y="2514"/>
                  </a:cubicBezTo>
                  <a:lnTo>
                    <a:pt x="15775" y="3279"/>
                  </a:lnTo>
                  <a:cubicBezTo>
                    <a:pt x="15432" y="3622"/>
                    <a:pt x="14801" y="3719"/>
                    <a:pt x="14370" y="3495"/>
                  </a:cubicBezTo>
                  <a:lnTo>
                    <a:pt x="13439" y="3113"/>
                  </a:lnTo>
                  <a:cubicBezTo>
                    <a:pt x="12978" y="2966"/>
                    <a:pt x="12600" y="2448"/>
                    <a:pt x="12600" y="1963"/>
                  </a:cubicBezTo>
                  <a:lnTo>
                    <a:pt x="12600" y="882"/>
                  </a:lnTo>
                  <a:cubicBezTo>
                    <a:pt x="12600" y="397"/>
                    <a:pt x="12203" y="0"/>
                    <a:pt x="11719" y="0"/>
                  </a:cubicBezTo>
                  <a:lnTo>
                    <a:pt x="9881" y="0"/>
                  </a:lnTo>
                  <a:cubicBezTo>
                    <a:pt x="9397" y="0"/>
                    <a:pt x="9000" y="397"/>
                    <a:pt x="9000" y="882"/>
                  </a:cubicBezTo>
                  <a:lnTo>
                    <a:pt x="9000" y="1963"/>
                  </a:lnTo>
                  <a:cubicBezTo>
                    <a:pt x="9000" y="2448"/>
                    <a:pt x="8622" y="2966"/>
                    <a:pt x="8160" y="3113"/>
                  </a:cubicBezTo>
                  <a:lnTo>
                    <a:pt x="7230" y="3495"/>
                  </a:lnTo>
                  <a:cubicBezTo>
                    <a:pt x="6800" y="3719"/>
                    <a:pt x="6167" y="3622"/>
                    <a:pt x="5825" y="3279"/>
                  </a:cubicBezTo>
                  <a:lnTo>
                    <a:pt x="5060" y="2514"/>
                  </a:lnTo>
                  <a:cubicBezTo>
                    <a:pt x="4717" y="2171"/>
                    <a:pt x="4155" y="2171"/>
                    <a:pt x="3813" y="2514"/>
                  </a:cubicBezTo>
                  <a:lnTo>
                    <a:pt x="2514" y="3813"/>
                  </a:lnTo>
                  <a:cubicBezTo>
                    <a:pt x="2171" y="4156"/>
                    <a:pt x="2171" y="4717"/>
                    <a:pt x="2514" y="5060"/>
                  </a:cubicBezTo>
                  <a:lnTo>
                    <a:pt x="3279" y="5824"/>
                  </a:lnTo>
                  <a:cubicBezTo>
                    <a:pt x="3622" y="6168"/>
                    <a:pt x="3719" y="6800"/>
                    <a:pt x="3495" y="7230"/>
                  </a:cubicBezTo>
                  <a:lnTo>
                    <a:pt x="3113" y="8160"/>
                  </a:lnTo>
                  <a:cubicBezTo>
                    <a:pt x="2966" y="8622"/>
                    <a:pt x="2448" y="9000"/>
                    <a:pt x="1963" y="9000"/>
                  </a:cubicBezTo>
                  <a:lnTo>
                    <a:pt x="881" y="9000"/>
                  </a:lnTo>
                  <a:cubicBezTo>
                    <a:pt x="397" y="9000"/>
                    <a:pt x="0" y="9397"/>
                    <a:pt x="0" y="9882"/>
                  </a:cubicBezTo>
                  <a:close/>
                </a:path>
              </a:pathLst>
            </a:custGeom>
            <a:grpFill/>
            <a:ln w="12700" cap="flat">
              <a:noFill/>
              <a:miter lim="400000"/>
            </a:ln>
            <a:effectLst/>
          </p:spPr>
          <p:txBody>
            <a:bodyPr lIns="38100" tIns="38100" rIns="38100" bIns="381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sp>
          <p:nvSpPr>
            <p:cNvPr id="52" name="Shape 419"/>
            <p:cNvSpPr/>
            <p:nvPr/>
          </p:nvSpPr>
          <p:spPr>
            <a:xfrm>
              <a:off x="1127129" y="1209139"/>
              <a:ext cx="677375" cy="514790"/>
            </a:xfrm>
            <a:custGeom>
              <a:avLst/>
              <a:gdLst/>
              <a:ahLst/>
              <a:cxnLst>
                <a:cxn ang="0">
                  <a:pos x="wd2" y="hd2"/>
                </a:cxn>
                <a:cxn ang="5400000">
                  <a:pos x="wd2" y="hd2"/>
                </a:cxn>
                <a:cxn ang="10800000">
                  <a:pos x="wd2" y="hd2"/>
                </a:cxn>
                <a:cxn ang="16200000">
                  <a:pos x="wd2" y="hd2"/>
                </a:cxn>
              </a:cxnLst>
              <a:rect l="0" t="0" r="r" b="b"/>
              <a:pathLst>
                <a:path w="21254" h="21471" extrusionOk="0">
                  <a:moveTo>
                    <a:pt x="18032" y="19451"/>
                  </a:moveTo>
                  <a:cubicBezTo>
                    <a:pt x="17963" y="19995"/>
                    <a:pt x="19395" y="20889"/>
                    <a:pt x="19531" y="19300"/>
                  </a:cubicBezTo>
                  <a:cubicBezTo>
                    <a:pt x="20147" y="12135"/>
                    <a:pt x="19089" y="10074"/>
                    <a:pt x="19089" y="10074"/>
                  </a:cubicBezTo>
                  <a:lnTo>
                    <a:pt x="17607" y="11177"/>
                  </a:lnTo>
                  <a:cubicBezTo>
                    <a:pt x="17607" y="11176"/>
                    <a:pt x="18864" y="12766"/>
                    <a:pt x="18032" y="19451"/>
                  </a:cubicBezTo>
                  <a:close/>
                  <a:moveTo>
                    <a:pt x="20735" y="6972"/>
                  </a:moveTo>
                  <a:lnTo>
                    <a:pt x="11888" y="386"/>
                  </a:lnTo>
                  <a:cubicBezTo>
                    <a:pt x="11196" y="-129"/>
                    <a:pt x="10061" y="-129"/>
                    <a:pt x="9368" y="386"/>
                  </a:cubicBezTo>
                  <a:lnTo>
                    <a:pt x="520" y="6972"/>
                  </a:lnTo>
                  <a:cubicBezTo>
                    <a:pt x="-173" y="7488"/>
                    <a:pt x="-173" y="8332"/>
                    <a:pt x="520" y="8848"/>
                  </a:cubicBezTo>
                  <a:lnTo>
                    <a:pt x="9367" y="15434"/>
                  </a:lnTo>
                  <a:cubicBezTo>
                    <a:pt x="10060" y="15949"/>
                    <a:pt x="11195" y="15949"/>
                    <a:pt x="11887" y="15434"/>
                  </a:cubicBezTo>
                  <a:lnTo>
                    <a:pt x="17607" y="11176"/>
                  </a:lnTo>
                  <a:lnTo>
                    <a:pt x="11405" y="9245"/>
                  </a:lnTo>
                  <a:cubicBezTo>
                    <a:pt x="11166" y="9323"/>
                    <a:pt x="10903" y="9366"/>
                    <a:pt x="10628" y="9366"/>
                  </a:cubicBezTo>
                  <a:cubicBezTo>
                    <a:pt x="9510" y="9366"/>
                    <a:pt x="8605" y="8652"/>
                    <a:pt x="8605" y="7769"/>
                  </a:cubicBezTo>
                  <a:cubicBezTo>
                    <a:pt x="8605" y="6883"/>
                    <a:pt x="9511" y="6168"/>
                    <a:pt x="10628" y="6168"/>
                  </a:cubicBezTo>
                  <a:cubicBezTo>
                    <a:pt x="11495" y="6168"/>
                    <a:pt x="12233" y="6602"/>
                    <a:pt x="12520" y="7205"/>
                  </a:cubicBezTo>
                  <a:lnTo>
                    <a:pt x="19089" y="10071"/>
                  </a:lnTo>
                  <a:lnTo>
                    <a:pt x="20735" y="8847"/>
                  </a:lnTo>
                  <a:cubicBezTo>
                    <a:pt x="21427" y="8332"/>
                    <a:pt x="21427" y="7488"/>
                    <a:pt x="20735" y="6972"/>
                  </a:cubicBezTo>
                  <a:close/>
                  <a:moveTo>
                    <a:pt x="3510" y="13897"/>
                  </a:moveTo>
                  <a:cubicBezTo>
                    <a:pt x="4003" y="16551"/>
                    <a:pt x="4630" y="17712"/>
                    <a:pt x="6722" y="18928"/>
                  </a:cubicBezTo>
                  <a:cubicBezTo>
                    <a:pt x="8814" y="20143"/>
                    <a:pt x="9808" y="21471"/>
                    <a:pt x="10628" y="21471"/>
                  </a:cubicBezTo>
                  <a:cubicBezTo>
                    <a:pt x="11448" y="21471"/>
                    <a:pt x="12379" y="20310"/>
                    <a:pt x="14471" y="19092"/>
                  </a:cubicBezTo>
                  <a:cubicBezTo>
                    <a:pt x="16563" y="17876"/>
                    <a:pt x="16004" y="17506"/>
                    <a:pt x="16497" y="14852"/>
                  </a:cubicBezTo>
                  <a:lnTo>
                    <a:pt x="10628" y="18646"/>
                  </a:lnTo>
                  <a:cubicBezTo>
                    <a:pt x="10628" y="18646"/>
                    <a:pt x="3510" y="13897"/>
                    <a:pt x="3510" y="13897"/>
                  </a:cubicBezTo>
                  <a:close/>
                </a:path>
              </a:pathLst>
            </a:custGeom>
            <a:grpFill/>
            <a:ln w="12700" cap="flat">
              <a:noFill/>
              <a:miter lim="400000"/>
            </a:ln>
            <a:effectLst/>
          </p:spPr>
          <p:txBody>
            <a:bodyPr lIns="43656" tIns="43656" rIns="43656" bIns="43656"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grpSp>
      <p:grpSp>
        <p:nvGrpSpPr>
          <p:cNvPr id="53" name="Group 423"/>
          <p:cNvGrpSpPr>
            <a:grpSpLocks/>
          </p:cNvGrpSpPr>
          <p:nvPr/>
        </p:nvGrpSpPr>
        <p:grpSpPr bwMode="auto">
          <a:xfrm>
            <a:off x="6457950" y="3521075"/>
            <a:ext cx="1143000" cy="1143000"/>
            <a:chOff x="0" y="0"/>
            <a:chExt cx="2284855" cy="2284855"/>
          </a:xfrm>
        </p:grpSpPr>
        <p:sp>
          <p:nvSpPr>
            <p:cNvPr id="54" name="Shape 421"/>
            <p:cNvSpPr/>
            <p:nvPr/>
          </p:nvSpPr>
          <p:spPr>
            <a:xfrm>
              <a:off x="0" y="0"/>
              <a:ext cx="2284855" cy="2284855"/>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2"/>
                    <a:pt x="7872" y="5500"/>
                    <a:pt x="10800" y="5500"/>
                  </a:cubicBezTo>
                  <a:cubicBezTo>
                    <a:pt x="13728" y="5500"/>
                    <a:pt x="16101" y="7872"/>
                    <a:pt x="16101" y="10800"/>
                  </a:cubicBezTo>
                  <a:cubicBezTo>
                    <a:pt x="16101" y="13728"/>
                    <a:pt x="13728" y="16101"/>
                    <a:pt x="10800" y="16101"/>
                  </a:cubicBezTo>
                  <a:cubicBezTo>
                    <a:pt x="7872" y="16101"/>
                    <a:pt x="5499" y="13728"/>
                    <a:pt x="5499" y="10800"/>
                  </a:cubicBezTo>
                  <a:close/>
                  <a:moveTo>
                    <a:pt x="0" y="9882"/>
                  </a:moveTo>
                  <a:lnTo>
                    <a:pt x="0" y="11719"/>
                  </a:lnTo>
                  <a:cubicBezTo>
                    <a:pt x="0" y="12204"/>
                    <a:pt x="397" y="12601"/>
                    <a:pt x="882" y="12601"/>
                  </a:cubicBezTo>
                  <a:lnTo>
                    <a:pt x="1963" y="12601"/>
                  </a:lnTo>
                  <a:cubicBezTo>
                    <a:pt x="2448" y="12601"/>
                    <a:pt x="2965" y="12978"/>
                    <a:pt x="3113" y="13439"/>
                  </a:cubicBezTo>
                  <a:lnTo>
                    <a:pt x="3495" y="14371"/>
                  </a:lnTo>
                  <a:cubicBezTo>
                    <a:pt x="3719" y="14800"/>
                    <a:pt x="3621" y="15433"/>
                    <a:pt x="3279" y="15776"/>
                  </a:cubicBezTo>
                  <a:lnTo>
                    <a:pt x="2514" y="16541"/>
                  </a:lnTo>
                  <a:cubicBezTo>
                    <a:pt x="2170" y="16884"/>
                    <a:pt x="2170" y="17444"/>
                    <a:pt x="2514" y="17787"/>
                  </a:cubicBezTo>
                  <a:lnTo>
                    <a:pt x="3812" y="19087"/>
                  </a:lnTo>
                  <a:cubicBezTo>
                    <a:pt x="4156" y="19430"/>
                    <a:pt x="4716" y="19430"/>
                    <a:pt x="5059" y="19087"/>
                  </a:cubicBezTo>
                  <a:lnTo>
                    <a:pt x="5824" y="18321"/>
                  </a:lnTo>
                  <a:cubicBezTo>
                    <a:pt x="6167" y="17979"/>
                    <a:pt x="6800" y="17882"/>
                    <a:pt x="7230" y="18105"/>
                  </a:cubicBezTo>
                  <a:lnTo>
                    <a:pt x="8160" y="18487"/>
                  </a:lnTo>
                  <a:cubicBezTo>
                    <a:pt x="8622" y="18635"/>
                    <a:pt x="9001" y="19152"/>
                    <a:pt x="9001" y="19637"/>
                  </a:cubicBezTo>
                  <a:lnTo>
                    <a:pt x="9001" y="20718"/>
                  </a:lnTo>
                  <a:cubicBezTo>
                    <a:pt x="9001" y="21203"/>
                    <a:pt x="9398" y="21600"/>
                    <a:pt x="9882" y="21600"/>
                  </a:cubicBezTo>
                  <a:lnTo>
                    <a:pt x="11718" y="21600"/>
                  </a:lnTo>
                  <a:cubicBezTo>
                    <a:pt x="12204" y="21600"/>
                    <a:pt x="12601" y="21203"/>
                    <a:pt x="12601" y="20718"/>
                  </a:cubicBezTo>
                  <a:lnTo>
                    <a:pt x="12601" y="19637"/>
                  </a:lnTo>
                  <a:cubicBezTo>
                    <a:pt x="12601" y="19152"/>
                    <a:pt x="12978" y="18635"/>
                    <a:pt x="13440" y="18487"/>
                  </a:cubicBezTo>
                  <a:lnTo>
                    <a:pt x="14370" y="18105"/>
                  </a:lnTo>
                  <a:cubicBezTo>
                    <a:pt x="14800" y="17882"/>
                    <a:pt x="15433" y="17979"/>
                    <a:pt x="15775" y="18321"/>
                  </a:cubicBezTo>
                  <a:lnTo>
                    <a:pt x="16541" y="19087"/>
                  </a:lnTo>
                  <a:cubicBezTo>
                    <a:pt x="16884" y="19430"/>
                    <a:pt x="17444" y="19430"/>
                    <a:pt x="17788" y="19087"/>
                  </a:cubicBezTo>
                  <a:lnTo>
                    <a:pt x="19087" y="17787"/>
                  </a:lnTo>
                  <a:cubicBezTo>
                    <a:pt x="19430" y="17444"/>
                    <a:pt x="19430" y="16884"/>
                    <a:pt x="19087" y="16541"/>
                  </a:cubicBezTo>
                  <a:lnTo>
                    <a:pt x="18321" y="15776"/>
                  </a:lnTo>
                  <a:cubicBezTo>
                    <a:pt x="17979" y="15433"/>
                    <a:pt x="17882" y="14801"/>
                    <a:pt x="18105" y="14371"/>
                  </a:cubicBezTo>
                  <a:lnTo>
                    <a:pt x="18487" y="13439"/>
                  </a:lnTo>
                  <a:cubicBezTo>
                    <a:pt x="18635" y="12978"/>
                    <a:pt x="19152" y="12601"/>
                    <a:pt x="19637" y="12601"/>
                  </a:cubicBezTo>
                  <a:lnTo>
                    <a:pt x="20718" y="12601"/>
                  </a:lnTo>
                  <a:cubicBezTo>
                    <a:pt x="21203" y="12601"/>
                    <a:pt x="21600" y="12204"/>
                    <a:pt x="21600" y="11719"/>
                  </a:cubicBezTo>
                  <a:lnTo>
                    <a:pt x="21600" y="9882"/>
                  </a:lnTo>
                  <a:cubicBezTo>
                    <a:pt x="21600" y="9396"/>
                    <a:pt x="21203" y="8999"/>
                    <a:pt x="20718" y="8999"/>
                  </a:cubicBezTo>
                  <a:lnTo>
                    <a:pt x="19637" y="8999"/>
                  </a:lnTo>
                  <a:cubicBezTo>
                    <a:pt x="19152" y="8999"/>
                    <a:pt x="18635" y="8623"/>
                    <a:pt x="18487" y="8161"/>
                  </a:cubicBezTo>
                  <a:lnTo>
                    <a:pt x="18105" y="7229"/>
                  </a:lnTo>
                  <a:cubicBezTo>
                    <a:pt x="17882" y="6800"/>
                    <a:pt x="17979" y="6167"/>
                    <a:pt x="18321" y="5825"/>
                  </a:cubicBezTo>
                  <a:lnTo>
                    <a:pt x="19087" y="5060"/>
                  </a:lnTo>
                  <a:cubicBezTo>
                    <a:pt x="19430" y="4718"/>
                    <a:pt x="19430" y="4156"/>
                    <a:pt x="19087" y="3813"/>
                  </a:cubicBezTo>
                  <a:lnTo>
                    <a:pt x="17788" y="2514"/>
                  </a:lnTo>
                  <a:cubicBezTo>
                    <a:pt x="17444" y="2171"/>
                    <a:pt x="16884" y="2171"/>
                    <a:pt x="16541" y="2514"/>
                  </a:cubicBezTo>
                  <a:lnTo>
                    <a:pt x="15775" y="3279"/>
                  </a:lnTo>
                  <a:cubicBezTo>
                    <a:pt x="15433" y="3621"/>
                    <a:pt x="14800" y="3718"/>
                    <a:pt x="14370" y="3495"/>
                  </a:cubicBezTo>
                  <a:lnTo>
                    <a:pt x="13440" y="3114"/>
                  </a:lnTo>
                  <a:cubicBezTo>
                    <a:pt x="12978" y="2965"/>
                    <a:pt x="12601" y="2448"/>
                    <a:pt x="12601" y="1963"/>
                  </a:cubicBezTo>
                  <a:lnTo>
                    <a:pt x="12601" y="882"/>
                  </a:lnTo>
                  <a:cubicBezTo>
                    <a:pt x="12601" y="397"/>
                    <a:pt x="12204" y="0"/>
                    <a:pt x="11718" y="0"/>
                  </a:cubicBezTo>
                  <a:lnTo>
                    <a:pt x="9882" y="0"/>
                  </a:lnTo>
                  <a:cubicBezTo>
                    <a:pt x="9398" y="0"/>
                    <a:pt x="9001" y="397"/>
                    <a:pt x="9001" y="882"/>
                  </a:cubicBezTo>
                  <a:lnTo>
                    <a:pt x="9001" y="1963"/>
                  </a:lnTo>
                  <a:cubicBezTo>
                    <a:pt x="9001" y="2448"/>
                    <a:pt x="8622" y="2965"/>
                    <a:pt x="8160" y="3114"/>
                  </a:cubicBezTo>
                  <a:lnTo>
                    <a:pt x="7230" y="3495"/>
                  </a:lnTo>
                  <a:cubicBezTo>
                    <a:pt x="6800" y="3718"/>
                    <a:pt x="6167" y="3621"/>
                    <a:pt x="5824" y="3279"/>
                  </a:cubicBezTo>
                  <a:lnTo>
                    <a:pt x="5059" y="2514"/>
                  </a:lnTo>
                  <a:cubicBezTo>
                    <a:pt x="4716" y="2171"/>
                    <a:pt x="4156" y="2171"/>
                    <a:pt x="3812" y="2514"/>
                  </a:cubicBezTo>
                  <a:lnTo>
                    <a:pt x="2514" y="3813"/>
                  </a:lnTo>
                  <a:cubicBezTo>
                    <a:pt x="2170" y="4156"/>
                    <a:pt x="2170" y="4718"/>
                    <a:pt x="2514" y="5060"/>
                  </a:cubicBezTo>
                  <a:lnTo>
                    <a:pt x="3279" y="5825"/>
                  </a:lnTo>
                  <a:cubicBezTo>
                    <a:pt x="3621" y="6167"/>
                    <a:pt x="3719" y="6800"/>
                    <a:pt x="3495" y="7229"/>
                  </a:cubicBezTo>
                  <a:lnTo>
                    <a:pt x="3113" y="8161"/>
                  </a:lnTo>
                  <a:cubicBezTo>
                    <a:pt x="2965" y="8623"/>
                    <a:pt x="2448" y="8999"/>
                    <a:pt x="1963" y="8999"/>
                  </a:cubicBezTo>
                  <a:lnTo>
                    <a:pt x="882" y="8999"/>
                  </a:lnTo>
                  <a:cubicBezTo>
                    <a:pt x="397" y="8999"/>
                    <a:pt x="0" y="9396"/>
                    <a:pt x="0" y="9882"/>
                  </a:cubicBezTo>
                  <a:close/>
                </a:path>
              </a:pathLst>
            </a:custGeom>
            <a:solidFill>
              <a:schemeClr val="accent3"/>
            </a:solidFill>
            <a:ln w="12700" cap="flat">
              <a:noFill/>
              <a:miter lim="400000"/>
            </a:ln>
            <a:effectLst/>
          </p:spPr>
          <p:txBody>
            <a:bodyPr lIns="38100" tIns="38100" rIns="38100" bIns="381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sp>
          <p:nvSpPr>
            <p:cNvPr id="55" name="Shape 422"/>
            <p:cNvSpPr/>
            <p:nvPr/>
          </p:nvSpPr>
          <p:spPr>
            <a:xfrm>
              <a:off x="1009144" y="888555"/>
              <a:ext cx="266566" cy="514092"/>
            </a:xfrm>
            <a:custGeom>
              <a:avLst/>
              <a:gdLst/>
              <a:ahLst/>
              <a:cxnLst>
                <a:cxn ang="0">
                  <a:pos x="wd2" y="hd2"/>
                </a:cxn>
                <a:cxn ang="5400000">
                  <a:pos x="wd2" y="hd2"/>
                </a:cxn>
                <a:cxn ang="10800000">
                  <a:pos x="wd2" y="hd2"/>
                </a:cxn>
                <a:cxn ang="16200000">
                  <a:pos x="wd2" y="hd2"/>
                </a:cxn>
              </a:cxnLst>
              <a:rect l="0" t="0" r="r" b="b"/>
              <a:pathLst>
                <a:path w="21535" h="21600" extrusionOk="0">
                  <a:moveTo>
                    <a:pt x="13265" y="19105"/>
                  </a:moveTo>
                  <a:lnTo>
                    <a:pt x="13265" y="21214"/>
                  </a:lnTo>
                  <a:cubicBezTo>
                    <a:pt x="13265" y="21431"/>
                    <a:pt x="12941" y="21600"/>
                    <a:pt x="12525" y="21600"/>
                  </a:cubicBezTo>
                  <a:lnTo>
                    <a:pt x="9407" y="21600"/>
                  </a:lnTo>
                  <a:cubicBezTo>
                    <a:pt x="9014" y="21600"/>
                    <a:pt x="8667" y="21431"/>
                    <a:pt x="8667" y="21214"/>
                  </a:cubicBezTo>
                  <a:lnTo>
                    <a:pt x="8667" y="19105"/>
                  </a:lnTo>
                  <a:cubicBezTo>
                    <a:pt x="3262" y="18707"/>
                    <a:pt x="305" y="17020"/>
                    <a:pt x="189" y="16947"/>
                  </a:cubicBezTo>
                  <a:cubicBezTo>
                    <a:pt x="-42" y="16803"/>
                    <a:pt x="-65" y="16598"/>
                    <a:pt x="143" y="16453"/>
                  </a:cubicBezTo>
                  <a:lnTo>
                    <a:pt x="2522" y="14826"/>
                  </a:lnTo>
                  <a:cubicBezTo>
                    <a:pt x="2638" y="14742"/>
                    <a:pt x="2846" y="14693"/>
                    <a:pt x="3054" y="14681"/>
                  </a:cubicBezTo>
                  <a:cubicBezTo>
                    <a:pt x="3262" y="14669"/>
                    <a:pt x="3470" y="14705"/>
                    <a:pt x="3608" y="14790"/>
                  </a:cubicBezTo>
                  <a:cubicBezTo>
                    <a:pt x="3654" y="14802"/>
                    <a:pt x="6889" y="16417"/>
                    <a:pt x="10978" y="16417"/>
                  </a:cubicBezTo>
                  <a:cubicBezTo>
                    <a:pt x="13242" y="16417"/>
                    <a:pt x="15690" y="15790"/>
                    <a:pt x="15690" y="14428"/>
                  </a:cubicBezTo>
                  <a:cubicBezTo>
                    <a:pt x="15690" y="13271"/>
                    <a:pt x="12964" y="12704"/>
                    <a:pt x="9846" y="12054"/>
                  </a:cubicBezTo>
                  <a:cubicBezTo>
                    <a:pt x="5687" y="11198"/>
                    <a:pt x="513" y="10113"/>
                    <a:pt x="513" y="7088"/>
                  </a:cubicBezTo>
                  <a:cubicBezTo>
                    <a:pt x="513" y="4870"/>
                    <a:pt x="3839" y="3038"/>
                    <a:pt x="8667" y="2555"/>
                  </a:cubicBezTo>
                  <a:lnTo>
                    <a:pt x="8667" y="386"/>
                  </a:lnTo>
                  <a:cubicBezTo>
                    <a:pt x="8667" y="169"/>
                    <a:pt x="9014" y="0"/>
                    <a:pt x="9407" y="0"/>
                  </a:cubicBezTo>
                  <a:lnTo>
                    <a:pt x="12525" y="0"/>
                  </a:lnTo>
                  <a:cubicBezTo>
                    <a:pt x="12941" y="0"/>
                    <a:pt x="13265" y="169"/>
                    <a:pt x="13265" y="386"/>
                  </a:cubicBezTo>
                  <a:lnTo>
                    <a:pt x="13265" y="2507"/>
                  </a:lnTo>
                  <a:cubicBezTo>
                    <a:pt x="17954" y="2784"/>
                    <a:pt x="20449" y="4110"/>
                    <a:pt x="20542" y="4158"/>
                  </a:cubicBezTo>
                  <a:cubicBezTo>
                    <a:pt x="20773" y="4291"/>
                    <a:pt x="20819" y="4472"/>
                    <a:pt x="20657" y="4617"/>
                  </a:cubicBezTo>
                  <a:lnTo>
                    <a:pt x="18786" y="6376"/>
                  </a:lnTo>
                  <a:cubicBezTo>
                    <a:pt x="18670" y="6485"/>
                    <a:pt x="18486" y="6557"/>
                    <a:pt x="18255" y="6569"/>
                  </a:cubicBezTo>
                  <a:cubicBezTo>
                    <a:pt x="18024" y="6593"/>
                    <a:pt x="17816" y="6557"/>
                    <a:pt x="17631" y="6485"/>
                  </a:cubicBezTo>
                  <a:cubicBezTo>
                    <a:pt x="17608" y="6473"/>
                    <a:pt x="14812" y="5183"/>
                    <a:pt x="11347" y="5183"/>
                  </a:cubicBezTo>
                  <a:cubicBezTo>
                    <a:pt x="8413" y="5183"/>
                    <a:pt x="6380" y="5942"/>
                    <a:pt x="6380" y="7039"/>
                  </a:cubicBezTo>
                  <a:cubicBezTo>
                    <a:pt x="6380" y="8317"/>
                    <a:pt x="9199" y="8883"/>
                    <a:pt x="12479" y="9546"/>
                  </a:cubicBezTo>
                  <a:cubicBezTo>
                    <a:pt x="16730" y="10402"/>
                    <a:pt x="21535" y="11379"/>
                    <a:pt x="21535" y="14283"/>
                  </a:cubicBezTo>
                  <a:cubicBezTo>
                    <a:pt x="21535" y="16742"/>
                    <a:pt x="18162" y="18683"/>
                    <a:pt x="13265" y="19105"/>
                  </a:cubicBezTo>
                  <a:close/>
                </a:path>
              </a:pathLst>
            </a:custGeom>
            <a:solidFill>
              <a:schemeClr val="accent3"/>
            </a:solidFill>
            <a:ln w="12700" cap="flat">
              <a:noFill/>
              <a:miter lim="400000"/>
            </a:ln>
            <a:effectLst/>
          </p:spPr>
          <p:txBody>
            <a:bodyPr lIns="38100" tIns="38100" rIns="38100" bIns="381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grpSp>
      <p:grpSp>
        <p:nvGrpSpPr>
          <p:cNvPr id="56" name="Group 426"/>
          <p:cNvGrpSpPr/>
          <p:nvPr/>
        </p:nvGrpSpPr>
        <p:grpSpPr>
          <a:xfrm>
            <a:off x="4630181" y="3837692"/>
            <a:ext cx="1831730" cy="1832186"/>
            <a:chOff x="0" y="0"/>
            <a:chExt cx="3664414" cy="3664369"/>
          </a:xfrm>
          <a:solidFill>
            <a:srgbClr val="F3534B"/>
          </a:solidFill>
        </p:grpSpPr>
        <p:sp>
          <p:nvSpPr>
            <p:cNvPr id="57" name="Shape 424"/>
            <p:cNvSpPr/>
            <p:nvPr/>
          </p:nvSpPr>
          <p:spPr>
            <a:xfrm>
              <a:off x="0" y="0"/>
              <a:ext cx="3664415" cy="3664370"/>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2"/>
                    <a:pt x="7872" y="5499"/>
                    <a:pt x="10800" y="5499"/>
                  </a:cubicBezTo>
                  <a:cubicBezTo>
                    <a:pt x="13727" y="5499"/>
                    <a:pt x="16101" y="7872"/>
                    <a:pt x="16101" y="10800"/>
                  </a:cubicBezTo>
                  <a:cubicBezTo>
                    <a:pt x="16101" y="13727"/>
                    <a:pt x="13727" y="16101"/>
                    <a:pt x="10800" y="16101"/>
                  </a:cubicBezTo>
                  <a:cubicBezTo>
                    <a:pt x="7872" y="16101"/>
                    <a:pt x="5499" y="13727"/>
                    <a:pt x="5499" y="10800"/>
                  </a:cubicBezTo>
                  <a:close/>
                  <a:moveTo>
                    <a:pt x="0" y="9882"/>
                  </a:moveTo>
                  <a:lnTo>
                    <a:pt x="0" y="11719"/>
                  </a:lnTo>
                  <a:cubicBezTo>
                    <a:pt x="0" y="12203"/>
                    <a:pt x="397" y="12600"/>
                    <a:pt x="882" y="12600"/>
                  </a:cubicBezTo>
                  <a:lnTo>
                    <a:pt x="1963" y="12600"/>
                  </a:lnTo>
                  <a:cubicBezTo>
                    <a:pt x="2448" y="12600"/>
                    <a:pt x="2965" y="12978"/>
                    <a:pt x="3113" y="13440"/>
                  </a:cubicBezTo>
                  <a:lnTo>
                    <a:pt x="3495" y="14369"/>
                  </a:lnTo>
                  <a:cubicBezTo>
                    <a:pt x="3719" y="14800"/>
                    <a:pt x="3622" y="15433"/>
                    <a:pt x="3279" y="15776"/>
                  </a:cubicBezTo>
                  <a:lnTo>
                    <a:pt x="2514" y="16541"/>
                  </a:lnTo>
                  <a:cubicBezTo>
                    <a:pt x="2171" y="16884"/>
                    <a:pt x="2171" y="17444"/>
                    <a:pt x="2514" y="17788"/>
                  </a:cubicBezTo>
                  <a:lnTo>
                    <a:pt x="3812" y="19086"/>
                  </a:lnTo>
                  <a:cubicBezTo>
                    <a:pt x="4155" y="19429"/>
                    <a:pt x="4717" y="19429"/>
                    <a:pt x="5060" y="19086"/>
                  </a:cubicBezTo>
                  <a:lnTo>
                    <a:pt x="5825" y="18321"/>
                  </a:lnTo>
                  <a:cubicBezTo>
                    <a:pt x="6168" y="17978"/>
                    <a:pt x="6800" y="17880"/>
                    <a:pt x="7230" y="18105"/>
                  </a:cubicBezTo>
                  <a:lnTo>
                    <a:pt x="8160" y="18487"/>
                  </a:lnTo>
                  <a:cubicBezTo>
                    <a:pt x="8622" y="18634"/>
                    <a:pt x="9000" y="19152"/>
                    <a:pt x="9000" y="19637"/>
                  </a:cubicBezTo>
                  <a:lnTo>
                    <a:pt x="9000" y="20719"/>
                  </a:lnTo>
                  <a:cubicBezTo>
                    <a:pt x="9000" y="21203"/>
                    <a:pt x="9396" y="21600"/>
                    <a:pt x="9881" y="21600"/>
                  </a:cubicBezTo>
                  <a:lnTo>
                    <a:pt x="11718" y="21600"/>
                  </a:lnTo>
                  <a:cubicBezTo>
                    <a:pt x="12203" y="21600"/>
                    <a:pt x="12600" y="21203"/>
                    <a:pt x="12600" y="20719"/>
                  </a:cubicBezTo>
                  <a:lnTo>
                    <a:pt x="12600" y="19637"/>
                  </a:lnTo>
                  <a:cubicBezTo>
                    <a:pt x="12600" y="19152"/>
                    <a:pt x="12978" y="18634"/>
                    <a:pt x="13439" y="18487"/>
                  </a:cubicBezTo>
                  <a:lnTo>
                    <a:pt x="14370" y="18105"/>
                  </a:lnTo>
                  <a:cubicBezTo>
                    <a:pt x="14800" y="17880"/>
                    <a:pt x="15432" y="17978"/>
                    <a:pt x="15775" y="18321"/>
                  </a:cubicBezTo>
                  <a:lnTo>
                    <a:pt x="16540" y="19086"/>
                  </a:lnTo>
                  <a:cubicBezTo>
                    <a:pt x="16883" y="19429"/>
                    <a:pt x="17444" y="19429"/>
                    <a:pt x="17787" y="19086"/>
                  </a:cubicBezTo>
                  <a:lnTo>
                    <a:pt x="19086" y="17788"/>
                  </a:lnTo>
                  <a:cubicBezTo>
                    <a:pt x="19429" y="17444"/>
                    <a:pt x="19429" y="16884"/>
                    <a:pt x="19086" y="16541"/>
                  </a:cubicBezTo>
                  <a:lnTo>
                    <a:pt x="18321" y="15776"/>
                  </a:lnTo>
                  <a:cubicBezTo>
                    <a:pt x="17978" y="15433"/>
                    <a:pt x="17881" y="14800"/>
                    <a:pt x="18105" y="14369"/>
                  </a:cubicBezTo>
                  <a:lnTo>
                    <a:pt x="18486" y="13440"/>
                  </a:lnTo>
                  <a:cubicBezTo>
                    <a:pt x="18634" y="12978"/>
                    <a:pt x="19152" y="12600"/>
                    <a:pt x="19637" y="12600"/>
                  </a:cubicBezTo>
                  <a:lnTo>
                    <a:pt x="20718" y="12600"/>
                  </a:lnTo>
                  <a:cubicBezTo>
                    <a:pt x="21203" y="12600"/>
                    <a:pt x="21600" y="12203"/>
                    <a:pt x="21600" y="11719"/>
                  </a:cubicBezTo>
                  <a:lnTo>
                    <a:pt x="21600" y="9882"/>
                  </a:lnTo>
                  <a:cubicBezTo>
                    <a:pt x="21600" y="9397"/>
                    <a:pt x="21203" y="9000"/>
                    <a:pt x="20718" y="9000"/>
                  </a:cubicBezTo>
                  <a:lnTo>
                    <a:pt x="19637" y="9000"/>
                  </a:lnTo>
                  <a:cubicBezTo>
                    <a:pt x="19152" y="9000"/>
                    <a:pt x="18634" y="8622"/>
                    <a:pt x="18486" y="8161"/>
                  </a:cubicBezTo>
                  <a:lnTo>
                    <a:pt x="18105" y="7230"/>
                  </a:lnTo>
                  <a:cubicBezTo>
                    <a:pt x="17881" y="6800"/>
                    <a:pt x="17978" y="6168"/>
                    <a:pt x="18321" y="5825"/>
                  </a:cubicBezTo>
                  <a:lnTo>
                    <a:pt x="19086" y="5059"/>
                  </a:lnTo>
                  <a:cubicBezTo>
                    <a:pt x="19429" y="4717"/>
                    <a:pt x="19429" y="4156"/>
                    <a:pt x="19086" y="3812"/>
                  </a:cubicBezTo>
                  <a:lnTo>
                    <a:pt x="17787" y="2514"/>
                  </a:lnTo>
                  <a:cubicBezTo>
                    <a:pt x="17444" y="2171"/>
                    <a:pt x="16883" y="2171"/>
                    <a:pt x="16540" y="2514"/>
                  </a:cubicBezTo>
                  <a:lnTo>
                    <a:pt x="15775" y="3279"/>
                  </a:lnTo>
                  <a:cubicBezTo>
                    <a:pt x="15432" y="3622"/>
                    <a:pt x="14800" y="3719"/>
                    <a:pt x="14370" y="3495"/>
                  </a:cubicBezTo>
                  <a:lnTo>
                    <a:pt x="13439" y="3113"/>
                  </a:lnTo>
                  <a:cubicBezTo>
                    <a:pt x="12978" y="2965"/>
                    <a:pt x="12600" y="2448"/>
                    <a:pt x="12600" y="1963"/>
                  </a:cubicBezTo>
                  <a:lnTo>
                    <a:pt x="12600" y="882"/>
                  </a:lnTo>
                  <a:cubicBezTo>
                    <a:pt x="12600" y="396"/>
                    <a:pt x="12203" y="0"/>
                    <a:pt x="11718" y="0"/>
                  </a:cubicBezTo>
                  <a:lnTo>
                    <a:pt x="9881" y="0"/>
                  </a:lnTo>
                  <a:cubicBezTo>
                    <a:pt x="9396" y="0"/>
                    <a:pt x="9000" y="396"/>
                    <a:pt x="9000" y="882"/>
                  </a:cubicBezTo>
                  <a:lnTo>
                    <a:pt x="9000" y="1963"/>
                  </a:lnTo>
                  <a:cubicBezTo>
                    <a:pt x="9000" y="2448"/>
                    <a:pt x="8622" y="2965"/>
                    <a:pt x="8160" y="3113"/>
                  </a:cubicBezTo>
                  <a:lnTo>
                    <a:pt x="7230" y="3495"/>
                  </a:lnTo>
                  <a:cubicBezTo>
                    <a:pt x="6800" y="3719"/>
                    <a:pt x="6168" y="3622"/>
                    <a:pt x="5825" y="3279"/>
                  </a:cubicBezTo>
                  <a:lnTo>
                    <a:pt x="5060" y="2514"/>
                  </a:lnTo>
                  <a:cubicBezTo>
                    <a:pt x="4717" y="2171"/>
                    <a:pt x="4155" y="2171"/>
                    <a:pt x="3812" y="2514"/>
                  </a:cubicBezTo>
                  <a:lnTo>
                    <a:pt x="2514" y="3812"/>
                  </a:lnTo>
                  <a:cubicBezTo>
                    <a:pt x="2171" y="4156"/>
                    <a:pt x="2171" y="4717"/>
                    <a:pt x="2514" y="5059"/>
                  </a:cubicBezTo>
                  <a:lnTo>
                    <a:pt x="3279" y="5825"/>
                  </a:lnTo>
                  <a:cubicBezTo>
                    <a:pt x="3622" y="6168"/>
                    <a:pt x="3719" y="6800"/>
                    <a:pt x="3495" y="7230"/>
                  </a:cubicBezTo>
                  <a:lnTo>
                    <a:pt x="3113" y="8161"/>
                  </a:lnTo>
                  <a:cubicBezTo>
                    <a:pt x="2965" y="8622"/>
                    <a:pt x="2448" y="9000"/>
                    <a:pt x="1963" y="9000"/>
                  </a:cubicBezTo>
                  <a:lnTo>
                    <a:pt x="882" y="9000"/>
                  </a:lnTo>
                  <a:cubicBezTo>
                    <a:pt x="397" y="9000"/>
                    <a:pt x="0" y="9397"/>
                    <a:pt x="0" y="9882"/>
                  </a:cubicBezTo>
                  <a:close/>
                </a:path>
              </a:pathLst>
            </a:custGeom>
            <a:grpFill/>
            <a:ln w="12700" cap="flat">
              <a:noFill/>
              <a:miter lim="400000"/>
            </a:ln>
            <a:effectLst/>
          </p:spPr>
          <p:txBody>
            <a:bodyPr lIns="38100" tIns="38100" rIns="38100" bIns="381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sp>
          <p:nvSpPr>
            <p:cNvPr id="58" name="Shape 425"/>
            <p:cNvSpPr/>
            <p:nvPr/>
          </p:nvSpPr>
          <p:spPr>
            <a:xfrm>
              <a:off x="1446118" y="1574790"/>
              <a:ext cx="772179" cy="514790"/>
            </a:xfrm>
            <a:custGeom>
              <a:avLst/>
              <a:gdLst/>
              <a:ahLst/>
              <a:cxnLst>
                <a:cxn ang="0">
                  <a:pos x="wd2" y="hd2"/>
                </a:cxn>
                <a:cxn ang="5400000">
                  <a:pos x="wd2" y="hd2"/>
                </a:cxn>
                <a:cxn ang="10800000">
                  <a:pos x="wd2" y="hd2"/>
                </a:cxn>
                <a:cxn ang="16200000">
                  <a:pos x="wd2" y="hd2"/>
                </a:cxn>
              </a:cxnLst>
              <a:rect l="0" t="0" r="r" b="b"/>
              <a:pathLst>
                <a:path w="21600" h="21600" extrusionOk="0">
                  <a:moveTo>
                    <a:pt x="11880" y="19710"/>
                  </a:moveTo>
                  <a:cubicBezTo>
                    <a:pt x="11880" y="19558"/>
                    <a:pt x="11801" y="19440"/>
                    <a:pt x="11700" y="19440"/>
                  </a:cubicBezTo>
                  <a:lnTo>
                    <a:pt x="9900" y="19440"/>
                  </a:lnTo>
                  <a:cubicBezTo>
                    <a:pt x="9799" y="19440"/>
                    <a:pt x="9720" y="19558"/>
                    <a:pt x="9720" y="19710"/>
                  </a:cubicBezTo>
                  <a:cubicBezTo>
                    <a:pt x="9720" y="19862"/>
                    <a:pt x="9799" y="19980"/>
                    <a:pt x="9900" y="19980"/>
                  </a:cubicBezTo>
                  <a:lnTo>
                    <a:pt x="11700" y="19980"/>
                  </a:lnTo>
                  <a:cubicBezTo>
                    <a:pt x="11801" y="19980"/>
                    <a:pt x="11880" y="19862"/>
                    <a:pt x="11880" y="19710"/>
                  </a:cubicBezTo>
                  <a:close/>
                  <a:moveTo>
                    <a:pt x="4320" y="14580"/>
                  </a:moveTo>
                  <a:cubicBezTo>
                    <a:pt x="4320" y="14867"/>
                    <a:pt x="4489" y="15120"/>
                    <a:pt x="4680" y="15120"/>
                  </a:cubicBezTo>
                  <a:lnTo>
                    <a:pt x="16920" y="15120"/>
                  </a:lnTo>
                  <a:cubicBezTo>
                    <a:pt x="17111" y="15120"/>
                    <a:pt x="17280" y="14867"/>
                    <a:pt x="17280" y="14580"/>
                  </a:cubicBezTo>
                  <a:lnTo>
                    <a:pt x="17280" y="2700"/>
                  </a:lnTo>
                  <a:cubicBezTo>
                    <a:pt x="17280" y="2413"/>
                    <a:pt x="17111" y="2160"/>
                    <a:pt x="16920" y="2160"/>
                  </a:cubicBezTo>
                  <a:lnTo>
                    <a:pt x="4680" y="2160"/>
                  </a:lnTo>
                  <a:cubicBezTo>
                    <a:pt x="4489" y="2160"/>
                    <a:pt x="4320" y="2413"/>
                    <a:pt x="4320" y="2700"/>
                  </a:cubicBezTo>
                  <a:cubicBezTo>
                    <a:pt x="4320" y="2700"/>
                    <a:pt x="4320" y="14580"/>
                    <a:pt x="4320" y="14580"/>
                  </a:cubicBezTo>
                  <a:close/>
                  <a:moveTo>
                    <a:pt x="2880" y="14580"/>
                  </a:moveTo>
                  <a:lnTo>
                    <a:pt x="2880" y="2700"/>
                  </a:lnTo>
                  <a:cubicBezTo>
                    <a:pt x="2880" y="1215"/>
                    <a:pt x="3690" y="0"/>
                    <a:pt x="4680" y="0"/>
                  </a:cubicBezTo>
                  <a:lnTo>
                    <a:pt x="16920" y="0"/>
                  </a:lnTo>
                  <a:cubicBezTo>
                    <a:pt x="17910" y="0"/>
                    <a:pt x="18720" y="1215"/>
                    <a:pt x="18720" y="2700"/>
                  </a:cubicBezTo>
                  <a:lnTo>
                    <a:pt x="18720" y="14580"/>
                  </a:lnTo>
                  <a:cubicBezTo>
                    <a:pt x="18720" y="16065"/>
                    <a:pt x="17910" y="17280"/>
                    <a:pt x="16920" y="17280"/>
                  </a:cubicBezTo>
                  <a:lnTo>
                    <a:pt x="4680" y="17280"/>
                  </a:lnTo>
                  <a:cubicBezTo>
                    <a:pt x="3690" y="17280"/>
                    <a:pt x="2880" y="16065"/>
                    <a:pt x="2880" y="14580"/>
                  </a:cubicBezTo>
                  <a:close/>
                  <a:moveTo>
                    <a:pt x="21600" y="18360"/>
                  </a:moveTo>
                  <a:lnTo>
                    <a:pt x="21600" y="19980"/>
                  </a:lnTo>
                  <a:cubicBezTo>
                    <a:pt x="21600" y="20874"/>
                    <a:pt x="20790" y="21600"/>
                    <a:pt x="19800" y="21600"/>
                  </a:cubicBezTo>
                  <a:lnTo>
                    <a:pt x="1800" y="21600"/>
                  </a:lnTo>
                  <a:cubicBezTo>
                    <a:pt x="810" y="21600"/>
                    <a:pt x="0" y="20874"/>
                    <a:pt x="0" y="19980"/>
                  </a:cubicBezTo>
                  <a:lnTo>
                    <a:pt x="0" y="18360"/>
                  </a:lnTo>
                  <a:lnTo>
                    <a:pt x="1800" y="18360"/>
                  </a:lnTo>
                  <a:lnTo>
                    <a:pt x="19800" y="18360"/>
                  </a:lnTo>
                  <a:cubicBezTo>
                    <a:pt x="19800" y="18360"/>
                    <a:pt x="21600" y="18360"/>
                    <a:pt x="21600" y="18360"/>
                  </a:cubicBezTo>
                  <a:close/>
                </a:path>
              </a:pathLst>
            </a:custGeom>
            <a:grpFill/>
            <a:ln w="12700" cap="flat">
              <a:noFill/>
              <a:miter lim="400000"/>
            </a:ln>
            <a:effectLst/>
          </p:spPr>
          <p:txBody>
            <a:bodyPr lIns="38100" tIns="38100" rIns="38100" bIns="381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grpSp>
      <p:sp>
        <p:nvSpPr>
          <p:cNvPr id="59" name="Shape 439"/>
          <p:cNvSpPr/>
          <p:nvPr/>
        </p:nvSpPr>
        <p:spPr>
          <a:xfrm>
            <a:off x="1604963" y="2438400"/>
            <a:ext cx="342900" cy="811213"/>
          </a:xfrm>
          <a:prstGeom prst="rect">
            <a:avLst/>
          </a:prstGeom>
          <a:solidFill>
            <a:srgbClr val="F3534B"/>
          </a:solidFill>
          <a:ln w="12700" cap="flat">
            <a:noFill/>
            <a:miter lim="400000"/>
          </a:ln>
          <a:effectLst/>
        </p:spPr>
        <p:txBody>
          <a:bodyPr lIns="50800" tIns="50800" rIns="50800" bIns="50800" anchor="ctr"/>
          <a:lstStyle/>
          <a:p>
            <a:pPr defTabSz="228554" eaLnBrk="1" fontAlgn="auto" hangingPunct="1">
              <a:spcBef>
                <a:spcPts val="0"/>
              </a:spcBef>
              <a:spcAft>
                <a:spcPts val="0"/>
              </a:spcAf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endParaRPr>
          </a:p>
        </p:txBody>
      </p:sp>
      <p:sp>
        <p:nvSpPr>
          <p:cNvPr id="60" name="Text Placeholder 2"/>
          <p:cNvSpPr txBox="1">
            <a:spLocks/>
          </p:cNvSpPr>
          <p:nvPr/>
        </p:nvSpPr>
        <p:spPr bwMode="auto">
          <a:xfrm>
            <a:off x="8569325" y="4222750"/>
            <a:ext cx="29718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eaLnBrk="1" hangingPunct="1">
              <a:buFont typeface="Arial" pitchFamily="34" charset="0"/>
              <a:buNone/>
            </a:pPr>
            <a:r>
              <a:rPr lang="sv-SE" altLang="fr-FR" sz="1200">
                <a:latin typeface="Open Sans Light" pitchFamily="34" charset="0"/>
                <a:ea typeface="Open Sans Light" pitchFamily="34" charset="0"/>
                <a:cs typeface="Open Sans Light" pitchFamily="34" charset="0"/>
              </a:rPr>
              <a:t>Lorem ipsum dolor sit amet, adipiscing elit, sed do eiusmod tempor incididunt ut labore</a:t>
            </a:r>
          </a:p>
        </p:txBody>
      </p:sp>
      <p:sp>
        <p:nvSpPr>
          <p:cNvPr id="61" name="Content Placeholder 4"/>
          <p:cNvSpPr txBox="1">
            <a:spLocks/>
          </p:cNvSpPr>
          <p:nvPr/>
        </p:nvSpPr>
        <p:spPr bwMode="auto">
          <a:xfrm>
            <a:off x="8569325" y="3929063"/>
            <a:ext cx="22082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eaLnBrk="1" hangingPunct="1">
              <a:buFont typeface="Arial" pitchFamily="34" charset="0"/>
              <a:buNone/>
            </a:pPr>
            <a:r>
              <a:rPr lang="en-US" altLang="fr-FR" sz="1500" b="1">
                <a:ea typeface="Open Sans Light" pitchFamily="34" charset="0"/>
                <a:cs typeface="Open Sans Light" pitchFamily="34" charset="0"/>
              </a:rPr>
              <a:t>GOOD PRICE</a:t>
            </a:r>
          </a:p>
        </p:txBody>
      </p:sp>
      <p:sp>
        <p:nvSpPr>
          <p:cNvPr id="62" name="Text Placeholder 2"/>
          <p:cNvSpPr txBox="1">
            <a:spLocks/>
          </p:cNvSpPr>
          <p:nvPr/>
        </p:nvSpPr>
        <p:spPr bwMode="auto">
          <a:xfrm>
            <a:off x="876300" y="5118100"/>
            <a:ext cx="29718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algn="r" eaLnBrk="1" hangingPunct="1">
              <a:spcBef>
                <a:spcPts val="4500"/>
              </a:spcBef>
              <a:buFont typeface="Arial" pitchFamily="34" charset="0"/>
              <a:buNone/>
            </a:pPr>
            <a:r>
              <a:rPr lang="sv-SE" altLang="fr-FR" sz="1200">
                <a:latin typeface="Open Sans Light" pitchFamily="34" charset="0"/>
                <a:ea typeface="Open Sans Light" pitchFamily="34" charset="0"/>
                <a:cs typeface="Open Sans Light" pitchFamily="34" charset="0"/>
              </a:rPr>
              <a:t>Lorem ipsum dolor sit amet, adipiscing elit, sed do eiusmod tempor incididunt ut labore</a:t>
            </a:r>
          </a:p>
        </p:txBody>
      </p:sp>
      <p:sp>
        <p:nvSpPr>
          <p:cNvPr id="63" name="Content Placeholder 4"/>
          <p:cNvSpPr txBox="1">
            <a:spLocks/>
          </p:cNvSpPr>
          <p:nvPr/>
        </p:nvSpPr>
        <p:spPr bwMode="auto">
          <a:xfrm>
            <a:off x="1639888" y="4608513"/>
            <a:ext cx="22082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algn="r" eaLnBrk="1" hangingPunct="1">
              <a:buFont typeface="Arial" pitchFamily="34" charset="0"/>
              <a:buNone/>
            </a:pPr>
            <a:r>
              <a:rPr lang="en-US" altLang="fr-FR" sz="1500" b="1">
                <a:ea typeface="Open Sans Light" pitchFamily="34" charset="0"/>
                <a:cs typeface="Open Sans Light" pitchFamily="34" charset="0"/>
              </a:rPr>
              <a:t>WHEN AND WHEREVER</a:t>
            </a:r>
          </a:p>
        </p:txBody>
      </p:sp>
      <p:sp>
        <p:nvSpPr>
          <p:cNvPr id="64" name="Text Placeholder 2"/>
          <p:cNvSpPr txBox="1">
            <a:spLocks/>
          </p:cNvSpPr>
          <p:nvPr/>
        </p:nvSpPr>
        <p:spPr>
          <a:xfrm>
            <a:off x="2133600" y="2590800"/>
            <a:ext cx="1751013" cy="990600"/>
          </a:xfrm>
          <a:prstGeom prst="rect">
            <a:avLst/>
          </a:prstGeom>
        </p:spPr>
        <p:txBody>
          <a:bodyPr>
            <a:normAutofit lnSpcReduction="10000"/>
          </a:bodyPr>
          <a:lstStyle>
            <a:lvl1pPr marL="439529" indent="-439529" algn="l" defTabSz="1172078" rtl="0" eaLnBrk="1" latinLnBrk="0" hangingPunct="1">
              <a:spcBef>
                <a:spcPct val="20000"/>
              </a:spcBef>
              <a:buFont typeface="Arial" pitchFamily="34" charset="0"/>
              <a:buChar char="•"/>
              <a:defRPr sz="4100" kern="1200">
                <a:solidFill>
                  <a:schemeClr val="tx1"/>
                </a:solidFill>
                <a:latin typeface="+mn-lt"/>
                <a:ea typeface="+mn-ea"/>
                <a:cs typeface="+mn-cs"/>
              </a:defRPr>
            </a:lvl1pPr>
            <a:lvl2pPr marL="952313" indent="-366274" algn="l" defTabSz="1172078" rtl="0" eaLnBrk="1" latinLnBrk="0" hangingPunct="1">
              <a:spcBef>
                <a:spcPct val="20000"/>
              </a:spcBef>
              <a:buFont typeface="Arial" pitchFamily="34" charset="0"/>
              <a:buChar char="–"/>
              <a:defRPr sz="3600" kern="1200">
                <a:solidFill>
                  <a:schemeClr val="tx1"/>
                </a:solidFill>
                <a:latin typeface="+mn-lt"/>
                <a:ea typeface="+mn-ea"/>
                <a:cs typeface="+mn-cs"/>
              </a:defRPr>
            </a:lvl2pPr>
            <a:lvl3pPr marL="1465097" indent="-293019" algn="l" defTabSz="1172078" rtl="0" eaLnBrk="1" latinLnBrk="0" hangingPunct="1">
              <a:spcBef>
                <a:spcPct val="20000"/>
              </a:spcBef>
              <a:buFont typeface="Arial" pitchFamily="34" charset="0"/>
              <a:buChar char="•"/>
              <a:defRPr sz="3100" kern="1200">
                <a:solidFill>
                  <a:schemeClr val="tx1"/>
                </a:solidFill>
                <a:latin typeface="+mn-lt"/>
                <a:ea typeface="+mn-ea"/>
                <a:cs typeface="+mn-cs"/>
              </a:defRPr>
            </a:lvl3pPr>
            <a:lvl4pPr marL="2051136"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637175"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indent="0" fontAlgn="auto">
              <a:spcBef>
                <a:spcPts val="4500"/>
              </a:spcBef>
              <a:spcAft>
                <a:spcPts val="0"/>
              </a:spcAft>
              <a:buFont typeface="Arial" pitchFamily="34" charset="0"/>
              <a:buNone/>
              <a:defRPr/>
            </a:pPr>
            <a:r>
              <a:rPr lang="sv-SE" sz="1200" dirty="0">
                <a:latin typeface="Open Sans Light" panose="020B0306030504020204" pitchFamily="34" charset="0"/>
                <a:ea typeface="Open Sans Light" panose="020B0306030504020204" pitchFamily="34" charset="0"/>
                <a:cs typeface="Open Sans Light" panose="020B0306030504020204" pitchFamily="34" charset="0"/>
              </a:rPr>
              <a:t>Lorem ipsum dolor sit amet, adipiscing elit, sed do eiusmod tempor incididunt ut labore</a:t>
            </a:r>
          </a:p>
        </p:txBody>
      </p:sp>
      <p:sp>
        <p:nvSpPr>
          <p:cNvPr id="65" name="Content Placeholder 4"/>
          <p:cNvSpPr txBox="1">
            <a:spLocks/>
          </p:cNvSpPr>
          <p:nvPr/>
        </p:nvSpPr>
        <p:spPr bwMode="auto">
          <a:xfrm>
            <a:off x="2133600" y="2339975"/>
            <a:ext cx="220821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itchFamily="34" charset="0"/>
              <a:buChar char="•"/>
              <a:defRPr sz="4100">
                <a:solidFill>
                  <a:schemeClr val="tx1"/>
                </a:solidFill>
                <a:latin typeface="Open Sans" pitchFamily="34" charset="0"/>
              </a:defRPr>
            </a:lvl1pPr>
            <a:lvl2pPr marL="950913" indent="-365125">
              <a:spcBef>
                <a:spcPct val="20000"/>
              </a:spcBef>
              <a:buFont typeface="Arial" pitchFamily="34" charset="0"/>
              <a:buChar char="–"/>
              <a:defRPr sz="3600">
                <a:solidFill>
                  <a:schemeClr val="tx1"/>
                </a:solidFill>
                <a:latin typeface="Open Sans" pitchFamily="34" charset="0"/>
              </a:defRPr>
            </a:lvl2pPr>
            <a:lvl3pPr marL="1463675" indent="-292100">
              <a:spcBef>
                <a:spcPct val="20000"/>
              </a:spcBef>
              <a:buFont typeface="Arial" pitchFamily="34" charset="0"/>
              <a:buChar char="•"/>
              <a:defRPr sz="3100">
                <a:solidFill>
                  <a:schemeClr val="tx1"/>
                </a:solidFill>
                <a:latin typeface="Open Sans" pitchFamily="34" charset="0"/>
              </a:defRPr>
            </a:lvl3pPr>
            <a:lvl4pPr marL="2051050" indent="-292100">
              <a:spcBef>
                <a:spcPct val="20000"/>
              </a:spcBef>
              <a:buFont typeface="Arial" pitchFamily="34" charset="0"/>
              <a:buChar char="–"/>
              <a:defRPr sz="2600">
                <a:solidFill>
                  <a:schemeClr val="tx1"/>
                </a:solidFill>
                <a:latin typeface="Open Sans" pitchFamily="34" charset="0"/>
              </a:defRPr>
            </a:lvl4pPr>
            <a:lvl5pPr marL="2636838" indent="-292100">
              <a:spcBef>
                <a:spcPct val="20000"/>
              </a:spcBef>
              <a:buFont typeface="Arial" pitchFamily="34" charset="0"/>
              <a:buChar char="»"/>
              <a:defRPr sz="2600">
                <a:solidFill>
                  <a:schemeClr val="tx1"/>
                </a:solidFill>
                <a:latin typeface="Open Sans" pitchFamily="34" charset="0"/>
              </a:defRPr>
            </a:lvl5pPr>
            <a:lvl6pPr marL="30940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6pPr>
            <a:lvl7pPr marL="35512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7pPr>
            <a:lvl8pPr marL="40084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8pPr>
            <a:lvl9pPr marL="4465638" indent="-292100" defTabSz="1171575" fontAlgn="base">
              <a:spcBef>
                <a:spcPct val="20000"/>
              </a:spcBef>
              <a:spcAft>
                <a:spcPct val="0"/>
              </a:spcAft>
              <a:buFont typeface="Arial" pitchFamily="34" charset="0"/>
              <a:buChar char="»"/>
              <a:defRPr sz="2600">
                <a:solidFill>
                  <a:schemeClr val="tx1"/>
                </a:solidFill>
                <a:latin typeface="Open Sans" pitchFamily="34" charset="0"/>
              </a:defRPr>
            </a:lvl9pPr>
          </a:lstStyle>
          <a:p>
            <a:pPr eaLnBrk="1" hangingPunct="1">
              <a:buFont typeface="Arial" pitchFamily="34" charset="0"/>
              <a:buNone/>
            </a:pPr>
            <a:r>
              <a:rPr lang="en-US" altLang="fr-FR" sz="1400">
                <a:latin typeface="Open Sans Light" pitchFamily="34" charset="0"/>
                <a:ea typeface="Open Sans Light" pitchFamily="34" charset="0"/>
                <a:cs typeface="Open Sans Light" pitchFamily="34" charset="0"/>
              </a:rPr>
              <a:t>NOTE</a:t>
            </a:r>
          </a:p>
        </p:txBody>
      </p:sp>
      <p:sp>
        <p:nvSpPr>
          <p:cNvPr id="66" name="Title 1"/>
          <p:cNvSpPr txBox="1">
            <a:spLocks/>
          </p:cNvSpPr>
          <p:nvPr/>
        </p:nvSpPr>
        <p:spPr>
          <a:xfrm>
            <a:off x="1517650" y="2576513"/>
            <a:ext cx="517525" cy="534987"/>
          </a:xfrm>
          <a:prstGeom prst="rect">
            <a:avLst/>
          </a:prstGeom>
        </p:spPr>
        <p:txBody>
          <a:bodyPr anchor="ctr"/>
          <a:lstStyle>
            <a:lvl1pPr algn="ctr" defTabSz="914400" rtl="0" eaLnBrk="1" latinLnBrk="0" hangingPunct="1">
              <a:lnSpc>
                <a:spcPts val="4800"/>
              </a:lnSpc>
              <a:spcBef>
                <a:spcPct val="0"/>
              </a:spcBef>
              <a:buNone/>
              <a:defRPr sz="2700" b="0" kern="1200">
                <a:solidFill>
                  <a:schemeClr val="tx1">
                    <a:lumMod val="65000"/>
                    <a:lumOff val="35000"/>
                  </a:schemeClr>
                </a:solidFill>
                <a:latin typeface="Source Sans Pro Light"/>
                <a:ea typeface="+mj-ea"/>
                <a:cs typeface="+mj-cs"/>
              </a:defRPr>
            </a:lvl1pPr>
          </a:lstStyle>
          <a:p>
            <a:pPr fontAlgn="auto">
              <a:spcAft>
                <a:spcPts val="0"/>
              </a:spcAft>
              <a:defRPr/>
            </a:pPr>
            <a:r>
              <a:rPr lang="en-US" dirty="0">
                <a:solidFill>
                  <a:schemeClr val="bg1"/>
                </a:solidFill>
                <a:latin typeface="+mn-lt"/>
              </a:rPr>
              <a:t>!</a:t>
            </a:r>
          </a:p>
        </p:txBody>
      </p:sp>
      <p:sp>
        <p:nvSpPr>
          <p:cNvPr id="67" name="Rectangle 66"/>
          <p:cNvSpPr/>
          <p:nvPr/>
        </p:nvSpPr>
        <p:spPr>
          <a:xfrm>
            <a:off x="3575050" y="595313"/>
            <a:ext cx="5038725"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078" eaLnBrk="1" fontAlgn="auto" hangingPunct="1">
              <a:spcBef>
                <a:spcPts val="0"/>
              </a:spcBef>
              <a:spcAft>
                <a:spcPts val="0"/>
              </a:spcAft>
              <a:defRPr/>
            </a:pPr>
            <a:r>
              <a:rPr lang="en-US" sz="3600" dirty="0">
                <a:solidFill>
                  <a:schemeClr val="tx1">
                    <a:lumMod val="75000"/>
                    <a:lumOff val="25000"/>
                  </a:schemeClr>
                </a:solidFill>
                <a:latin typeface="Adobe Garamond Pro" panose="02020502060506020403" pitchFamily="18" charset="0"/>
                <a:ea typeface="Open Sans Extrabold" pitchFamily="34" charset="0"/>
                <a:cs typeface="Open Sans Extrabold" pitchFamily="34" charset="0"/>
              </a:rPr>
              <a:t>OUR </a:t>
            </a:r>
            <a:r>
              <a:rPr lang="en-US" sz="3600" dirty="0">
                <a:solidFill>
                  <a:srgbClr val="F3534B"/>
                </a:solidFill>
                <a:latin typeface="Adobe Garamond Pro" panose="02020502060506020403" pitchFamily="18" charset="0"/>
                <a:ea typeface="Open Sans" pitchFamily="34" charset="0"/>
                <a:cs typeface="Open Sans" pitchFamily="34" charset="0"/>
              </a:rPr>
              <a:t>EXCELLENCES</a:t>
            </a:r>
            <a:endParaRPr lang="en-US" sz="3600" b="1" dirty="0">
              <a:solidFill>
                <a:srgbClr val="F3534B"/>
              </a:solidFill>
              <a:latin typeface="Adobe Garamond Pro" panose="02020502060506020403" pitchFamily="18" charset="0"/>
              <a:ea typeface="Open Sans" pitchFamily="34" charset="0"/>
              <a:cs typeface="Open Sans" pitchFamily="34" charset="0"/>
            </a:endParaRPr>
          </a:p>
        </p:txBody>
      </p:sp>
      <p:sp>
        <p:nvSpPr>
          <p:cNvPr id="57363" name="Rectangle 67"/>
          <p:cNvSpPr>
            <a:spLocks noChangeArrowheads="1"/>
          </p:cNvSpPr>
          <p:nvPr/>
        </p:nvSpPr>
        <p:spPr bwMode="auto">
          <a:xfrm>
            <a:off x="3575050" y="990600"/>
            <a:ext cx="50387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7208" tIns="58604" rIns="117208" bIns="58604">
            <a:spAutoFit/>
          </a:bodyPr>
          <a:lstStyle>
            <a:lvl1pPr>
              <a:defRPr sz="2300">
                <a:solidFill>
                  <a:schemeClr val="tx1"/>
                </a:solidFill>
                <a:latin typeface="Open Sans" pitchFamily="34" charset="0"/>
              </a:defRPr>
            </a:lvl1pPr>
            <a:lvl2pPr marL="742950" indent="-285750">
              <a:defRPr sz="2300">
                <a:solidFill>
                  <a:schemeClr val="tx1"/>
                </a:solidFill>
                <a:latin typeface="Open Sans" pitchFamily="34" charset="0"/>
              </a:defRPr>
            </a:lvl2pPr>
            <a:lvl3pPr marL="1143000" indent="-228600">
              <a:defRPr sz="2300">
                <a:solidFill>
                  <a:schemeClr val="tx1"/>
                </a:solidFill>
                <a:latin typeface="Open Sans" pitchFamily="34" charset="0"/>
              </a:defRPr>
            </a:lvl3pPr>
            <a:lvl4pPr marL="1600200" indent="-228600">
              <a:defRPr sz="2300">
                <a:solidFill>
                  <a:schemeClr val="tx1"/>
                </a:solidFill>
                <a:latin typeface="Open Sans" pitchFamily="34" charset="0"/>
              </a:defRPr>
            </a:lvl4pPr>
            <a:lvl5pPr marL="2057400" indent="-228600">
              <a:defRPr sz="2300">
                <a:solidFill>
                  <a:schemeClr val="tx1"/>
                </a:solidFill>
                <a:latin typeface="Open Sans" pitchFamily="34" charset="0"/>
              </a:defRPr>
            </a:lvl5pPr>
            <a:lvl6pPr marL="2514600" indent="-228600" defTabSz="1171575" fontAlgn="base">
              <a:spcBef>
                <a:spcPct val="0"/>
              </a:spcBef>
              <a:spcAft>
                <a:spcPct val="0"/>
              </a:spcAft>
              <a:defRPr sz="2300">
                <a:solidFill>
                  <a:schemeClr val="tx1"/>
                </a:solidFill>
                <a:latin typeface="Open Sans" pitchFamily="34" charset="0"/>
              </a:defRPr>
            </a:lvl6pPr>
            <a:lvl7pPr marL="2971800" indent="-228600" defTabSz="1171575" fontAlgn="base">
              <a:spcBef>
                <a:spcPct val="0"/>
              </a:spcBef>
              <a:spcAft>
                <a:spcPct val="0"/>
              </a:spcAft>
              <a:defRPr sz="2300">
                <a:solidFill>
                  <a:schemeClr val="tx1"/>
                </a:solidFill>
                <a:latin typeface="Open Sans" pitchFamily="34" charset="0"/>
              </a:defRPr>
            </a:lvl7pPr>
            <a:lvl8pPr marL="3429000" indent="-228600" defTabSz="1171575" fontAlgn="base">
              <a:spcBef>
                <a:spcPct val="0"/>
              </a:spcBef>
              <a:spcAft>
                <a:spcPct val="0"/>
              </a:spcAft>
              <a:defRPr sz="2300">
                <a:solidFill>
                  <a:schemeClr val="tx1"/>
                </a:solidFill>
                <a:latin typeface="Open Sans" pitchFamily="34" charset="0"/>
              </a:defRPr>
            </a:lvl8pPr>
            <a:lvl9pPr marL="3886200" indent="-228600" defTabSz="1171575" fontAlgn="base">
              <a:spcBef>
                <a:spcPct val="0"/>
              </a:spcBef>
              <a:spcAft>
                <a:spcPct val="0"/>
              </a:spcAft>
              <a:defRPr sz="2300">
                <a:solidFill>
                  <a:schemeClr val="tx1"/>
                </a:solidFill>
                <a:latin typeface="Open Sans" pitchFamily="34" charset="0"/>
              </a:defRPr>
            </a:lvl9pPr>
          </a:lstStyle>
          <a:p>
            <a:pPr algn="ctr" eaLnBrk="1" hangingPunct="1"/>
            <a:r>
              <a:rPr lang="en-US" altLang="fr-FR" sz="1200">
                <a:latin typeface="Open Sans Light" pitchFamily="34" charset="0"/>
                <a:ea typeface="Open Sans Light" pitchFamily="34" charset="0"/>
                <a:cs typeface="Open Sans Light" pitchFamily="34" charset="0"/>
              </a:rPr>
              <a:t>Lorem Ipsum is simply dummy text of the printing industry. </a:t>
            </a:r>
          </a:p>
        </p:txBody>
      </p:sp>
      <p:sp>
        <p:nvSpPr>
          <p:cNvPr id="69" name="Rectangle 68"/>
          <p:cNvSpPr/>
          <p:nvPr/>
        </p:nvSpPr>
        <p:spPr>
          <a:xfrm>
            <a:off x="5426075" y="1316038"/>
            <a:ext cx="1336675" cy="46037"/>
          </a:xfrm>
          <a:prstGeom prst="rect">
            <a:avLst/>
          </a:prstGeom>
          <a:solidFill>
            <a:srgbClr val="F353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078" eaLnBrk="1" fontAlgn="auto" hangingPunct="1">
              <a:spcBef>
                <a:spcPts val="0"/>
              </a:spcBef>
              <a:spcAft>
                <a:spcPts val="0"/>
              </a:spcAft>
              <a:defRPr/>
            </a:pPr>
            <a:endParaRPr lang="en-US"/>
          </a:p>
        </p:txBody>
      </p:sp>
      <p:sp>
        <p:nvSpPr>
          <p:cNvPr id="3" name="Rectangle 2"/>
          <p:cNvSpPr/>
          <p:nvPr/>
        </p:nvSpPr>
        <p:spPr>
          <a:xfrm>
            <a:off x="7181850" y="2305050"/>
            <a:ext cx="457200" cy="457200"/>
          </a:xfrm>
          <a:prstGeom prst="rect">
            <a:avLst/>
          </a:prstGeom>
          <a:solidFill>
            <a:srgbClr val="F3534B"/>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172078" eaLnBrk="1" fontAlgn="auto" hangingPunct="1">
              <a:spcBef>
                <a:spcPts val="0"/>
              </a:spcBef>
              <a:spcAft>
                <a:spcPts val="0"/>
              </a:spcAft>
              <a:defRPr/>
            </a:pPr>
            <a:r>
              <a:rPr lang="en-US" sz="3200" dirty="0">
                <a:latin typeface="Lato Heavy" panose="020F0502020204030203" pitchFamily="34" charset="0"/>
                <a:ea typeface="Lato Heavy" panose="020F0502020204030203" pitchFamily="34" charset="0"/>
                <a:cs typeface="Lato Heavy" panose="020F0502020204030203" pitchFamily="34" charset="0"/>
              </a:rPr>
              <a:t>1</a:t>
            </a:r>
          </a:p>
        </p:txBody>
      </p:sp>
      <p:sp>
        <p:nvSpPr>
          <p:cNvPr id="75" name="Rectangle 74"/>
          <p:cNvSpPr/>
          <p:nvPr/>
        </p:nvSpPr>
        <p:spPr>
          <a:xfrm>
            <a:off x="8081963" y="4013200"/>
            <a:ext cx="457200" cy="457200"/>
          </a:xfrm>
          <a:prstGeom prst="rect">
            <a:avLst/>
          </a:prstGeom>
          <a:solidFill>
            <a:srgbClr val="F3534B"/>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172078" eaLnBrk="1" fontAlgn="auto" hangingPunct="1">
              <a:spcBef>
                <a:spcPts val="0"/>
              </a:spcBef>
              <a:spcAft>
                <a:spcPts val="0"/>
              </a:spcAft>
              <a:defRPr/>
            </a:pPr>
            <a:r>
              <a:rPr lang="en-US" sz="3200" dirty="0">
                <a:latin typeface="Lato Heavy" panose="020F0502020204030203" pitchFamily="34" charset="0"/>
                <a:ea typeface="Lato Heavy" panose="020F0502020204030203" pitchFamily="34" charset="0"/>
                <a:cs typeface="Lato Heavy" panose="020F0502020204030203" pitchFamily="34" charset="0"/>
              </a:rPr>
              <a:t>2</a:t>
            </a:r>
          </a:p>
        </p:txBody>
      </p:sp>
      <p:sp>
        <p:nvSpPr>
          <p:cNvPr id="76" name="Rectangle 75"/>
          <p:cNvSpPr/>
          <p:nvPr/>
        </p:nvSpPr>
        <p:spPr>
          <a:xfrm>
            <a:off x="3873500" y="4672013"/>
            <a:ext cx="457200" cy="457200"/>
          </a:xfrm>
          <a:prstGeom prst="rect">
            <a:avLst/>
          </a:prstGeom>
          <a:solidFill>
            <a:srgbClr val="F3534B"/>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172078" eaLnBrk="1" fontAlgn="auto" hangingPunct="1">
              <a:spcBef>
                <a:spcPts val="0"/>
              </a:spcBef>
              <a:spcAft>
                <a:spcPts val="0"/>
              </a:spcAft>
              <a:defRPr/>
            </a:pPr>
            <a:r>
              <a:rPr lang="en-US" sz="3200" dirty="0">
                <a:latin typeface="Lato Heavy" panose="020F0502020204030203" pitchFamily="34" charset="0"/>
                <a:ea typeface="Lato Heavy" panose="020F0502020204030203" pitchFamily="34" charset="0"/>
                <a:cs typeface="Lato Heavy" panose="020F0502020204030203" pitchFamily="34" charset="0"/>
              </a:rPr>
              <a:t>3</a:t>
            </a:r>
          </a:p>
        </p:txBody>
      </p:sp>
    </p:spTree>
    <p:extLst>
      <p:ext uri="{BB962C8B-B14F-4D97-AF65-F5344CB8AC3E}">
        <p14:creationId xmlns:p14="http://schemas.microsoft.com/office/powerpoint/2010/main" val="507972606"/>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childTnLst>
                          </p:cTn>
                        </p:par>
                        <p:par>
                          <p:cTn id="11" fill="hold" nodeType="afterGroup">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5">
                                            <p:txEl>
                                              <p:pRg st="0" end="0"/>
                                            </p:txEl>
                                          </p:spTgt>
                                        </p:tgtEl>
                                        <p:attrNameLst>
                                          <p:attrName>style.visibility</p:attrName>
                                        </p:attrNameLst>
                                      </p:cBhvr>
                                      <p:to>
                                        <p:strVal val="visible"/>
                                      </p:to>
                                    </p:set>
                                    <p:animEffect transition="in" filter="fade">
                                      <p:cBhvr>
                                        <p:cTn id="14" dur="500"/>
                                        <p:tgtEl>
                                          <p:spTgt spid="65">
                                            <p:txEl>
                                              <p:pRg st="0" end="0"/>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4">
                                            <p:txEl>
                                              <p:pRg st="0" end="0"/>
                                            </p:txEl>
                                          </p:spTgt>
                                        </p:tgtEl>
                                        <p:attrNameLst>
                                          <p:attrName>style.visibility</p:attrName>
                                        </p:attrNameLst>
                                      </p:cBhvr>
                                      <p:to>
                                        <p:strVal val="visible"/>
                                      </p:to>
                                    </p:set>
                                    <p:animEffect transition="in" filter="fade">
                                      <p:cBhvr>
                                        <p:cTn id="17" dur="500"/>
                                        <p:tgtEl>
                                          <p:spTgt spid="64">
                                            <p:txEl>
                                              <p:pRg st="0" end="0"/>
                                            </p:txEl>
                                          </p:spTgt>
                                        </p:tgtEl>
                                      </p:cBhvr>
                                    </p:animEffect>
                                  </p:childTnLst>
                                </p:cTn>
                              </p:par>
                            </p:childTnLst>
                          </p:cTn>
                        </p:par>
                        <p:par>
                          <p:cTn id="18" fill="hold" nodeType="afterGroup">
                            <p:stCondLst>
                              <p:cond delay="1000"/>
                            </p:stCondLst>
                            <p:childTnLst>
                              <p:par>
                                <p:cTn id="19" presetID="10" presetClass="entr" presetSubtype="0" fill="hold"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childTnLst>
                          </p:cTn>
                        </p:par>
                        <p:par>
                          <p:cTn id="22" fill="hold" nodeType="afterGroup">
                            <p:stCondLst>
                              <p:cond delay="1500"/>
                            </p:stCondLst>
                            <p:childTnLst>
                              <p:par>
                                <p:cTn id="23" presetID="9" presetClass="entr" presetSubtype="0" fill="hold" grpId="0" nodeType="afterEffect">
                                  <p:stCondLst>
                                    <p:cond delay="0"/>
                                  </p:stCondLst>
                                  <p:childTnLst>
                                    <p:set>
                                      <p:cBhvr>
                                        <p:cTn id="24" dur="1" fill="hold">
                                          <p:stCondLst>
                                            <p:cond delay="0"/>
                                          </p:stCondLst>
                                        </p:cTn>
                                        <p:tgtEl>
                                          <p:spTgt spid="46">
                                            <p:txEl>
                                              <p:pRg st="0" end="0"/>
                                            </p:txEl>
                                          </p:spTgt>
                                        </p:tgtEl>
                                        <p:attrNameLst>
                                          <p:attrName>style.visibility</p:attrName>
                                        </p:attrNameLst>
                                      </p:cBhvr>
                                      <p:to>
                                        <p:strVal val="visible"/>
                                      </p:to>
                                    </p:set>
                                    <p:animEffect transition="in" filter="dissolve">
                                      <p:cBhvr>
                                        <p:cTn id="25" dur="500"/>
                                        <p:tgtEl>
                                          <p:spTgt spid="46">
                                            <p:txEl>
                                              <p:pRg st="0" end="0"/>
                                            </p:txEl>
                                          </p:spTgt>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45">
                                            <p:txEl>
                                              <p:pRg st="0" end="0"/>
                                            </p:txEl>
                                          </p:spTgt>
                                        </p:tgtEl>
                                        <p:attrNameLst>
                                          <p:attrName>style.visibility</p:attrName>
                                        </p:attrNameLst>
                                      </p:cBhvr>
                                      <p:to>
                                        <p:strVal val="visible"/>
                                      </p:to>
                                    </p:set>
                                    <p:animEffect transition="in" filter="dissolve">
                                      <p:cBhvr>
                                        <p:cTn id="28" dur="500"/>
                                        <p:tgtEl>
                                          <p:spTgt spid="45">
                                            <p:txEl>
                                              <p:pRg st="0" end="0"/>
                                            </p:txEl>
                                          </p:spTgt>
                                        </p:tgtEl>
                                      </p:cBhvr>
                                    </p:animEffect>
                                  </p:childTnLst>
                                </p:cTn>
                              </p:par>
                            </p:childTnLst>
                          </p:cTn>
                        </p:par>
                        <p:par>
                          <p:cTn id="29" fill="hold" nodeType="afterGroup">
                            <p:stCondLst>
                              <p:cond delay="2000"/>
                            </p:stCondLst>
                            <p:childTnLst>
                              <p:par>
                                <p:cTn id="30" presetID="22" presetClass="entr" presetSubtype="1" fill="hold"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wipe(up)">
                                      <p:cBhvr>
                                        <p:cTn id="32" dur="500"/>
                                        <p:tgtEl>
                                          <p:spTgt spid="47"/>
                                        </p:tgtEl>
                                      </p:cBhvr>
                                    </p:animEffect>
                                  </p:childTnLst>
                                </p:cTn>
                              </p:par>
                            </p:childTnLst>
                          </p:cTn>
                        </p:par>
                        <p:par>
                          <p:cTn id="33" fill="hold" nodeType="afterGroup">
                            <p:stCondLst>
                              <p:cond delay="2500"/>
                            </p:stCondLst>
                            <p:childTnLst>
                              <p:par>
                                <p:cTn id="34" presetID="10" presetClass="entr" presetSubtype="0" fill="hold" nodeType="afterEffect">
                                  <p:stCondLst>
                                    <p:cond delay="0"/>
                                  </p:stCondLst>
                                  <p:childTnLst>
                                    <p:set>
                                      <p:cBhvr>
                                        <p:cTn id="35" dur="1" fill="hold">
                                          <p:stCondLst>
                                            <p:cond delay="0"/>
                                          </p:stCondLst>
                                        </p:cTn>
                                        <p:tgtEl>
                                          <p:spTgt spid="53"/>
                                        </p:tgtEl>
                                        <p:attrNameLst>
                                          <p:attrName>style.visibility</p:attrName>
                                        </p:attrNameLst>
                                      </p:cBhvr>
                                      <p:to>
                                        <p:strVal val="visible"/>
                                      </p:to>
                                    </p:set>
                                    <p:animEffect transition="in" filter="fade">
                                      <p:cBhvr>
                                        <p:cTn id="36" dur="500"/>
                                        <p:tgtEl>
                                          <p:spTgt spid="53"/>
                                        </p:tgtEl>
                                      </p:cBhvr>
                                    </p:animEffect>
                                  </p:childTnLst>
                                </p:cTn>
                              </p:par>
                            </p:childTnLst>
                          </p:cTn>
                        </p:par>
                        <p:par>
                          <p:cTn id="37" fill="hold" nodeType="afterGroup">
                            <p:stCondLst>
                              <p:cond delay="3000"/>
                            </p:stCondLst>
                            <p:childTnLst>
                              <p:par>
                                <p:cTn id="38" presetID="9" presetClass="entr" presetSubtype="0" fill="hold" grpId="0" nodeType="afterEffect">
                                  <p:stCondLst>
                                    <p:cond delay="0"/>
                                  </p:stCondLst>
                                  <p:childTnLst>
                                    <p:set>
                                      <p:cBhvr>
                                        <p:cTn id="39" dur="1" fill="hold">
                                          <p:stCondLst>
                                            <p:cond delay="0"/>
                                          </p:stCondLst>
                                        </p:cTn>
                                        <p:tgtEl>
                                          <p:spTgt spid="61">
                                            <p:txEl>
                                              <p:pRg st="0" end="0"/>
                                            </p:txEl>
                                          </p:spTgt>
                                        </p:tgtEl>
                                        <p:attrNameLst>
                                          <p:attrName>style.visibility</p:attrName>
                                        </p:attrNameLst>
                                      </p:cBhvr>
                                      <p:to>
                                        <p:strVal val="visible"/>
                                      </p:to>
                                    </p:set>
                                    <p:animEffect transition="in" filter="dissolve">
                                      <p:cBhvr>
                                        <p:cTn id="40" dur="500"/>
                                        <p:tgtEl>
                                          <p:spTgt spid="61">
                                            <p:txEl>
                                              <p:pRg st="0" end="0"/>
                                            </p:txEl>
                                          </p:spTgt>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60">
                                            <p:txEl>
                                              <p:pRg st="0" end="0"/>
                                            </p:txEl>
                                          </p:spTgt>
                                        </p:tgtEl>
                                        <p:attrNameLst>
                                          <p:attrName>style.visibility</p:attrName>
                                        </p:attrNameLst>
                                      </p:cBhvr>
                                      <p:to>
                                        <p:strVal val="visible"/>
                                      </p:to>
                                    </p:set>
                                    <p:animEffect transition="in" filter="dissolve">
                                      <p:cBhvr>
                                        <p:cTn id="43" dur="500"/>
                                        <p:tgtEl>
                                          <p:spTgt spid="60">
                                            <p:txEl>
                                              <p:pRg st="0" end="0"/>
                                            </p:txEl>
                                          </p:spTgt>
                                        </p:tgtEl>
                                      </p:cBhvr>
                                    </p:animEffect>
                                  </p:childTnLst>
                                </p:cTn>
                              </p:par>
                            </p:childTnLst>
                          </p:cTn>
                        </p:par>
                        <p:par>
                          <p:cTn id="44" fill="hold" nodeType="afterGroup">
                            <p:stCondLst>
                              <p:cond delay="3500"/>
                            </p:stCondLst>
                            <p:childTnLst>
                              <p:par>
                                <p:cTn id="45" presetID="22" presetClass="entr" presetSubtype="1"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wipe(up)">
                                      <p:cBhvr>
                                        <p:cTn id="47" dur="500"/>
                                        <p:tgtEl>
                                          <p:spTgt spid="48"/>
                                        </p:tgtEl>
                                      </p:cBhvr>
                                    </p:animEffect>
                                  </p:childTnLst>
                                </p:cTn>
                              </p:par>
                            </p:childTnLst>
                          </p:cTn>
                        </p:par>
                        <p:par>
                          <p:cTn id="48" fill="hold" nodeType="afterGroup">
                            <p:stCondLst>
                              <p:cond delay="4000"/>
                            </p:stCondLst>
                            <p:childTnLst>
                              <p:par>
                                <p:cTn id="49" presetID="10" presetClass="entr" presetSubtype="0" fill="hold" nodeType="after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childTnLst>
                          </p:cTn>
                        </p:par>
                        <p:par>
                          <p:cTn id="52" fill="hold" nodeType="afterGroup">
                            <p:stCondLst>
                              <p:cond delay="4500"/>
                            </p:stCondLst>
                            <p:childTnLst>
                              <p:par>
                                <p:cTn id="53" presetID="9" presetClass="entr" presetSubtype="0" fill="hold" grpId="0" nodeType="afterEffect">
                                  <p:stCondLst>
                                    <p:cond delay="0"/>
                                  </p:stCondLst>
                                  <p:childTnLst>
                                    <p:set>
                                      <p:cBhvr>
                                        <p:cTn id="54" dur="1" fill="hold">
                                          <p:stCondLst>
                                            <p:cond delay="0"/>
                                          </p:stCondLst>
                                        </p:cTn>
                                        <p:tgtEl>
                                          <p:spTgt spid="63">
                                            <p:txEl>
                                              <p:pRg st="0" end="0"/>
                                            </p:txEl>
                                          </p:spTgt>
                                        </p:tgtEl>
                                        <p:attrNameLst>
                                          <p:attrName>style.visibility</p:attrName>
                                        </p:attrNameLst>
                                      </p:cBhvr>
                                      <p:to>
                                        <p:strVal val="visible"/>
                                      </p:to>
                                    </p:set>
                                    <p:animEffect transition="in" filter="dissolve">
                                      <p:cBhvr>
                                        <p:cTn id="55" dur="500"/>
                                        <p:tgtEl>
                                          <p:spTgt spid="63">
                                            <p:txEl>
                                              <p:pRg st="0" end="0"/>
                                            </p:txEl>
                                          </p:spTgt>
                                        </p:tgtEl>
                                      </p:cBhvr>
                                    </p:animEffect>
                                  </p:childTnLst>
                                </p:cTn>
                              </p:par>
                              <p:par>
                                <p:cTn id="56" presetID="9" presetClass="entr" presetSubtype="0" fill="hold" grpId="0" nodeType="withEffect">
                                  <p:stCondLst>
                                    <p:cond delay="0"/>
                                  </p:stCondLst>
                                  <p:childTnLst>
                                    <p:set>
                                      <p:cBhvr>
                                        <p:cTn id="57" dur="1" fill="hold">
                                          <p:stCondLst>
                                            <p:cond delay="0"/>
                                          </p:stCondLst>
                                        </p:cTn>
                                        <p:tgtEl>
                                          <p:spTgt spid="62">
                                            <p:txEl>
                                              <p:pRg st="0" end="0"/>
                                            </p:txEl>
                                          </p:spTgt>
                                        </p:tgtEl>
                                        <p:attrNameLst>
                                          <p:attrName>style.visibility</p:attrName>
                                        </p:attrNameLst>
                                      </p:cBhvr>
                                      <p:to>
                                        <p:strVal val="visible"/>
                                      </p:to>
                                    </p:set>
                                    <p:animEffect transition="in" filter="dissolve">
                                      <p:cBhvr>
                                        <p:cTn id="58" dur="500"/>
                                        <p:tgtEl>
                                          <p:spTgt spid="62">
                                            <p:txEl>
                                              <p:pRg st="0" end="0"/>
                                            </p:txEl>
                                          </p:spTgt>
                                        </p:tgtEl>
                                      </p:cBhvr>
                                    </p:animEffect>
                                  </p:childTnLst>
                                </p:cTn>
                              </p:par>
                            </p:childTnLst>
                          </p:cTn>
                        </p:par>
                        <p:par>
                          <p:cTn id="59" fill="hold" nodeType="afterGroup">
                            <p:stCondLst>
                              <p:cond delay="5000"/>
                            </p:stCondLst>
                            <p:childTnLst>
                              <p:par>
                                <p:cTn id="60" presetID="22" presetClass="entr" presetSubtype="4" fill="hold" nodeType="after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wipe(down)">
                                      <p:cBhvr>
                                        <p:cTn id="6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uild="p"/>
      <p:bldP spid="46" grpId="0" build="p"/>
      <p:bldP spid="59" grpId="0" animBg="1"/>
      <p:bldP spid="60" grpId="0" build="p"/>
      <p:bldP spid="61" grpId="0" build="p"/>
      <p:bldP spid="62" grpId="0" build="p"/>
      <p:bldP spid="63" grpId="0" build="p"/>
      <p:bldP spid="64" grpId="0" build="p"/>
      <p:bldP spid="65" grpId="0" build="p"/>
      <p:bldP spid="6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5027612" y="70486"/>
            <a:ext cx="3200400" cy="6571030"/>
          </a:xfrm>
          <a:prstGeom prst="rect">
            <a:avLst/>
          </a:prstGeom>
          <a:noFill/>
          <a:ln>
            <a:solidFill>
              <a:schemeClr val="accent6">
                <a:lumMod val="75000"/>
              </a:schemeClr>
            </a:solidFill>
          </a:ln>
        </p:spPr>
        <p:txBody>
          <a:bodyPr wrap="square" rtlCol="0">
            <a:spAutoFit/>
          </a:bodyPr>
          <a:lstStyle/>
          <a:p>
            <a:r>
              <a:rPr lang="fr-FR" dirty="0"/>
              <a:t>Objectif annuelle :90 %</a:t>
            </a:r>
          </a:p>
          <a:p>
            <a:r>
              <a:rPr lang="fr-FR" sz="2000" dirty="0"/>
              <a:t>Action (solution) interne </a:t>
            </a:r>
          </a:p>
          <a:p>
            <a:r>
              <a:rPr lang="fr-FR" sz="2400" b="1" dirty="0">
                <a:solidFill>
                  <a:srgbClr val="FF0000"/>
                </a:solidFill>
              </a:rPr>
              <a:t>MOR : </a:t>
            </a:r>
          </a:p>
          <a:p>
            <a:r>
              <a:rPr lang="fr-FR" sz="1800" dirty="0"/>
              <a:t>1- Réaliser le suivi : </a:t>
            </a:r>
          </a:p>
          <a:p>
            <a:r>
              <a:rPr lang="fr-FR" sz="1800" dirty="0"/>
              <a:t>partager l’évaluation avec le frs et réajuste l’avancement le plan d’action.</a:t>
            </a:r>
          </a:p>
          <a:p>
            <a:r>
              <a:rPr lang="fr-FR" sz="1800" dirty="0"/>
              <a:t>- Paiement </a:t>
            </a:r>
          </a:p>
          <a:p>
            <a:r>
              <a:rPr lang="fr-FR" sz="2400" b="1" dirty="0">
                <a:solidFill>
                  <a:srgbClr val="FF0000"/>
                </a:solidFill>
              </a:rPr>
              <a:t>WOR :</a:t>
            </a:r>
          </a:p>
          <a:p>
            <a:r>
              <a:rPr lang="fr-FR" sz="1800" dirty="0"/>
              <a:t>1- Exécuter le MRP chaque jeudi , le besoin 3,4semaines  , ca dépend du délai de chaque frs .  </a:t>
            </a:r>
          </a:p>
          <a:p>
            <a:r>
              <a:rPr lang="fr-FR" sz="2400" b="1" dirty="0">
                <a:solidFill>
                  <a:srgbClr val="FF0000"/>
                </a:solidFill>
              </a:rPr>
              <a:t>DOR : </a:t>
            </a:r>
          </a:p>
          <a:p>
            <a:r>
              <a:rPr lang="fr-FR" sz="1800" dirty="0"/>
              <a:t>1-S’assurer de la date de livraison par l ’acheteur selon l’incoterm et type frs étrange ou local.</a:t>
            </a:r>
          </a:p>
          <a:p>
            <a:r>
              <a:rPr lang="fr-FR" sz="1800" dirty="0"/>
              <a:t> 2- Magasinier : </a:t>
            </a:r>
          </a:p>
          <a:p>
            <a:r>
              <a:rPr lang="fr-FR" sz="1800" dirty="0"/>
              <a:t>3-la production : actualisé le stock consommé.(physique et sur système)</a:t>
            </a:r>
          </a:p>
        </p:txBody>
      </p:sp>
      <p:pic>
        <p:nvPicPr>
          <p:cNvPr id="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369" t="23565" r="17977" b="11783"/>
          <a:stretch/>
        </p:blipFill>
        <p:spPr bwMode="auto">
          <a:xfrm>
            <a:off x="150813" y="304800"/>
            <a:ext cx="4191000" cy="21204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204762" y="2650760"/>
            <a:ext cx="4724400" cy="4447371"/>
          </a:xfrm>
          <a:prstGeom prst="rect">
            <a:avLst/>
          </a:prstGeom>
          <a:noFill/>
          <a:ln>
            <a:solidFill>
              <a:schemeClr val="bg2">
                <a:lumMod val="75000"/>
              </a:schemeClr>
            </a:solidFill>
          </a:ln>
        </p:spPr>
        <p:txBody>
          <a:bodyPr wrap="square" rtlCol="0">
            <a:spAutoFit/>
          </a:bodyPr>
          <a:lstStyle/>
          <a:p>
            <a:r>
              <a:rPr lang="fr-FR" sz="1600" dirty="0"/>
              <a:t>1- Les critères reflètent  complètement  à la vision des achats,  </a:t>
            </a:r>
          </a:p>
          <a:p>
            <a:r>
              <a:rPr lang="fr-FR" sz="1600" dirty="0"/>
              <a:t>2- l’objectivité de la notation d’évaluation (bon ,pas bon) </a:t>
            </a:r>
          </a:p>
          <a:p>
            <a:r>
              <a:rPr lang="fr-FR" sz="1600" dirty="0"/>
              <a:t>3- les indicateurs sont SMART (mesurable or  pas de bon et pas bon)</a:t>
            </a:r>
          </a:p>
          <a:p>
            <a:r>
              <a:rPr lang="fr-FR" sz="1600" dirty="0"/>
              <a:t>4- la tolérance pour les frs local est référentiel pas la même que pour  import. </a:t>
            </a:r>
          </a:p>
          <a:p>
            <a:r>
              <a:rPr lang="fr-FR" sz="1600" dirty="0"/>
              <a:t>5- Fréquence d’envoi pour réaliser le suivi  : mensuel </a:t>
            </a:r>
          </a:p>
          <a:p>
            <a:r>
              <a:rPr lang="fr-FR" sz="1600" dirty="0"/>
              <a:t>6- Les chefs de demandeurs s’engage pour réaliser cette étape avec le nouveau SEPF, </a:t>
            </a:r>
          </a:p>
          <a:p>
            <a:endParaRPr lang="fr-FR" sz="1600" dirty="0"/>
          </a:p>
          <a:p>
            <a:r>
              <a:rPr lang="fr-FR" sz="1600" dirty="0"/>
              <a:t>7- résultats : Les SEPF permet de mieux  visualiser l’évolution des frs( ne pénalise pas )autres frs import,</a:t>
            </a:r>
          </a:p>
          <a:p>
            <a:r>
              <a:rPr lang="fr-FR" sz="1600" dirty="0"/>
              <a:t> 8- Suivi partagé avec les fournisseurs </a:t>
            </a:r>
          </a:p>
        </p:txBody>
      </p:sp>
      <p:sp>
        <p:nvSpPr>
          <p:cNvPr id="6" name="ZoneTexte 5"/>
          <p:cNvSpPr txBox="1"/>
          <p:nvPr/>
        </p:nvSpPr>
        <p:spPr>
          <a:xfrm>
            <a:off x="8456612" y="70486"/>
            <a:ext cx="3048000" cy="4585871"/>
          </a:xfrm>
          <a:prstGeom prst="rect">
            <a:avLst/>
          </a:prstGeom>
          <a:noFill/>
        </p:spPr>
        <p:txBody>
          <a:bodyPr wrap="square" rtlCol="0">
            <a:spAutoFit/>
          </a:bodyPr>
          <a:lstStyle/>
          <a:p>
            <a:r>
              <a:rPr lang="fr-FR" dirty="0"/>
              <a:t>Action en externe : </a:t>
            </a:r>
          </a:p>
          <a:p>
            <a:endParaRPr lang="fr-FR" dirty="0"/>
          </a:p>
          <a:p>
            <a:r>
              <a:rPr lang="fr-FR" sz="2400" b="1" dirty="0">
                <a:solidFill>
                  <a:srgbClr val="FF0000"/>
                </a:solidFill>
              </a:rPr>
              <a:t>MOR </a:t>
            </a:r>
          </a:p>
          <a:p>
            <a:r>
              <a:rPr lang="fr-FR" sz="2000" dirty="0"/>
              <a:t>-Respecter le plan prévisionnel partager </a:t>
            </a:r>
          </a:p>
          <a:p>
            <a:pPr marL="342900" indent="-342900">
              <a:buFontTx/>
              <a:buChar char="-"/>
            </a:pPr>
            <a:r>
              <a:rPr lang="fr-FR" sz="2000" dirty="0"/>
              <a:t>Respecter les clauses des contrats </a:t>
            </a:r>
          </a:p>
          <a:p>
            <a:pPr marL="342900" indent="-342900">
              <a:buFontTx/>
              <a:buChar char="-"/>
            </a:pPr>
            <a:r>
              <a:rPr lang="fr-FR" sz="2000" dirty="0"/>
              <a:t>Confirmer la fiche d’ évaluation et partager le plan d’action pour les points au dessous du Target.   </a:t>
            </a:r>
            <a:endParaRPr lang="fr-FR" dirty="0"/>
          </a:p>
          <a:p>
            <a:endParaRPr lang="fr-FR" dirty="0"/>
          </a:p>
        </p:txBody>
      </p:sp>
    </p:spTree>
    <p:extLst>
      <p:ext uri="{BB962C8B-B14F-4D97-AF65-F5344CB8AC3E}">
        <p14:creationId xmlns:p14="http://schemas.microsoft.com/office/powerpoint/2010/main" val="3266781809"/>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2537" t="26435" r="-2" b="14785"/>
          <a:stretch/>
        </p:blipFill>
        <p:spPr bwMode="auto">
          <a:xfrm>
            <a:off x="760412" y="533400"/>
            <a:ext cx="6553200" cy="4938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4" name="Espace réservé du numéro de diapositive 3"/>
          <p:cNvSpPr>
            <a:spLocks noGrp="1"/>
          </p:cNvSpPr>
          <p:nvPr>
            <p:ph type="sldNum" sz="quarter" idx="12"/>
          </p:nvPr>
        </p:nvSpPr>
        <p:spPr/>
        <p:txBody>
          <a:bodyPr/>
          <a:lstStyle/>
          <a:p>
            <a:fld id="{C9F2E319-0919-499D-AD1F-7963255D1003}" type="slidenum">
              <a:rPr lang="id-ID" smtClean="0"/>
              <a:t>45</a:t>
            </a:fld>
            <a:endParaRPr lang="id-ID"/>
          </a:p>
        </p:txBody>
      </p:sp>
    </p:spTree>
    <p:extLst>
      <p:ext uri="{BB962C8B-B14F-4D97-AF65-F5344CB8AC3E}">
        <p14:creationId xmlns:p14="http://schemas.microsoft.com/office/powerpoint/2010/main" val="20363087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Qualité </a:t>
            </a:r>
          </a:p>
        </p:txBody>
      </p:sp>
      <p:sp>
        <p:nvSpPr>
          <p:cNvPr id="3" name="Espace réservé du contenu 2"/>
          <p:cNvSpPr>
            <a:spLocks noGrp="1"/>
          </p:cNvSpPr>
          <p:nvPr>
            <p:ph idx="1"/>
          </p:nvPr>
        </p:nvSpPr>
        <p:spPr/>
        <p:txBody>
          <a:bodyPr>
            <a:normAutofit fontScale="47500" lnSpcReduction="20000"/>
          </a:bodyPr>
          <a:lstStyle/>
          <a:p>
            <a:r>
              <a:rPr lang="fr-FR" dirty="0"/>
              <a:t>Gérer le système nettoyer </a:t>
            </a:r>
          </a:p>
          <a:p>
            <a:r>
              <a:rPr lang="fr-FR" dirty="0"/>
              <a:t>Good </a:t>
            </a:r>
            <a:r>
              <a:rPr lang="fr-FR" dirty="0" err="1"/>
              <a:t>receipt</a:t>
            </a:r>
            <a:r>
              <a:rPr lang="fr-FR" dirty="0"/>
              <a:t>    </a:t>
            </a:r>
          </a:p>
          <a:p>
            <a:r>
              <a:rPr lang="fr-FR" dirty="0"/>
              <a:t>Incoterm partager ceux qui ont FOB EXW </a:t>
            </a:r>
          </a:p>
          <a:p>
            <a:r>
              <a:rPr lang="fr-FR" dirty="0"/>
              <a:t>La date honoré son engagement (chaque frs </a:t>
            </a:r>
            <a:r>
              <a:rPr lang="fr-FR" dirty="0" err="1"/>
              <a:t>cfr,fob,exw</a:t>
            </a:r>
            <a:r>
              <a:rPr lang="fr-FR" dirty="0"/>
              <a:t>: date de chargement soit la tolérance) .</a:t>
            </a:r>
          </a:p>
          <a:p>
            <a:r>
              <a:rPr lang="fr-FR" dirty="0"/>
              <a:t> PO </a:t>
            </a:r>
            <a:r>
              <a:rPr lang="fr-FR" dirty="0" err="1"/>
              <a:t>delivery</a:t>
            </a:r>
            <a:r>
              <a:rPr lang="fr-FR" dirty="0"/>
              <a:t> date ou </a:t>
            </a:r>
            <a:r>
              <a:rPr lang="fr-FR" dirty="0" err="1"/>
              <a:t>statical</a:t>
            </a:r>
            <a:r>
              <a:rPr lang="fr-FR" dirty="0"/>
              <a:t> </a:t>
            </a:r>
            <a:r>
              <a:rPr lang="fr-FR" dirty="0" err="1"/>
              <a:t>delivrey</a:t>
            </a:r>
            <a:r>
              <a:rPr lang="fr-FR" dirty="0"/>
              <a:t> date donc a </a:t>
            </a:r>
            <a:r>
              <a:rPr lang="fr-FR" dirty="0" err="1"/>
              <a:t>tokon</a:t>
            </a:r>
            <a:r>
              <a:rPr lang="fr-FR" dirty="0"/>
              <a:t> a chaque fois manuel.</a:t>
            </a:r>
          </a:p>
          <a:p>
            <a:r>
              <a:rPr lang="fr-FR" dirty="0"/>
              <a:t>La </a:t>
            </a:r>
            <a:r>
              <a:rPr lang="fr-FR" dirty="0" err="1"/>
              <a:t>tolerance</a:t>
            </a:r>
            <a:r>
              <a:rPr lang="fr-FR" dirty="0"/>
              <a:t> la </a:t>
            </a:r>
            <a:r>
              <a:rPr lang="fr-FR" dirty="0" err="1"/>
              <a:t>augumenter</a:t>
            </a:r>
            <a:r>
              <a:rPr lang="fr-FR" dirty="0"/>
              <a:t> </a:t>
            </a:r>
          </a:p>
          <a:p>
            <a:r>
              <a:rPr lang="fr-FR" dirty="0"/>
              <a:t>Moins d’</a:t>
            </a:r>
            <a:r>
              <a:rPr lang="fr-FR" dirty="0" err="1"/>
              <a:t>alligner</a:t>
            </a:r>
            <a:r>
              <a:rPr lang="fr-FR" dirty="0"/>
              <a:t> </a:t>
            </a:r>
            <a:r>
              <a:rPr lang="fr-FR" dirty="0" err="1"/>
              <a:t>vc</a:t>
            </a:r>
            <a:r>
              <a:rPr lang="fr-FR" dirty="0"/>
              <a:t> le frs   </a:t>
            </a:r>
          </a:p>
          <a:p>
            <a:r>
              <a:rPr lang="fr-FR" dirty="0"/>
              <a:t>Good </a:t>
            </a:r>
            <a:r>
              <a:rPr lang="fr-FR" dirty="0" err="1"/>
              <a:t>receipt</a:t>
            </a:r>
            <a:r>
              <a:rPr lang="fr-FR" dirty="0"/>
              <a:t> </a:t>
            </a:r>
            <a:r>
              <a:rPr lang="fr-FR" dirty="0" err="1"/>
              <a:t>vc</a:t>
            </a:r>
            <a:r>
              <a:rPr lang="fr-FR" dirty="0"/>
              <a:t> le </a:t>
            </a:r>
            <a:r>
              <a:rPr lang="fr-FR" dirty="0" err="1"/>
              <a:t>delivery</a:t>
            </a:r>
            <a:r>
              <a:rPr lang="fr-FR" dirty="0"/>
              <a:t> date , </a:t>
            </a:r>
          </a:p>
          <a:p>
            <a:r>
              <a:rPr lang="fr-FR" dirty="0"/>
              <a:t>Comment vous le gérer sur le système les autres marché qui ont niveau élevé  </a:t>
            </a:r>
          </a:p>
          <a:p>
            <a:r>
              <a:rPr lang="fr-FR" dirty="0"/>
              <a:t>Plan d’action une réunion pour préciser à nouveau la tolérance interne . </a:t>
            </a:r>
          </a:p>
          <a:p>
            <a:endParaRPr lang="fr-FR" dirty="0"/>
          </a:p>
          <a:p>
            <a:r>
              <a:rPr lang="fr-FR" dirty="0"/>
              <a:t>But : </a:t>
            </a:r>
          </a:p>
          <a:p>
            <a:r>
              <a:rPr lang="fr-FR" dirty="0" err="1"/>
              <a:t>Augumenter</a:t>
            </a:r>
            <a:r>
              <a:rPr lang="fr-FR" dirty="0"/>
              <a:t> son score </a:t>
            </a:r>
          </a:p>
          <a:p>
            <a:r>
              <a:rPr lang="fr-FR" dirty="0"/>
              <a:t>on ne pénalise pas le frs </a:t>
            </a:r>
          </a:p>
          <a:p>
            <a:r>
              <a:rPr lang="fr-FR" dirty="0"/>
              <a:t>% frs importer  </a:t>
            </a:r>
          </a:p>
        </p:txBody>
      </p:sp>
      <p:sp>
        <p:nvSpPr>
          <p:cNvPr id="4" name="Espace réservé du numéro de diapositive 3"/>
          <p:cNvSpPr>
            <a:spLocks noGrp="1"/>
          </p:cNvSpPr>
          <p:nvPr>
            <p:ph type="sldNum" sz="quarter" idx="12"/>
          </p:nvPr>
        </p:nvSpPr>
        <p:spPr/>
        <p:txBody>
          <a:bodyPr/>
          <a:lstStyle/>
          <a:p>
            <a:fld id="{C2F52289-4012-4053-9770-FE82CEB9514F}" type="slidenum">
              <a:rPr lang="en-US" smtClean="0"/>
              <a:pPr/>
              <a:t>46</a:t>
            </a:fld>
            <a:endParaRPr lang="en-US"/>
          </a:p>
        </p:txBody>
      </p:sp>
    </p:spTree>
    <p:extLst>
      <p:ext uri="{BB962C8B-B14F-4D97-AF65-F5344CB8AC3E}">
        <p14:creationId xmlns:p14="http://schemas.microsoft.com/office/powerpoint/2010/main" val="4442153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836612" y="762000"/>
            <a:ext cx="8686800" cy="3277820"/>
          </a:xfrm>
          <a:prstGeom prst="rect">
            <a:avLst/>
          </a:prstGeom>
          <a:noFill/>
        </p:spPr>
        <p:txBody>
          <a:bodyPr wrap="square" rtlCol="0">
            <a:spAutoFit/>
          </a:bodyPr>
          <a:lstStyle/>
          <a:p>
            <a:r>
              <a:rPr lang="fr-FR" dirty="0"/>
              <a:t>La tolérance du délai  est de de pour chaque type de frs. </a:t>
            </a:r>
          </a:p>
          <a:p>
            <a:r>
              <a:rPr lang="fr-FR" dirty="0"/>
              <a:t>Montrer pourquoi MRP </a:t>
            </a:r>
            <a:r>
              <a:rPr lang="fr-FR" dirty="0" err="1"/>
              <a:t>fles</a:t>
            </a:r>
            <a:r>
              <a:rPr lang="fr-FR" dirty="0"/>
              <a:t> causes    </a:t>
            </a:r>
          </a:p>
          <a:p>
            <a:r>
              <a:rPr lang="fr-FR" dirty="0"/>
              <a:t>Le niveau de service est de 73% est le résultat d’ici 6 mois</a:t>
            </a:r>
          </a:p>
          <a:p>
            <a:r>
              <a:rPr lang="fr-FR" dirty="0"/>
              <a:t>Calculer la tolérance    </a:t>
            </a:r>
          </a:p>
          <a:p>
            <a:r>
              <a:rPr lang="fr-FR" dirty="0"/>
              <a:t>MRP si le besoin n’est pas exacte ca impacte 30% (cout de stockage) or qu’il est devenue de 18% ou éliminer si le besoin bien exprimé.           </a:t>
            </a:r>
          </a:p>
          <a:p>
            <a:r>
              <a:rPr lang="fr-FR" dirty="0"/>
              <a:t> magasin +consommation ,&gt;&gt; solution </a:t>
            </a:r>
          </a:p>
          <a:p>
            <a:r>
              <a:rPr lang="fr-FR" dirty="0"/>
              <a:t> </a:t>
            </a:r>
          </a:p>
        </p:txBody>
      </p:sp>
    </p:spTree>
    <p:extLst>
      <p:ext uri="{BB962C8B-B14F-4D97-AF65-F5344CB8AC3E}">
        <p14:creationId xmlns:p14="http://schemas.microsoft.com/office/powerpoint/2010/main" val="3682780816"/>
      </p:ext>
    </p:extLst>
  </p:cSld>
  <p:clrMapOvr>
    <a:masterClrMapping/>
  </p:clrMapOvr>
  <p:transition spd="slow">
    <p:comb/>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522412" y="533400"/>
            <a:ext cx="9141619" cy="706437"/>
          </a:xfrm>
        </p:spPr>
        <p:txBody>
          <a:bodyPr>
            <a:normAutofit fontScale="90000"/>
          </a:bodyPr>
          <a:lstStyle/>
          <a:p>
            <a:r>
              <a:rPr lang="fr-FR" sz="6000" dirty="0"/>
              <a:t>7- résultats : à modifier </a:t>
            </a:r>
            <a:endParaRPr lang="fr-FR" dirty="0"/>
          </a:p>
        </p:txBody>
      </p:sp>
      <p:sp>
        <p:nvSpPr>
          <p:cNvPr id="3" name="Sous-titre 2"/>
          <p:cNvSpPr>
            <a:spLocks noGrp="1"/>
          </p:cNvSpPr>
          <p:nvPr>
            <p:ph type="subTitle" idx="1"/>
          </p:nvPr>
        </p:nvSpPr>
        <p:spPr>
          <a:xfrm>
            <a:off x="836612" y="990600"/>
            <a:ext cx="9995602" cy="5715000"/>
          </a:xfrm>
        </p:spPr>
        <p:txBody>
          <a:bodyPr>
            <a:normAutofit/>
          </a:bodyPr>
          <a:lstStyle/>
          <a:p>
            <a:pPr marL="342900" indent="-342900" algn="l">
              <a:lnSpc>
                <a:spcPct val="220000"/>
              </a:lnSpc>
              <a:buFontTx/>
              <a:buChar char="●"/>
            </a:pPr>
            <a:r>
              <a:rPr lang="fr-FR" sz="2400" dirty="0"/>
              <a:t>Les SEPF ne permet pas de visualiser l’évolution des frs, pénalise quelque frs surtout au niveau de la tolérance pour les frs import.  </a:t>
            </a:r>
          </a:p>
          <a:p>
            <a:pPr marL="342900" indent="-342900" algn="l">
              <a:lnSpc>
                <a:spcPct val="220000"/>
              </a:lnSpc>
              <a:buFontTx/>
              <a:buChar char="●"/>
            </a:pPr>
            <a:r>
              <a:rPr lang="fr-FR" sz="2400" dirty="0"/>
              <a:t>la fiche d’évaluation n’est pas partagé avec les fournisseurs (Le but de suivi est de faire des plans d’actions ) .      </a:t>
            </a:r>
          </a:p>
          <a:p>
            <a:pPr marL="342900" indent="-342900" algn="l">
              <a:lnSpc>
                <a:spcPct val="220000"/>
              </a:lnSpc>
              <a:buFontTx/>
              <a:buChar char="●"/>
            </a:pPr>
            <a:r>
              <a:rPr lang="fr-FR" sz="2400" dirty="0"/>
              <a:t>Ne pas atteindre le Target qui est du 90%. La </a:t>
            </a:r>
            <a:r>
              <a:rPr lang="fr-FR" sz="2400" dirty="0" err="1"/>
              <a:t>tolerance</a:t>
            </a:r>
            <a:r>
              <a:rPr lang="fr-FR" sz="2400" dirty="0"/>
              <a:t>   </a:t>
            </a:r>
          </a:p>
          <a:p>
            <a:endParaRPr lang="fr-FR" dirty="0"/>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48</a:t>
            </a:fld>
            <a:endParaRPr lang="id-ID"/>
          </a:p>
        </p:txBody>
      </p:sp>
    </p:spTree>
    <p:extLst>
      <p:ext uri="{BB962C8B-B14F-4D97-AF65-F5344CB8AC3E}">
        <p14:creationId xmlns:p14="http://schemas.microsoft.com/office/powerpoint/2010/main" val="37790186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293812" y="228600"/>
            <a:ext cx="9141619" cy="909637"/>
          </a:xfrm>
        </p:spPr>
        <p:txBody>
          <a:bodyPr>
            <a:normAutofit fontScale="90000"/>
          </a:bodyPr>
          <a:lstStyle/>
          <a:p>
            <a:r>
              <a:rPr lang="fr-FR" dirty="0"/>
              <a:t>Cout de rupture </a:t>
            </a:r>
          </a:p>
        </p:txBody>
      </p:sp>
      <p:sp>
        <p:nvSpPr>
          <p:cNvPr id="3" name="Sous-titre 2"/>
          <p:cNvSpPr>
            <a:spLocks noGrp="1"/>
          </p:cNvSpPr>
          <p:nvPr>
            <p:ph type="subTitle" idx="1"/>
          </p:nvPr>
        </p:nvSpPr>
        <p:spPr>
          <a:xfrm>
            <a:off x="1141412" y="1066800"/>
            <a:ext cx="9601200" cy="1259174"/>
          </a:xfrm>
        </p:spPr>
        <p:txBody>
          <a:bodyPr>
            <a:normAutofit lnSpcReduction="10000"/>
          </a:bodyPr>
          <a:lstStyle/>
          <a:p>
            <a:r>
              <a:rPr lang="fr-FR" dirty="0"/>
              <a:t>Réception Vous saisi le Café vert NCPS puis SAMIT</a:t>
            </a:r>
          </a:p>
          <a:p>
            <a:r>
              <a:rPr lang="fr-FR" dirty="0"/>
              <a:t>Créer les commandes à NCPS et </a:t>
            </a:r>
          </a:p>
          <a:p>
            <a:r>
              <a:rPr lang="fr-FR" dirty="0"/>
              <a:t>Les analyses f NQCC </a:t>
            </a:r>
          </a:p>
        </p:txBody>
      </p:sp>
      <p:sp>
        <p:nvSpPr>
          <p:cNvPr id="4" name="ZoneTexte 3"/>
          <p:cNvSpPr txBox="1"/>
          <p:nvPr/>
        </p:nvSpPr>
        <p:spPr>
          <a:xfrm>
            <a:off x="752578" y="2362200"/>
            <a:ext cx="4198834" cy="2215991"/>
          </a:xfrm>
          <a:prstGeom prst="rect">
            <a:avLst/>
          </a:prstGeom>
          <a:noFill/>
        </p:spPr>
        <p:txBody>
          <a:bodyPr wrap="square" rtlCol="0">
            <a:spAutoFit/>
          </a:bodyPr>
          <a:lstStyle/>
          <a:p>
            <a:r>
              <a:rPr lang="fr-FR" dirty="0"/>
              <a:t>Nb de fois rupture / an</a:t>
            </a:r>
          </a:p>
          <a:p>
            <a:r>
              <a:rPr lang="fr-FR" dirty="0"/>
              <a:t>Type de rupture </a:t>
            </a:r>
          </a:p>
          <a:p>
            <a:r>
              <a:rPr lang="fr-FR" dirty="0"/>
              <a:t>Causé par le délai : 71%</a:t>
            </a:r>
          </a:p>
          <a:p>
            <a:r>
              <a:rPr lang="fr-FR" dirty="0"/>
              <a:t>Causé par la quantité : 8% </a:t>
            </a:r>
          </a:p>
          <a:p>
            <a:r>
              <a:rPr lang="fr-FR" dirty="0"/>
              <a:t>Causé par La qualité  : </a:t>
            </a:r>
          </a:p>
          <a:p>
            <a:r>
              <a:rPr lang="fr-FR" dirty="0"/>
              <a:t>EDI résolu avec les gains </a:t>
            </a:r>
          </a:p>
        </p:txBody>
      </p:sp>
      <p:sp>
        <p:nvSpPr>
          <p:cNvPr id="5" name="ZoneTexte 4"/>
          <p:cNvSpPr txBox="1"/>
          <p:nvPr/>
        </p:nvSpPr>
        <p:spPr>
          <a:xfrm>
            <a:off x="4570412" y="2499145"/>
            <a:ext cx="3414581" cy="2723823"/>
          </a:xfrm>
          <a:prstGeom prst="rect">
            <a:avLst/>
          </a:prstGeom>
          <a:noFill/>
        </p:spPr>
        <p:txBody>
          <a:bodyPr wrap="square" rtlCol="0">
            <a:spAutoFit/>
          </a:bodyPr>
          <a:lstStyle/>
          <a:p>
            <a:r>
              <a:rPr lang="fr-FR" sz="1400" dirty="0"/>
              <a:t>Combien Vente de produit par jour ?</a:t>
            </a:r>
          </a:p>
          <a:p>
            <a:r>
              <a:rPr lang="fr-FR" sz="1400" dirty="0"/>
              <a:t>Type de produit </a:t>
            </a:r>
          </a:p>
          <a:p>
            <a:r>
              <a:rPr lang="fr-FR" sz="1400" dirty="0"/>
              <a:t>Combien on peut produire par jour ? Capacité de production : </a:t>
            </a:r>
          </a:p>
          <a:p>
            <a:r>
              <a:rPr lang="fr-FR" dirty="0"/>
              <a:t>La fréquence de frs non respect du délai ,  </a:t>
            </a:r>
          </a:p>
          <a:p>
            <a:r>
              <a:rPr lang="fr-FR" dirty="0"/>
              <a:t>Le cout d’un arrêt de production:</a:t>
            </a:r>
          </a:p>
          <a:p>
            <a:r>
              <a:rPr lang="fr-FR" dirty="0"/>
              <a:t>         </a:t>
            </a:r>
          </a:p>
        </p:txBody>
      </p:sp>
      <p:sp>
        <p:nvSpPr>
          <p:cNvPr id="6" name="ZoneTexte 5"/>
          <p:cNvSpPr txBox="1"/>
          <p:nvPr/>
        </p:nvSpPr>
        <p:spPr>
          <a:xfrm>
            <a:off x="8151812" y="2325974"/>
            <a:ext cx="3733800" cy="3277820"/>
          </a:xfrm>
          <a:prstGeom prst="rect">
            <a:avLst/>
          </a:prstGeom>
          <a:noFill/>
        </p:spPr>
        <p:txBody>
          <a:bodyPr wrap="square" rtlCol="0">
            <a:spAutoFit/>
          </a:bodyPr>
          <a:lstStyle/>
          <a:p>
            <a:r>
              <a:rPr lang="fr-FR" dirty="0"/>
              <a:t>On produit d café vert de 600kg/heure.   </a:t>
            </a:r>
          </a:p>
          <a:p>
            <a:r>
              <a:rPr lang="fr-FR" dirty="0"/>
              <a:t>1 kg coute ,,,</a:t>
            </a:r>
            <a:r>
              <a:rPr lang="fr-FR" dirty="0" err="1"/>
              <a:t>dh</a:t>
            </a:r>
            <a:r>
              <a:rPr lang="fr-FR" dirty="0"/>
              <a:t>, </a:t>
            </a:r>
          </a:p>
          <a:p>
            <a:r>
              <a:rPr lang="fr-FR" dirty="0"/>
              <a:t>Don un jour de retards équivalent à: ,,,</a:t>
            </a:r>
            <a:r>
              <a:rPr lang="fr-FR" dirty="0" err="1"/>
              <a:t>dh</a:t>
            </a:r>
            <a:r>
              <a:rPr lang="fr-FR" dirty="0"/>
              <a:t> </a:t>
            </a:r>
          </a:p>
          <a:p>
            <a:r>
              <a:rPr lang="fr-FR" dirty="0"/>
              <a:t>Chaque jour de retard et équivalent à ,,, </a:t>
            </a:r>
            <a:r>
              <a:rPr lang="fr-FR" dirty="0" err="1"/>
              <a:t>dh</a:t>
            </a:r>
            <a:r>
              <a:rPr lang="fr-FR" dirty="0"/>
              <a:t> ,</a:t>
            </a:r>
          </a:p>
          <a:p>
            <a:r>
              <a:rPr lang="fr-FR" dirty="0">
                <a:solidFill>
                  <a:srgbClr val="FF0000"/>
                </a:solidFill>
              </a:rPr>
              <a:t> Impact du CA  </a:t>
            </a:r>
          </a:p>
          <a:p>
            <a:endParaRPr lang="fr-FR" dirty="0">
              <a:solidFill>
                <a:srgbClr val="FF0000"/>
              </a:solidFill>
            </a:endParaRPr>
          </a:p>
        </p:txBody>
      </p:sp>
      <p:sp>
        <p:nvSpPr>
          <p:cNvPr id="7" name="ZoneTexte 6"/>
          <p:cNvSpPr txBox="1"/>
          <p:nvPr/>
        </p:nvSpPr>
        <p:spPr>
          <a:xfrm>
            <a:off x="784717" y="5252338"/>
            <a:ext cx="5486400" cy="800219"/>
          </a:xfrm>
          <a:prstGeom prst="rect">
            <a:avLst/>
          </a:prstGeom>
          <a:noFill/>
        </p:spPr>
        <p:txBody>
          <a:bodyPr wrap="square" rtlCol="0">
            <a:spAutoFit/>
          </a:bodyPr>
          <a:lstStyle/>
          <a:p>
            <a:r>
              <a:rPr lang="fr-FR" dirty="0"/>
              <a:t>La qualité : </a:t>
            </a:r>
          </a:p>
          <a:p>
            <a:r>
              <a:rPr lang="fr-FR" dirty="0"/>
              <a:t>Agir sur : Le café vert pesage</a:t>
            </a:r>
          </a:p>
        </p:txBody>
      </p:sp>
      <p:sp>
        <p:nvSpPr>
          <p:cNvPr id="8" name="ZoneTexte 7"/>
          <p:cNvSpPr txBox="1"/>
          <p:nvPr/>
        </p:nvSpPr>
        <p:spPr>
          <a:xfrm>
            <a:off x="5942012" y="5029200"/>
            <a:ext cx="838200" cy="446276"/>
          </a:xfrm>
          <a:prstGeom prst="rect">
            <a:avLst/>
          </a:prstGeom>
          <a:noFill/>
        </p:spPr>
        <p:txBody>
          <a:bodyPr wrap="square" rtlCol="0">
            <a:spAutoFit/>
          </a:bodyPr>
          <a:lstStyle/>
          <a:p>
            <a:endParaRPr lang="fr-FR" dirty="0"/>
          </a:p>
        </p:txBody>
      </p:sp>
      <p:sp>
        <p:nvSpPr>
          <p:cNvPr id="9" name="Espace réservé du numéro de diapositive 8"/>
          <p:cNvSpPr>
            <a:spLocks noGrp="1"/>
          </p:cNvSpPr>
          <p:nvPr>
            <p:ph type="sldNum" sz="quarter" idx="12"/>
          </p:nvPr>
        </p:nvSpPr>
        <p:spPr/>
        <p:txBody>
          <a:bodyPr/>
          <a:lstStyle/>
          <a:p>
            <a:fld id="{C9F2E319-0919-499D-AD1F-7963255D1003}" type="slidenum">
              <a:rPr lang="id-ID" smtClean="0"/>
              <a:t>49</a:t>
            </a:fld>
            <a:endParaRPr lang="id-ID"/>
          </a:p>
        </p:txBody>
      </p:sp>
    </p:spTree>
    <p:extLst>
      <p:ext uri="{BB962C8B-B14F-4D97-AF65-F5344CB8AC3E}">
        <p14:creationId xmlns:p14="http://schemas.microsoft.com/office/powerpoint/2010/main" val="623677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8" name="Espace réservé pour une image  2"/>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17655" r="14138"/>
          <a:stretch/>
        </p:blipFill>
        <p:spPr>
          <a:xfrm>
            <a:off x="9839260" y="1456991"/>
            <a:ext cx="2328927" cy="19109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6" name="Image 195"/>
          <p:cNvPicPr>
            <a:picLocks noChangeAspect="1"/>
          </p:cNvPicPr>
          <p:nvPr/>
        </p:nvPicPr>
        <p:blipFill rotWithShape="1">
          <a:blip r:embed="rId4">
            <a:extLst>
              <a:ext uri="{28A0092B-C50C-407E-A947-70E740481C1C}">
                <a14:useLocalDpi xmlns:a14="http://schemas.microsoft.com/office/drawing/2010/main" val="0"/>
              </a:ext>
            </a:extLst>
          </a:blip>
          <a:srcRect t="53616" r="88175" b="16967"/>
          <a:stretch/>
        </p:blipFill>
        <p:spPr>
          <a:xfrm>
            <a:off x="2090542" y="3528271"/>
            <a:ext cx="726418" cy="781850"/>
          </a:xfrm>
          <a:prstGeom prst="rect">
            <a:avLst/>
          </a:prstGeom>
          <a:ln>
            <a:noFill/>
          </a:ln>
          <a:effectLst>
            <a:softEdge rad="112500"/>
          </a:effectLst>
        </p:spPr>
      </p:pic>
      <p:pic>
        <p:nvPicPr>
          <p:cNvPr id="197" name="Image 196"/>
          <p:cNvPicPr>
            <a:picLocks noChangeAspect="1"/>
          </p:cNvPicPr>
          <p:nvPr/>
        </p:nvPicPr>
        <p:blipFill rotWithShape="1">
          <a:blip r:embed="rId4">
            <a:extLst>
              <a:ext uri="{28A0092B-C50C-407E-A947-70E740481C1C}">
                <a14:useLocalDpi xmlns:a14="http://schemas.microsoft.com/office/drawing/2010/main" val="0"/>
              </a:ext>
            </a:extLst>
          </a:blip>
          <a:srcRect l="16570" t="53616" r="71568" b="15472"/>
          <a:stretch/>
        </p:blipFill>
        <p:spPr>
          <a:xfrm>
            <a:off x="2454408" y="4917423"/>
            <a:ext cx="728680" cy="821606"/>
          </a:xfrm>
          <a:prstGeom prst="rect">
            <a:avLst/>
          </a:prstGeom>
          <a:ln>
            <a:noFill/>
          </a:ln>
          <a:effectLst>
            <a:softEdge rad="112500"/>
          </a:effectLst>
        </p:spPr>
      </p:pic>
      <p:pic>
        <p:nvPicPr>
          <p:cNvPr id="199" name="Image 198"/>
          <p:cNvPicPr>
            <a:picLocks noChangeAspect="1"/>
          </p:cNvPicPr>
          <p:nvPr/>
        </p:nvPicPr>
        <p:blipFill rotWithShape="1">
          <a:blip r:embed="rId4">
            <a:extLst>
              <a:ext uri="{28A0092B-C50C-407E-A947-70E740481C1C}">
                <a14:useLocalDpi xmlns:a14="http://schemas.microsoft.com/office/drawing/2010/main" val="0"/>
              </a:ext>
            </a:extLst>
          </a:blip>
          <a:srcRect l="16570" t="53616" r="71568" b="15472"/>
          <a:stretch/>
        </p:blipFill>
        <p:spPr>
          <a:xfrm>
            <a:off x="5907981" y="4837817"/>
            <a:ext cx="728680" cy="821606"/>
          </a:xfrm>
          <a:prstGeom prst="rect">
            <a:avLst/>
          </a:prstGeom>
          <a:ln>
            <a:noFill/>
          </a:ln>
          <a:effectLst>
            <a:softEdge rad="112500"/>
          </a:effectLst>
        </p:spPr>
      </p:pic>
      <p:pic>
        <p:nvPicPr>
          <p:cNvPr id="200" name="Image 199"/>
          <p:cNvPicPr>
            <a:picLocks noChangeAspect="1"/>
          </p:cNvPicPr>
          <p:nvPr/>
        </p:nvPicPr>
        <p:blipFill rotWithShape="1">
          <a:blip r:embed="rId4">
            <a:extLst>
              <a:ext uri="{28A0092B-C50C-407E-A947-70E740481C1C}">
                <a14:useLocalDpi xmlns:a14="http://schemas.microsoft.com/office/drawing/2010/main" val="0"/>
              </a:ext>
            </a:extLst>
          </a:blip>
          <a:srcRect l="58196" t="53616" r="28490" b="19120"/>
          <a:stretch/>
        </p:blipFill>
        <p:spPr>
          <a:xfrm>
            <a:off x="7321821" y="4768456"/>
            <a:ext cx="817885" cy="724642"/>
          </a:xfrm>
          <a:prstGeom prst="rect">
            <a:avLst/>
          </a:prstGeom>
          <a:ln>
            <a:noFill/>
          </a:ln>
          <a:effectLst>
            <a:softEdge rad="112500"/>
          </a:effectLst>
        </p:spPr>
      </p:pic>
      <p:pic>
        <p:nvPicPr>
          <p:cNvPr id="201" name="Image 200"/>
          <p:cNvPicPr>
            <a:picLocks noChangeAspect="1"/>
          </p:cNvPicPr>
          <p:nvPr/>
        </p:nvPicPr>
        <p:blipFill rotWithShape="1">
          <a:blip r:embed="rId4">
            <a:extLst>
              <a:ext uri="{28A0092B-C50C-407E-A947-70E740481C1C}">
                <a14:useLocalDpi xmlns:a14="http://schemas.microsoft.com/office/drawing/2010/main" val="0"/>
              </a:ext>
            </a:extLst>
          </a:blip>
          <a:srcRect l="86018" t="53616" b="17295"/>
          <a:stretch/>
        </p:blipFill>
        <p:spPr>
          <a:xfrm>
            <a:off x="7120195" y="3501331"/>
            <a:ext cx="858904" cy="773124"/>
          </a:xfrm>
          <a:prstGeom prst="rect">
            <a:avLst/>
          </a:prstGeom>
          <a:ln>
            <a:noFill/>
          </a:ln>
          <a:effectLst>
            <a:softEdge rad="112500"/>
          </a:effectLst>
        </p:spPr>
      </p:pic>
      <p:pic>
        <p:nvPicPr>
          <p:cNvPr id="202" name="Image 201"/>
          <p:cNvPicPr>
            <a:picLocks noChangeAspect="1"/>
          </p:cNvPicPr>
          <p:nvPr/>
        </p:nvPicPr>
        <p:blipFill rotWithShape="1">
          <a:blip r:embed="rId4">
            <a:extLst>
              <a:ext uri="{28A0092B-C50C-407E-A947-70E740481C1C}">
                <a14:useLocalDpi xmlns:a14="http://schemas.microsoft.com/office/drawing/2010/main" val="0"/>
              </a:ext>
            </a:extLst>
          </a:blip>
          <a:srcRect r="84255" b="60639"/>
          <a:stretch/>
        </p:blipFill>
        <p:spPr>
          <a:xfrm>
            <a:off x="3125936" y="1967765"/>
            <a:ext cx="967220" cy="1046151"/>
          </a:xfrm>
          <a:prstGeom prst="rect">
            <a:avLst/>
          </a:prstGeom>
          <a:ln>
            <a:noFill/>
          </a:ln>
          <a:effectLst>
            <a:softEdge rad="112500"/>
          </a:effectLst>
        </p:spPr>
      </p:pic>
      <p:pic>
        <p:nvPicPr>
          <p:cNvPr id="203" name="Image 202"/>
          <p:cNvPicPr>
            <a:picLocks noChangeAspect="1"/>
          </p:cNvPicPr>
          <p:nvPr/>
        </p:nvPicPr>
        <p:blipFill rotWithShape="1">
          <a:blip r:embed="rId4">
            <a:extLst>
              <a:ext uri="{28A0092B-C50C-407E-A947-70E740481C1C}">
                <a14:useLocalDpi xmlns:a14="http://schemas.microsoft.com/office/drawing/2010/main" val="0"/>
              </a:ext>
            </a:extLst>
          </a:blip>
          <a:srcRect l="84077" t="7743" b="57425"/>
          <a:stretch/>
        </p:blipFill>
        <p:spPr>
          <a:xfrm>
            <a:off x="5673741" y="2088139"/>
            <a:ext cx="978143" cy="925777"/>
          </a:xfrm>
          <a:prstGeom prst="rect">
            <a:avLst/>
          </a:prstGeom>
          <a:ln>
            <a:noFill/>
          </a:ln>
          <a:effectLst>
            <a:softEdge rad="112500"/>
          </a:effectLst>
        </p:spPr>
      </p:pic>
      <p:cxnSp>
        <p:nvCxnSpPr>
          <p:cNvPr id="204" name="Connecteur droit avec flèche 203"/>
          <p:cNvCxnSpPr/>
          <p:nvPr/>
        </p:nvCxnSpPr>
        <p:spPr>
          <a:xfrm flipH="1">
            <a:off x="2634790" y="2700025"/>
            <a:ext cx="364340" cy="415025"/>
          </a:xfrm>
          <a:prstGeom prst="straightConnector1">
            <a:avLst/>
          </a:prstGeom>
          <a:ln w="28575">
            <a:tailEnd type="arrow"/>
          </a:ln>
          <a:effectLst>
            <a:outerShdw blurRad="50800" dist="38100" dir="2700000" algn="tl" rotWithShape="0">
              <a:prstClr val="black">
                <a:alpha val="40000"/>
              </a:prstClr>
            </a:outerShdw>
          </a:effectLst>
        </p:spPr>
        <p:style>
          <a:lnRef idx="3">
            <a:schemeClr val="dk1"/>
          </a:lnRef>
          <a:fillRef idx="0">
            <a:schemeClr val="dk1"/>
          </a:fillRef>
          <a:effectRef idx="2">
            <a:schemeClr val="dk1"/>
          </a:effectRef>
          <a:fontRef idx="minor">
            <a:schemeClr val="tx1"/>
          </a:fontRef>
        </p:style>
      </p:cxnSp>
      <p:cxnSp>
        <p:nvCxnSpPr>
          <p:cNvPr id="205" name="Connecteur droit avec flèche 204"/>
          <p:cNvCxnSpPr/>
          <p:nvPr/>
        </p:nvCxnSpPr>
        <p:spPr>
          <a:xfrm>
            <a:off x="2669468" y="4317385"/>
            <a:ext cx="0" cy="388851"/>
          </a:xfrm>
          <a:prstGeom prst="straightConnector1">
            <a:avLst/>
          </a:prstGeom>
          <a:ln w="28575">
            <a:tailEnd type="arrow"/>
          </a:ln>
          <a:effectLst>
            <a:outerShdw blurRad="50800" dist="38100" dir="2700000" algn="tl" rotWithShape="0">
              <a:prstClr val="black">
                <a:alpha val="40000"/>
              </a:prstClr>
            </a:outerShdw>
          </a:effectLst>
        </p:spPr>
        <p:style>
          <a:lnRef idx="3">
            <a:schemeClr val="dk1"/>
          </a:lnRef>
          <a:fillRef idx="0">
            <a:schemeClr val="dk1"/>
          </a:fillRef>
          <a:effectRef idx="2">
            <a:schemeClr val="dk1"/>
          </a:effectRef>
          <a:fontRef idx="minor">
            <a:schemeClr val="tx1"/>
          </a:fontRef>
        </p:style>
      </p:cxnSp>
      <p:cxnSp>
        <p:nvCxnSpPr>
          <p:cNvPr id="206" name="Connecteur droit avec flèche 205"/>
          <p:cNvCxnSpPr/>
          <p:nvPr/>
        </p:nvCxnSpPr>
        <p:spPr>
          <a:xfrm>
            <a:off x="4799946" y="5248620"/>
            <a:ext cx="457059" cy="0"/>
          </a:xfrm>
          <a:prstGeom prst="straightConnector1">
            <a:avLst/>
          </a:prstGeom>
          <a:ln w="28575">
            <a:solidFill>
              <a:schemeClr val="tx1"/>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7" name="Connecteur droit avec flèche 206"/>
          <p:cNvCxnSpPr/>
          <p:nvPr/>
        </p:nvCxnSpPr>
        <p:spPr>
          <a:xfrm>
            <a:off x="6754551" y="5110567"/>
            <a:ext cx="457059" cy="0"/>
          </a:xfrm>
          <a:prstGeom prst="straightConnector1">
            <a:avLst/>
          </a:prstGeom>
          <a:ln w="28575">
            <a:solidFill>
              <a:schemeClr val="tx1"/>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8" name="Connecteur droit avec flèche 207"/>
          <p:cNvCxnSpPr/>
          <p:nvPr/>
        </p:nvCxnSpPr>
        <p:spPr>
          <a:xfrm flipV="1">
            <a:off x="7607337" y="4288003"/>
            <a:ext cx="0" cy="378879"/>
          </a:xfrm>
          <a:prstGeom prst="straightConnector1">
            <a:avLst/>
          </a:prstGeom>
          <a:ln w="28575">
            <a:solidFill>
              <a:schemeClr val="tx1"/>
            </a:solidFill>
            <a:tailEnd type="arrow"/>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9" name="Connecteur droit avec flèche 208"/>
          <p:cNvCxnSpPr/>
          <p:nvPr/>
        </p:nvCxnSpPr>
        <p:spPr>
          <a:xfrm flipH="1" flipV="1">
            <a:off x="6714147" y="2551027"/>
            <a:ext cx="607674" cy="462889"/>
          </a:xfrm>
          <a:prstGeom prst="straightConnector1">
            <a:avLst/>
          </a:prstGeom>
          <a:ln w="28575">
            <a:solidFill>
              <a:schemeClr val="tx1"/>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0" name="ZoneTexte 209"/>
          <p:cNvSpPr txBox="1"/>
          <p:nvPr/>
        </p:nvSpPr>
        <p:spPr>
          <a:xfrm>
            <a:off x="6942677" y="2308147"/>
            <a:ext cx="1798067" cy="446276"/>
          </a:xfrm>
          <a:prstGeom prst="rect">
            <a:avLst/>
          </a:prstGeom>
          <a:noFill/>
        </p:spPr>
        <p:txBody>
          <a:bodyPr wrap="square" rtlCol="0">
            <a:spAutoFit/>
          </a:bodyPr>
          <a:lstStyle/>
          <a:p>
            <a:r>
              <a:rPr lang="fr-FR" b="1" dirty="0"/>
              <a:t>Expédition </a:t>
            </a:r>
          </a:p>
        </p:txBody>
      </p:sp>
      <p:sp>
        <p:nvSpPr>
          <p:cNvPr id="211" name="ZoneTexte 210"/>
          <p:cNvSpPr txBox="1"/>
          <p:nvPr/>
        </p:nvSpPr>
        <p:spPr>
          <a:xfrm>
            <a:off x="2818748" y="3696058"/>
            <a:ext cx="1700371" cy="446276"/>
          </a:xfrm>
          <a:prstGeom prst="rect">
            <a:avLst/>
          </a:prstGeom>
          <a:noFill/>
        </p:spPr>
        <p:txBody>
          <a:bodyPr wrap="square" rtlCol="0">
            <a:spAutoFit/>
          </a:bodyPr>
          <a:lstStyle/>
          <a:p>
            <a:r>
              <a:rPr lang="fr-FR" b="1" dirty="0"/>
              <a:t>Réception </a:t>
            </a:r>
          </a:p>
        </p:txBody>
      </p:sp>
      <p:sp>
        <p:nvSpPr>
          <p:cNvPr id="212" name="ZoneTexte 211"/>
          <p:cNvSpPr txBox="1"/>
          <p:nvPr/>
        </p:nvSpPr>
        <p:spPr>
          <a:xfrm>
            <a:off x="5030135" y="6000929"/>
            <a:ext cx="4035198" cy="584775"/>
          </a:xfrm>
          <a:prstGeom prst="rect">
            <a:avLst/>
          </a:prstGeom>
          <a:noFill/>
        </p:spPr>
        <p:txBody>
          <a:bodyPr wrap="square" rtlCol="0">
            <a:spAutoFit/>
          </a:bodyPr>
          <a:lstStyle/>
          <a:p>
            <a:r>
              <a:rPr lang="fr-FR" sz="3200" b="1" dirty="0"/>
              <a:t>Production</a:t>
            </a:r>
            <a:r>
              <a:rPr lang="fr-FR" sz="3200" dirty="0"/>
              <a:t> </a:t>
            </a:r>
          </a:p>
        </p:txBody>
      </p:sp>
      <p:sp>
        <p:nvSpPr>
          <p:cNvPr id="213" name="ZoneTexte 212"/>
          <p:cNvSpPr txBox="1"/>
          <p:nvPr/>
        </p:nvSpPr>
        <p:spPr>
          <a:xfrm>
            <a:off x="7321820" y="5493098"/>
            <a:ext cx="2359387" cy="446276"/>
          </a:xfrm>
          <a:prstGeom prst="rect">
            <a:avLst/>
          </a:prstGeom>
          <a:noFill/>
        </p:spPr>
        <p:txBody>
          <a:bodyPr wrap="square" rtlCol="0">
            <a:spAutoFit/>
          </a:bodyPr>
          <a:lstStyle/>
          <a:p>
            <a:r>
              <a:rPr lang="fr-FR" b="1" dirty="0"/>
              <a:t>Contrôle final </a:t>
            </a:r>
          </a:p>
        </p:txBody>
      </p:sp>
      <p:sp>
        <p:nvSpPr>
          <p:cNvPr id="214" name="ZoneTexte 213"/>
          <p:cNvSpPr txBox="1"/>
          <p:nvPr/>
        </p:nvSpPr>
        <p:spPr>
          <a:xfrm>
            <a:off x="1828618" y="1663044"/>
            <a:ext cx="2264538" cy="607859"/>
          </a:xfrm>
          <a:prstGeom prst="rect">
            <a:avLst/>
          </a:prstGeom>
          <a:noFill/>
        </p:spPr>
        <p:txBody>
          <a:bodyPr wrap="square" rtlCol="0">
            <a:spAutoFit/>
          </a:bodyPr>
          <a:lstStyle/>
          <a:p>
            <a:r>
              <a:rPr lang="fr-FR" sz="2200" b="1" dirty="0"/>
              <a:t>Fournisseur </a:t>
            </a:r>
          </a:p>
          <a:p>
            <a:r>
              <a:rPr lang="fr-FR" sz="1050" b="1" dirty="0"/>
              <a:t>(matière première et emballage)  </a:t>
            </a:r>
          </a:p>
        </p:txBody>
      </p:sp>
      <p:sp>
        <p:nvSpPr>
          <p:cNvPr id="215" name="ZoneTexte 214"/>
          <p:cNvSpPr txBox="1"/>
          <p:nvPr/>
        </p:nvSpPr>
        <p:spPr>
          <a:xfrm>
            <a:off x="7785253" y="3614196"/>
            <a:ext cx="1910982" cy="523220"/>
          </a:xfrm>
          <a:prstGeom prst="rect">
            <a:avLst/>
          </a:prstGeom>
          <a:noFill/>
        </p:spPr>
        <p:txBody>
          <a:bodyPr wrap="square" rtlCol="0">
            <a:spAutoFit/>
          </a:bodyPr>
          <a:lstStyle/>
          <a:p>
            <a:r>
              <a:rPr lang="fr-FR" sz="1600" b="1" dirty="0"/>
              <a:t>Conditionnement </a:t>
            </a:r>
            <a:r>
              <a:rPr lang="fr-FR" sz="1200" b="1" dirty="0"/>
              <a:t>(</a:t>
            </a:r>
            <a:r>
              <a:rPr lang="fr-FR" sz="1100" b="1" dirty="0"/>
              <a:t>emballage)</a:t>
            </a:r>
          </a:p>
        </p:txBody>
      </p:sp>
      <p:sp>
        <p:nvSpPr>
          <p:cNvPr id="218" name="ZoneTexte 217"/>
          <p:cNvSpPr txBox="1"/>
          <p:nvPr/>
        </p:nvSpPr>
        <p:spPr>
          <a:xfrm>
            <a:off x="2197209" y="5808915"/>
            <a:ext cx="3059796" cy="800219"/>
          </a:xfrm>
          <a:prstGeom prst="rect">
            <a:avLst/>
          </a:prstGeom>
          <a:noFill/>
        </p:spPr>
        <p:txBody>
          <a:bodyPr wrap="square" rtlCol="0">
            <a:spAutoFit/>
          </a:bodyPr>
          <a:lstStyle/>
          <a:p>
            <a:r>
              <a:rPr lang="fr-FR" b="1" dirty="0"/>
              <a:t>Contrôle:  Assurance qualité </a:t>
            </a:r>
          </a:p>
        </p:txBody>
      </p:sp>
      <p:sp>
        <p:nvSpPr>
          <p:cNvPr id="2" name="ZoneTexte 1"/>
          <p:cNvSpPr txBox="1"/>
          <p:nvPr/>
        </p:nvSpPr>
        <p:spPr>
          <a:xfrm>
            <a:off x="668524" y="1281089"/>
            <a:ext cx="4968855" cy="446276"/>
          </a:xfrm>
          <a:prstGeom prst="rect">
            <a:avLst/>
          </a:prstGeom>
          <a:noFill/>
        </p:spPr>
        <p:txBody>
          <a:bodyPr wrap="square" rtlCol="0">
            <a:spAutoFit/>
          </a:bodyPr>
          <a:lstStyle/>
          <a:p>
            <a:r>
              <a:rPr lang="fr-FR" b="1" dirty="0"/>
              <a:t>Processus de production</a:t>
            </a:r>
          </a:p>
        </p:txBody>
      </p:sp>
      <p:graphicFrame>
        <p:nvGraphicFramePr>
          <p:cNvPr id="40" name="Diagramme 54"/>
          <p:cNvGraphicFramePr/>
          <p:nvPr>
            <p:extLst>
              <p:ext uri="{D42A27DB-BD31-4B8C-83A1-F6EECF244321}">
                <p14:modId xmlns:p14="http://schemas.microsoft.com/office/powerpoint/2010/main" val="247889548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1" name="Arrondir un rectangle avec un coin diagonal 40"/>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43" name="Rectangle 42"/>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44" name="Rectangle 43"/>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45" name="Rectangle 44"/>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47" name="Rectangle 46"/>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 </a:t>
            </a:r>
          </a:p>
        </p:txBody>
      </p:sp>
      <p:sp>
        <p:nvSpPr>
          <p:cNvPr id="48" name="Rectangle 47"/>
          <p:cNvSpPr/>
          <p:nvPr/>
        </p:nvSpPr>
        <p:spPr>
          <a:xfrm>
            <a:off x="54401" y="93260"/>
            <a:ext cx="2345736" cy="464024"/>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98"/>
                                        </p:tgtEl>
                                        <p:attrNameLst>
                                          <p:attrName>style.visibility</p:attrName>
                                        </p:attrNameLst>
                                      </p:cBhvr>
                                      <p:to>
                                        <p:strVal val="visible"/>
                                      </p:to>
                                    </p:set>
                                    <p:anim calcmode="lin" valueType="num">
                                      <p:cBhvr>
                                        <p:cTn id="7" dur="500" fill="hold"/>
                                        <p:tgtEl>
                                          <p:spTgt spid="198"/>
                                        </p:tgtEl>
                                        <p:attrNameLst>
                                          <p:attrName>ppt_w</p:attrName>
                                        </p:attrNameLst>
                                      </p:cBhvr>
                                      <p:tavLst>
                                        <p:tav tm="0">
                                          <p:val>
                                            <p:fltVal val="0"/>
                                          </p:val>
                                        </p:tav>
                                        <p:tav tm="100000">
                                          <p:val>
                                            <p:strVal val="#ppt_w"/>
                                          </p:val>
                                        </p:tav>
                                      </p:tavLst>
                                    </p:anim>
                                    <p:anim calcmode="lin" valueType="num">
                                      <p:cBhvr>
                                        <p:cTn id="8" dur="500" fill="hold"/>
                                        <p:tgtEl>
                                          <p:spTgt spid="198"/>
                                        </p:tgtEl>
                                        <p:attrNameLst>
                                          <p:attrName>ppt_h</p:attrName>
                                        </p:attrNameLst>
                                      </p:cBhvr>
                                      <p:tavLst>
                                        <p:tav tm="0">
                                          <p:val>
                                            <p:fltVal val="0"/>
                                          </p:val>
                                        </p:tav>
                                        <p:tav tm="100000">
                                          <p:val>
                                            <p:strVal val="#ppt_h"/>
                                          </p:val>
                                        </p:tav>
                                      </p:tavLst>
                                    </p:anim>
                                    <p:animEffect transition="in" filter="fade">
                                      <p:cBhvr>
                                        <p:cTn id="9" dur="500"/>
                                        <p:tgtEl>
                                          <p:spTgt spid="198"/>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02"/>
                                        </p:tgtEl>
                                        <p:attrNameLst>
                                          <p:attrName>style.visibility</p:attrName>
                                        </p:attrNameLst>
                                      </p:cBhvr>
                                      <p:to>
                                        <p:strVal val="visible"/>
                                      </p:to>
                                    </p:set>
                                    <p:animEffect transition="in" filter="fade">
                                      <p:cBhvr>
                                        <p:cTn id="14" dur="1000"/>
                                        <p:tgtEl>
                                          <p:spTgt spid="202"/>
                                        </p:tgtEl>
                                      </p:cBhvr>
                                    </p:animEffect>
                                    <p:anim calcmode="lin" valueType="num">
                                      <p:cBhvr>
                                        <p:cTn id="15" dur="1000" fill="hold"/>
                                        <p:tgtEl>
                                          <p:spTgt spid="202"/>
                                        </p:tgtEl>
                                        <p:attrNameLst>
                                          <p:attrName>ppt_x</p:attrName>
                                        </p:attrNameLst>
                                      </p:cBhvr>
                                      <p:tavLst>
                                        <p:tav tm="0">
                                          <p:val>
                                            <p:strVal val="#ppt_x"/>
                                          </p:val>
                                        </p:tav>
                                        <p:tav tm="100000">
                                          <p:val>
                                            <p:strVal val="#ppt_x"/>
                                          </p:val>
                                        </p:tav>
                                      </p:tavLst>
                                    </p:anim>
                                    <p:anim calcmode="lin" valueType="num">
                                      <p:cBhvr>
                                        <p:cTn id="16" dur="1000" fill="hold"/>
                                        <p:tgtEl>
                                          <p:spTgt spid="202"/>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204"/>
                                        </p:tgtEl>
                                        <p:attrNameLst>
                                          <p:attrName>style.visibility</p:attrName>
                                        </p:attrNameLst>
                                      </p:cBhvr>
                                      <p:to>
                                        <p:strVal val="visible"/>
                                      </p:to>
                                    </p:set>
                                    <p:animEffect transition="in" filter="fade">
                                      <p:cBhvr>
                                        <p:cTn id="19" dur="1000"/>
                                        <p:tgtEl>
                                          <p:spTgt spid="204"/>
                                        </p:tgtEl>
                                      </p:cBhvr>
                                    </p:animEffect>
                                    <p:anim calcmode="lin" valueType="num">
                                      <p:cBhvr>
                                        <p:cTn id="20" dur="1000" fill="hold"/>
                                        <p:tgtEl>
                                          <p:spTgt spid="204"/>
                                        </p:tgtEl>
                                        <p:attrNameLst>
                                          <p:attrName>ppt_x</p:attrName>
                                        </p:attrNameLst>
                                      </p:cBhvr>
                                      <p:tavLst>
                                        <p:tav tm="0">
                                          <p:val>
                                            <p:strVal val="#ppt_x"/>
                                          </p:val>
                                        </p:tav>
                                        <p:tav tm="100000">
                                          <p:val>
                                            <p:strVal val="#ppt_x"/>
                                          </p:val>
                                        </p:tav>
                                      </p:tavLst>
                                    </p:anim>
                                    <p:anim calcmode="lin" valueType="num">
                                      <p:cBhvr>
                                        <p:cTn id="21" dur="1000" fill="hold"/>
                                        <p:tgtEl>
                                          <p:spTgt spid="204"/>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1000"/>
                                        <p:tgtEl>
                                          <p:spTgt spid="196"/>
                                        </p:tgtEl>
                                      </p:cBhvr>
                                    </p:animEffect>
                                    <p:anim calcmode="lin" valueType="num">
                                      <p:cBhvr>
                                        <p:cTn id="25" dur="1000" fill="hold"/>
                                        <p:tgtEl>
                                          <p:spTgt spid="196"/>
                                        </p:tgtEl>
                                        <p:attrNameLst>
                                          <p:attrName>ppt_x</p:attrName>
                                        </p:attrNameLst>
                                      </p:cBhvr>
                                      <p:tavLst>
                                        <p:tav tm="0">
                                          <p:val>
                                            <p:strVal val="#ppt_x"/>
                                          </p:val>
                                        </p:tav>
                                        <p:tav tm="100000">
                                          <p:val>
                                            <p:strVal val="#ppt_x"/>
                                          </p:val>
                                        </p:tav>
                                      </p:tavLst>
                                    </p:anim>
                                    <p:anim calcmode="lin" valueType="num">
                                      <p:cBhvr>
                                        <p:cTn id="26" dur="1000" fill="hold"/>
                                        <p:tgtEl>
                                          <p:spTgt spid="196"/>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05"/>
                                        </p:tgtEl>
                                        <p:attrNameLst>
                                          <p:attrName>style.visibility</p:attrName>
                                        </p:attrNameLst>
                                      </p:cBhvr>
                                      <p:to>
                                        <p:strVal val="visible"/>
                                      </p:to>
                                    </p:set>
                                    <p:animEffect transition="in" filter="fade">
                                      <p:cBhvr>
                                        <p:cTn id="29" dur="1000"/>
                                        <p:tgtEl>
                                          <p:spTgt spid="205"/>
                                        </p:tgtEl>
                                      </p:cBhvr>
                                    </p:animEffect>
                                    <p:anim calcmode="lin" valueType="num">
                                      <p:cBhvr>
                                        <p:cTn id="30" dur="1000" fill="hold"/>
                                        <p:tgtEl>
                                          <p:spTgt spid="205"/>
                                        </p:tgtEl>
                                        <p:attrNameLst>
                                          <p:attrName>ppt_x</p:attrName>
                                        </p:attrNameLst>
                                      </p:cBhvr>
                                      <p:tavLst>
                                        <p:tav tm="0">
                                          <p:val>
                                            <p:strVal val="#ppt_x"/>
                                          </p:val>
                                        </p:tav>
                                        <p:tav tm="100000">
                                          <p:val>
                                            <p:strVal val="#ppt_x"/>
                                          </p:val>
                                        </p:tav>
                                      </p:tavLst>
                                    </p:anim>
                                    <p:anim calcmode="lin" valueType="num">
                                      <p:cBhvr>
                                        <p:cTn id="31" dur="1000" fill="hold"/>
                                        <p:tgtEl>
                                          <p:spTgt spid="20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97"/>
                                        </p:tgtEl>
                                        <p:attrNameLst>
                                          <p:attrName>style.visibility</p:attrName>
                                        </p:attrNameLst>
                                      </p:cBhvr>
                                      <p:to>
                                        <p:strVal val="visible"/>
                                      </p:to>
                                    </p:set>
                                    <p:animEffect transition="in" filter="fade">
                                      <p:cBhvr>
                                        <p:cTn id="34" dur="1000"/>
                                        <p:tgtEl>
                                          <p:spTgt spid="197"/>
                                        </p:tgtEl>
                                      </p:cBhvr>
                                    </p:animEffect>
                                    <p:anim calcmode="lin" valueType="num">
                                      <p:cBhvr>
                                        <p:cTn id="35" dur="1000" fill="hold"/>
                                        <p:tgtEl>
                                          <p:spTgt spid="197"/>
                                        </p:tgtEl>
                                        <p:attrNameLst>
                                          <p:attrName>ppt_x</p:attrName>
                                        </p:attrNameLst>
                                      </p:cBhvr>
                                      <p:tavLst>
                                        <p:tav tm="0">
                                          <p:val>
                                            <p:strVal val="#ppt_x"/>
                                          </p:val>
                                        </p:tav>
                                        <p:tav tm="100000">
                                          <p:val>
                                            <p:strVal val="#ppt_x"/>
                                          </p:val>
                                        </p:tav>
                                      </p:tavLst>
                                    </p:anim>
                                    <p:anim calcmode="lin" valueType="num">
                                      <p:cBhvr>
                                        <p:cTn id="36" dur="1000" fill="hold"/>
                                        <p:tgtEl>
                                          <p:spTgt spid="197"/>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06"/>
                                        </p:tgtEl>
                                        <p:attrNameLst>
                                          <p:attrName>style.visibility</p:attrName>
                                        </p:attrNameLst>
                                      </p:cBhvr>
                                      <p:to>
                                        <p:strVal val="visible"/>
                                      </p:to>
                                    </p:set>
                                    <p:animEffect transition="in" filter="fade">
                                      <p:cBhvr>
                                        <p:cTn id="39" dur="1000"/>
                                        <p:tgtEl>
                                          <p:spTgt spid="206"/>
                                        </p:tgtEl>
                                      </p:cBhvr>
                                    </p:animEffect>
                                    <p:anim calcmode="lin" valueType="num">
                                      <p:cBhvr>
                                        <p:cTn id="40" dur="1000" fill="hold"/>
                                        <p:tgtEl>
                                          <p:spTgt spid="206"/>
                                        </p:tgtEl>
                                        <p:attrNameLst>
                                          <p:attrName>ppt_x</p:attrName>
                                        </p:attrNameLst>
                                      </p:cBhvr>
                                      <p:tavLst>
                                        <p:tav tm="0">
                                          <p:val>
                                            <p:strVal val="#ppt_x"/>
                                          </p:val>
                                        </p:tav>
                                        <p:tav tm="100000">
                                          <p:val>
                                            <p:strVal val="#ppt_x"/>
                                          </p:val>
                                        </p:tav>
                                      </p:tavLst>
                                    </p:anim>
                                    <p:anim calcmode="lin" valueType="num">
                                      <p:cBhvr>
                                        <p:cTn id="41" dur="1000" fill="hold"/>
                                        <p:tgtEl>
                                          <p:spTgt spid="206"/>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99"/>
                                        </p:tgtEl>
                                        <p:attrNameLst>
                                          <p:attrName>style.visibility</p:attrName>
                                        </p:attrNameLst>
                                      </p:cBhvr>
                                      <p:to>
                                        <p:strVal val="visible"/>
                                      </p:to>
                                    </p:set>
                                    <p:animEffect transition="in" filter="fade">
                                      <p:cBhvr>
                                        <p:cTn id="44" dur="1000"/>
                                        <p:tgtEl>
                                          <p:spTgt spid="199"/>
                                        </p:tgtEl>
                                      </p:cBhvr>
                                    </p:animEffect>
                                    <p:anim calcmode="lin" valueType="num">
                                      <p:cBhvr>
                                        <p:cTn id="45" dur="1000" fill="hold"/>
                                        <p:tgtEl>
                                          <p:spTgt spid="199"/>
                                        </p:tgtEl>
                                        <p:attrNameLst>
                                          <p:attrName>ppt_x</p:attrName>
                                        </p:attrNameLst>
                                      </p:cBhvr>
                                      <p:tavLst>
                                        <p:tav tm="0">
                                          <p:val>
                                            <p:strVal val="#ppt_x"/>
                                          </p:val>
                                        </p:tav>
                                        <p:tav tm="100000">
                                          <p:val>
                                            <p:strVal val="#ppt_x"/>
                                          </p:val>
                                        </p:tav>
                                      </p:tavLst>
                                    </p:anim>
                                    <p:anim calcmode="lin" valueType="num">
                                      <p:cBhvr>
                                        <p:cTn id="46" dur="1000" fill="hold"/>
                                        <p:tgtEl>
                                          <p:spTgt spid="199"/>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207"/>
                                        </p:tgtEl>
                                        <p:attrNameLst>
                                          <p:attrName>style.visibility</p:attrName>
                                        </p:attrNameLst>
                                      </p:cBhvr>
                                      <p:to>
                                        <p:strVal val="visible"/>
                                      </p:to>
                                    </p:set>
                                    <p:animEffect transition="in" filter="fade">
                                      <p:cBhvr>
                                        <p:cTn id="49" dur="1000"/>
                                        <p:tgtEl>
                                          <p:spTgt spid="207"/>
                                        </p:tgtEl>
                                      </p:cBhvr>
                                    </p:animEffect>
                                    <p:anim calcmode="lin" valueType="num">
                                      <p:cBhvr>
                                        <p:cTn id="50" dur="1000" fill="hold"/>
                                        <p:tgtEl>
                                          <p:spTgt spid="207"/>
                                        </p:tgtEl>
                                        <p:attrNameLst>
                                          <p:attrName>ppt_x</p:attrName>
                                        </p:attrNameLst>
                                      </p:cBhvr>
                                      <p:tavLst>
                                        <p:tav tm="0">
                                          <p:val>
                                            <p:strVal val="#ppt_x"/>
                                          </p:val>
                                        </p:tav>
                                        <p:tav tm="100000">
                                          <p:val>
                                            <p:strVal val="#ppt_x"/>
                                          </p:val>
                                        </p:tav>
                                      </p:tavLst>
                                    </p:anim>
                                    <p:anim calcmode="lin" valueType="num">
                                      <p:cBhvr>
                                        <p:cTn id="51" dur="1000" fill="hold"/>
                                        <p:tgtEl>
                                          <p:spTgt spid="207"/>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200"/>
                                        </p:tgtEl>
                                        <p:attrNameLst>
                                          <p:attrName>style.visibility</p:attrName>
                                        </p:attrNameLst>
                                      </p:cBhvr>
                                      <p:to>
                                        <p:strVal val="visible"/>
                                      </p:to>
                                    </p:set>
                                    <p:animEffect transition="in" filter="fade">
                                      <p:cBhvr>
                                        <p:cTn id="54" dur="1000"/>
                                        <p:tgtEl>
                                          <p:spTgt spid="200"/>
                                        </p:tgtEl>
                                      </p:cBhvr>
                                    </p:animEffect>
                                    <p:anim calcmode="lin" valueType="num">
                                      <p:cBhvr>
                                        <p:cTn id="55" dur="1000" fill="hold"/>
                                        <p:tgtEl>
                                          <p:spTgt spid="200"/>
                                        </p:tgtEl>
                                        <p:attrNameLst>
                                          <p:attrName>ppt_x</p:attrName>
                                        </p:attrNameLst>
                                      </p:cBhvr>
                                      <p:tavLst>
                                        <p:tav tm="0">
                                          <p:val>
                                            <p:strVal val="#ppt_x"/>
                                          </p:val>
                                        </p:tav>
                                        <p:tav tm="100000">
                                          <p:val>
                                            <p:strVal val="#ppt_x"/>
                                          </p:val>
                                        </p:tav>
                                      </p:tavLst>
                                    </p:anim>
                                    <p:anim calcmode="lin" valueType="num">
                                      <p:cBhvr>
                                        <p:cTn id="56" dur="1000" fill="hold"/>
                                        <p:tgtEl>
                                          <p:spTgt spid="200"/>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208"/>
                                        </p:tgtEl>
                                        <p:attrNameLst>
                                          <p:attrName>style.visibility</p:attrName>
                                        </p:attrNameLst>
                                      </p:cBhvr>
                                      <p:to>
                                        <p:strVal val="visible"/>
                                      </p:to>
                                    </p:set>
                                    <p:animEffect transition="in" filter="fade">
                                      <p:cBhvr>
                                        <p:cTn id="59" dur="1000"/>
                                        <p:tgtEl>
                                          <p:spTgt spid="208"/>
                                        </p:tgtEl>
                                      </p:cBhvr>
                                    </p:animEffect>
                                    <p:anim calcmode="lin" valueType="num">
                                      <p:cBhvr>
                                        <p:cTn id="60" dur="1000" fill="hold"/>
                                        <p:tgtEl>
                                          <p:spTgt spid="208"/>
                                        </p:tgtEl>
                                        <p:attrNameLst>
                                          <p:attrName>ppt_x</p:attrName>
                                        </p:attrNameLst>
                                      </p:cBhvr>
                                      <p:tavLst>
                                        <p:tav tm="0">
                                          <p:val>
                                            <p:strVal val="#ppt_x"/>
                                          </p:val>
                                        </p:tav>
                                        <p:tav tm="100000">
                                          <p:val>
                                            <p:strVal val="#ppt_x"/>
                                          </p:val>
                                        </p:tav>
                                      </p:tavLst>
                                    </p:anim>
                                    <p:anim calcmode="lin" valueType="num">
                                      <p:cBhvr>
                                        <p:cTn id="61" dur="1000" fill="hold"/>
                                        <p:tgtEl>
                                          <p:spTgt spid="208"/>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201"/>
                                        </p:tgtEl>
                                        <p:attrNameLst>
                                          <p:attrName>style.visibility</p:attrName>
                                        </p:attrNameLst>
                                      </p:cBhvr>
                                      <p:to>
                                        <p:strVal val="visible"/>
                                      </p:to>
                                    </p:set>
                                    <p:animEffect transition="in" filter="fade">
                                      <p:cBhvr>
                                        <p:cTn id="64" dur="1000"/>
                                        <p:tgtEl>
                                          <p:spTgt spid="201"/>
                                        </p:tgtEl>
                                      </p:cBhvr>
                                    </p:animEffect>
                                    <p:anim calcmode="lin" valueType="num">
                                      <p:cBhvr>
                                        <p:cTn id="65" dur="1000" fill="hold"/>
                                        <p:tgtEl>
                                          <p:spTgt spid="201"/>
                                        </p:tgtEl>
                                        <p:attrNameLst>
                                          <p:attrName>ppt_x</p:attrName>
                                        </p:attrNameLst>
                                      </p:cBhvr>
                                      <p:tavLst>
                                        <p:tav tm="0">
                                          <p:val>
                                            <p:strVal val="#ppt_x"/>
                                          </p:val>
                                        </p:tav>
                                        <p:tav tm="100000">
                                          <p:val>
                                            <p:strVal val="#ppt_x"/>
                                          </p:val>
                                        </p:tav>
                                      </p:tavLst>
                                    </p:anim>
                                    <p:anim calcmode="lin" valueType="num">
                                      <p:cBhvr>
                                        <p:cTn id="66" dur="1000" fill="hold"/>
                                        <p:tgtEl>
                                          <p:spTgt spid="201"/>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209"/>
                                        </p:tgtEl>
                                        <p:attrNameLst>
                                          <p:attrName>style.visibility</p:attrName>
                                        </p:attrNameLst>
                                      </p:cBhvr>
                                      <p:to>
                                        <p:strVal val="visible"/>
                                      </p:to>
                                    </p:set>
                                    <p:animEffect transition="in" filter="fade">
                                      <p:cBhvr>
                                        <p:cTn id="69" dur="1000"/>
                                        <p:tgtEl>
                                          <p:spTgt spid="209"/>
                                        </p:tgtEl>
                                      </p:cBhvr>
                                    </p:animEffect>
                                    <p:anim calcmode="lin" valueType="num">
                                      <p:cBhvr>
                                        <p:cTn id="70" dur="1000" fill="hold"/>
                                        <p:tgtEl>
                                          <p:spTgt spid="209"/>
                                        </p:tgtEl>
                                        <p:attrNameLst>
                                          <p:attrName>ppt_x</p:attrName>
                                        </p:attrNameLst>
                                      </p:cBhvr>
                                      <p:tavLst>
                                        <p:tav tm="0">
                                          <p:val>
                                            <p:strVal val="#ppt_x"/>
                                          </p:val>
                                        </p:tav>
                                        <p:tav tm="100000">
                                          <p:val>
                                            <p:strVal val="#ppt_x"/>
                                          </p:val>
                                        </p:tav>
                                      </p:tavLst>
                                    </p:anim>
                                    <p:anim calcmode="lin" valueType="num">
                                      <p:cBhvr>
                                        <p:cTn id="71" dur="1000" fill="hold"/>
                                        <p:tgtEl>
                                          <p:spTgt spid="209"/>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203"/>
                                        </p:tgtEl>
                                        <p:attrNameLst>
                                          <p:attrName>style.visibility</p:attrName>
                                        </p:attrNameLst>
                                      </p:cBhvr>
                                      <p:to>
                                        <p:strVal val="visible"/>
                                      </p:to>
                                    </p:set>
                                    <p:animEffect transition="in" filter="fade">
                                      <p:cBhvr>
                                        <p:cTn id="74" dur="1000"/>
                                        <p:tgtEl>
                                          <p:spTgt spid="203"/>
                                        </p:tgtEl>
                                      </p:cBhvr>
                                    </p:animEffect>
                                    <p:anim calcmode="lin" valueType="num">
                                      <p:cBhvr>
                                        <p:cTn id="75" dur="1000" fill="hold"/>
                                        <p:tgtEl>
                                          <p:spTgt spid="203"/>
                                        </p:tgtEl>
                                        <p:attrNameLst>
                                          <p:attrName>ppt_x</p:attrName>
                                        </p:attrNameLst>
                                      </p:cBhvr>
                                      <p:tavLst>
                                        <p:tav tm="0">
                                          <p:val>
                                            <p:strVal val="#ppt_x"/>
                                          </p:val>
                                        </p:tav>
                                        <p:tav tm="100000">
                                          <p:val>
                                            <p:strVal val="#ppt_x"/>
                                          </p:val>
                                        </p:tav>
                                      </p:tavLst>
                                    </p:anim>
                                    <p:anim calcmode="lin" valueType="num">
                                      <p:cBhvr>
                                        <p:cTn id="76" dur="1000" fill="hold"/>
                                        <p:tgtEl>
                                          <p:spTgt spid="203"/>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211"/>
                                        </p:tgtEl>
                                        <p:attrNameLst>
                                          <p:attrName>style.visibility</p:attrName>
                                        </p:attrNameLst>
                                      </p:cBhvr>
                                      <p:to>
                                        <p:strVal val="visible"/>
                                      </p:to>
                                    </p:set>
                                    <p:animEffect transition="in" filter="fade">
                                      <p:cBhvr>
                                        <p:cTn id="79" dur="1000"/>
                                        <p:tgtEl>
                                          <p:spTgt spid="211"/>
                                        </p:tgtEl>
                                      </p:cBhvr>
                                    </p:animEffect>
                                    <p:anim calcmode="lin" valueType="num">
                                      <p:cBhvr>
                                        <p:cTn id="80" dur="1000" fill="hold"/>
                                        <p:tgtEl>
                                          <p:spTgt spid="211"/>
                                        </p:tgtEl>
                                        <p:attrNameLst>
                                          <p:attrName>ppt_x</p:attrName>
                                        </p:attrNameLst>
                                      </p:cBhvr>
                                      <p:tavLst>
                                        <p:tav tm="0">
                                          <p:val>
                                            <p:strVal val="#ppt_x"/>
                                          </p:val>
                                        </p:tav>
                                        <p:tav tm="100000">
                                          <p:val>
                                            <p:strVal val="#ppt_x"/>
                                          </p:val>
                                        </p:tav>
                                      </p:tavLst>
                                    </p:anim>
                                    <p:anim calcmode="lin" valueType="num">
                                      <p:cBhvr>
                                        <p:cTn id="81" dur="1000" fill="hold"/>
                                        <p:tgtEl>
                                          <p:spTgt spid="211"/>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212"/>
                                        </p:tgtEl>
                                        <p:attrNameLst>
                                          <p:attrName>style.visibility</p:attrName>
                                        </p:attrNameLst>
                                      </p:cBhvr>
                                      <p:to>
                                        <p:strVal val="visible"/>
                                      </p:to>
                                    </p:set>
                                    <p:animEffect transition="in" filter="fade">
                                      <p:cBhvr>
                                        <p:cTn id="84" dur="1000"/>
                                        <p:tgtEl>
                                          <p:spTgt spid="212"/>
                                        </p:tgtEl>
                                      </p:cBhvr>
                                    </p:animEffect>
                                    <p:anim calcmode="lin" valueType="num">
                                      <p:cBhvr>
                                        <p:cTn id="85" dur="1000" fill="hold"/>
                                        <p:tgtEl>
                                          <p:spTgt spid="212"/>
                                        </p:tgtEl>
                                        <p:attrNameLst>
                                          <p:attrName>ppt_x</p:attrName>
                                        </p:attrNameLst>
                                      </p:cBhvr>
                                      <p:tavLst>
                                        <p:tav tm="0">
                                          <p:val>
                                            <p:strVal val="#ppt_x"/>
                                          </p:val>
                                        </p:tav>
                                        <p:tav tm="100000">
                                          <p:val>
                                            <p:strVal val="#ppt_x"/>
                                          </p:val>
                                        </p:tav>
                                      </p:tavLst>
                                    </p:anim>
                                    <p:anim calcmode="lin" valueType="num">
                                      <p:cBhvr>
                                        <p:cTn id="86" dur="1000" fill="hold"/>
                                        <p:tgtEl>
                                          <p:spTgt spid="212"/>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213"/>
                                        </p:tgtEl>
                                        <p:attrNameLst>
                                          <p:attrName>style.visibility</p:attrName>
                                        </p:attrNameLst>
                                      </p:cBhvr>
                                      <p:to>
                                        <p:strVal val="visible"/>
                                      </p:to>
                                    </p:set>
                                    <p:animEffect transition="in" filter="fade">
                                      <p:cBhvr>
                                        <p:cTn id="89" dur="1000"/>
                                        <p:tgtEl>
                                          <p:spTgt spid="213"/>
                                        </p:tgtEl>
                                      </p:cBhvr>
                                    </p:animEffect>
                                    <p:anim calcmode="lin" valueType="num">
                                      <p:cBhvr>
                                        <p:cTn id="90" dur="1000" fill="hold"/>
                                        <p:tgtEl>
                                          <p:spTgt spid="213"/>
                                        </p:tgtEl>
                                        <p:attrNameLst>
                                          <p:attrName>ppt_x</p:attrName>
                                        </p:attrNameLst>
                                      </p:cBhvr>
                                      <p:tavLst>
                                        <p:tav tm="0">
                                          <p:val>
                                            <p:strVal val="#ppt_x"/>
                                          </p:val>
                                        </p:tav>
                                        <p:tav tm="100000">
                                          <p:val>
                                            <p:strVal val="#ppt_x"/>
                                          </p:val>
                                        </p:tav>
                                      </p:tavLst>
                                    </p:anim>
                                    <p:anim calcmode="lin" valueType="num">
                                      <p:cBhvr>
                                        <p:cTn id="91" dur="1000" fill="hold"/>
                                        <p:tgtEl>
                                          <p:spTgt spid="213"/>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210"/>
                                        </p:tgtEl>
                                        <p:attrNameLst>
                                          <p:attrName>style.visibility</p:attrName>
                                        </p:attrNameLst>
                                      </p:cBhvr>
                                      <p:to>
                                        <p:strVal val="visible"/>
                                      </p:to>
                                    </p:set>
                                    <p:animEffect transition="in" filter="fade">
                                      <p:cBhvr>
                                        <p:cTn id="94" dur="1000"/>
                                        <p:tgtEl>
                                          <p:spTgt spid="210"/>
                                        </p:tgtEl>
                                      </p:cBhvr>
                                    </p:animEffect>
                                    <p:anim calcmode="lin" valueType="num">
                                      <p:cBhvr>
                                        <p:cTn id="95" dur="1000" fill="hold"/>
                                        <p:tgtEl>
                                          <p:spTgt spid="210"/>
                                        </p:tgtEl>
                                        <p:attrNameLst>
                                          <p:attrName>ppt_x</p:attrName>
                                        </p:attrNameLst>
                                      </p:cBhvr>
                                      <p:tavLst>
                                        <p:tav tm="0">
                                          <p:val>
                                            <p:strVal val="#ppt_x"/>
                                          </p:val>
                                        </p:tav>
                                        <p:tav tm="100000">
                                          <p:val>
                                            <p:strVal val="#ppt_x"/>
                                          </p:val>
                                        </p:tav>
                                      </p:tavLst>
                                    </p:anim>
                                    <p:anim calcmode="lin" valueType="num">
                                      <p:cBhvr>
                                        <p:cTn id="96" dur="1000" fill="hold"/>
                                        <p:tgtEl>
                                          <p:spTgt spid="210"/>
                                        </p:tgtEl>
                                        <p:attrNameLst>
                                          <p:attrName>ppt_y</p:attrName>
                                        </p:attrNameLst>
                                      </p:cBhvr>
                                      <p:tavLst>
                                        <p:tav tm="0">
                                          <p:val>
                                            <p:strVal val="#ppt_y+.1"/>
                                          </p:val>
                                        </p:tav>
                                        <p:tav tm="100000">
                                          <p:val>
                                            <p:strVal val="#ppt_y"/>
                                          </p:val>
                                        </p:tav>
                                      </p:tavLst>
                                    </p:anim>
                                  </p:childTnLst>
                                </p:cTn>
                              </p:par>
                              <p:par>
                                <p:cTn id="97" presetID="42" presetClass="entr" presetSubtype="0" fill="hold" grpId="0" nodeType="withEffect">
                                  <p:stCondLst>
                                    <p:cond delay="0"/>
                                  </p:stCondLst>
                                  <p:childTnLst>
                                    <p:set>
                                      <p:cBhvr>
                                        <p:cTn id="98" dur="1" fill="hold">
                                          <p:stCondLst>
                                            <p:cond delay="0"/>
                                          </p:stCondLst>
                                        </p:cTn>
                                        <p:tgtEl>
                                          <p:spTgt spid="214"/>
                                        </p:tgtEl>
                                        <p:attrNameLst>
                                          <p:attrName>style.visibility</p:attrName>
                                        </p:attrNameLst>
                                      </p:cBhvr>
                                      <p:to>
                                        <p:strVal val="visible"/>
                                      </p:to>
                                    </p:set>
                                    <p:animEffect transition="in" filter="fade">
                                      <p:cBhvr>
                                        <p:cTn id="99" dur="1000"/>
                                        <p:tgtEl>
                                          <p:spTgt spid="214"/>
                                        </p:tgtEl>
                                      </p:cBhvr>
                                    </p:animEffect>
                                    <p:anim calcmode="lin" valueType="num">
                                      <p:cBhvr>
                                        <p:cTn id="100" dur="1000" fill="hold"/>
                                        <p:tgtEl>
                                          <p:spTgt spid="214"/>
                                        </p:tgtEl>
                                        <p:attrNameLst>
                                          <p:attrName>ppt_x</p:attrName>
                                        </p:attrNameLst>
                                      </p:cBhvr>
                                      <p:tavLst>
                                        <p:tav tm="0">
                                          <p:val>
                                            <p:strVal val="#ppt_x"/>
                                          </p:val>
                                        </p:tav>
                                        <p:tav tm="100000">
                                          <p:val>
                                            <p:strVal val="#ppt_x"/>
                                          </p:val>
                                        </p:tav>
                                      </p:tavLst>
                                    </p:anim>
                                    <p:anim calcmode="lin" valueType="num">
                                      <p:cBhvr>
                                        <p:cTn id="101" dur="1000" fill="hold"/>
                                        <p:tgtEl>
                                          <p:spTgt spid="214"/>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215"/>
                                        </p:tgtEl>
                                        <p:attrNameLst>
                                          <p:attrName>style.visibility</p:attrName>
                                        </p:attrNameLst>
                                      </p:cBhvr>
                                      <p:to>
                                        <p:strVal val="visible"/>
                                      </p:to>
                                    </p:set>
                                    <p:animEffect transition="in" filter="fade">
                                      <p:cBhvr>
                                        <p:cTn id="104" dur="1000"/>
                                        <p:tgtEl>
                                          <p:spTgt spid="215"/>
                                        </p:tgtEl>
                                      </p:cBhvr>
                                    </p:animEffect>
                                    <p:anim calcmode="lin" valueType="num">
                                      <p:cBhvr>
                                        <p:cTn id="105" dur="1000" fill="hold"/>
                                        <p:tgtEl>
                                          <p:spTgt spid="215"/>
                                        </p:tgtEl>
                                        <p:attrNameLst>
                                          <p:attrName>ppt_x</p:attrName>
                                        </p:attrNameLst>
                                      </p:cBhvr>
                                      <p:tavLst>
                                        <p:tav tm="0">
                                          <p:val>
                                            <p:strVal val="#ppt_x"/>
                                          </p:val>
                                        </p:tav>
                                        <p:tav tm="100000">
                                          <p:val>
                                            <p:strVal val="#ppt_x"/>
                                          </p:val>
                                        </p:tav>
                                      </p:tavLst>
                                    </p:anim>
                                    <p:anim calcmode="lin" valueType="num">
                                      <p:cBhvr>
                                        <p:cTn id="106" dur="1000" fill="hold"/>
                                        <p:tgtEl>
                                          <p:spTgt spid="215"/>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218"/>
                                        </p:tgtEl>
                                        <p:attrNameLst>
                                          <p:attrName>style.visibility</p:attrName>
                                        </p:attrNameLst>
                                      </p:cBhvr>
                                      <p:to>
                                        <p:strVal val="visible"/>
                                      </p:to>
                                    </p:set>
                                    <p:animEffect transition="in" filter="fade">
                                      <p:cBhvr>
                                        <p:cTn id="109" dur="1000"/>
                                        <p:tgtEl>
                                          <p:spTgt spid="218"/>
                                        </p:tgtEl>
                                      </p:cBhvr>
                                    </p:animEffect>
                                    <p:anim calcmode="lin" valueType="num">
                                      <p:cBhvr>
                                        <p:cTn id="110" dur="1000" fill="hold"/>
                                        <p:tgtEl>
                                          <p:spTgt spid="218"/>
                                        </p:tgtEl>
                                        <p:attrNameLst>
                                          <p:attrName>ppt_x</p:attrName>
                                        </p:attrNameLst>
                                      </p:cBhvr>
                                      <p:tavLst>
                                        <p:tav tm="0">
                                          <p:val>
                                            <p:strVal val="#ppt_x"/>
                                          </p:val>
                                        </p:tav>
                                        <p:tav tm="100000">
                                          <p:val>
                                            <p:strVal val="#ppt_x"/>
                                          </p:val>
                                        </p:tav>
                                      </p:tavLst>
                                    </p:anim>
                                    <p:anim calcmode="lin" valueType="num">
                                      <p:cBhvr>
                                        <p:cTn id="111" dur="1000" fill="hold"/>
                                        <p:tgtEl>
                                          <p:spTgt spid="218"/>
                                        </p:tgtEl>
                                        <p:attrNameLst>
                                          <p:attrName>ppt_y</p:attrName>
                                        </p:attrNameLst>
                                      </p:cBhvr>
                                      <p:tavLst>
                                        <p:tav tm="0">
                                          <p:val>
                                            <p:strVal val="#ppt_y+.1"/>
                                          </p:val>
                                        </p:tav>
                                        <p:tav tm="100000">
                                          <p:val>
                                            <p:strVal val="#ppt_y"/>
                                          </p:val>
                                        </p:tav>
                                      </p:tavLst>
                                    </p:anim>
                                  </p:childTnLst>
                                </p:cTn>
                              </p:par>
                              <p:par>
                                <p:cTn id="112" presetID="24" presetClass="emph" presetSubtype="0" fill="hold" grpId="0" nodeType="withEffect">
                                  <p:stCondLst>
                                    <p:cond delay="0"/>
                                  </p:stCondLst>
                                  <p:childTnLst>
                                    <p:animClr clrSpc="hsl" dir="cw">
                                      <p:cBhvr override="childStyle">
                                        <p:cTn id="113" dur="500" fill="hold"/>
                                        <p:tgtEl>
                                          <p:spTgt spid="48"/>
                                        </p:tgtEl>
                                        <p:attrNameLst>
                                          <p:attrName>style.color</p:attrName>
                                        </p:attrNameLst>
                                      </p:cBhvr>
                                      <p:by>
                                        <p:hsl h="0" s="-12549" l="-25098"/>
                                      </p:by>
                                    </p:animClr>
                                    <p:animClr clrSpc="hsl" dir="cw">
                                      <p:cBhvr>
                                        <p:cTn id="114" dur="500" fill="hold"/>
                                        <p:tgtEl>
                                          <p:spTgt spid="48"/>
                                        </p:tgtEl>
                                        <p:attrNameLst>
                                          <p:attrName>fillcolor</p:attrName>
                                        </p:attrNameLst>
                                      </p:cBhvr>
                                      <p:by>
                                        <p:hsl h="0" s="-12549" l="-25098"/>
                                      </p:by>
                                    </p:animClr>
                                    <p:animClr clrSpc="hsl" dir="cw">
                                      <p:cBhvr>
                                        <p:cTn id="115" dur="500" fill="hold"/>
                                        <p:tgtEl>
                                          <p:spTgt spid="48"/>
                                        </p:tgtEl>
                                        <p:attrNameLst>
                                          <p:attrName>stroke.color</p:attrName>
                                        </p:attrNameLst>
                                      </p:cBhvr>
                                      <p:by>
                                        <p:hsl h="0" s="-12549" l="-25098"/>
                                      </p:by>
                                    </p:animClr>
                                    <p:set>
                                      <p:cBhvr>
                                        <p:cTn id="116" dur="500" fill="hold"/>
                                        <p:tgtEl>
                                          <p:spTgt spid="4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 grpId="0"/>
      <p:bldP spid="211" grpId="0"/>
      <p:bldP spid="212" grpId="0"/>
      <p:bldP spid="213" grpId="0"/>
      <p:bldP spid="214" grpId="0"/>
      <p:bldP spid="215" grpId="0"/>
      <p:bldP spid="218" grpId="0"/>
      <p:bldP spid="4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normAutofit lnSpcReduction="10000"/>
          </a:bodyPr>
          <a:lstStyle/>
          <a:p>
            <a:r>
              <a:rPr lang="fr-FR" dirty="0"/>
              <a:t>Implémenter au niveau: </a:t>
            </a:r>
          </a:p>
          <a:p>
            <a:r>
              <a:rPr lang="fr-FR" dirty="0"/>
              <a:t>Qualité : </a:t>
            </a:r>
          </a:p>
          <a:p>
            <a:r>
              <a:rPr lang="fr-FR" dirty="0"/>
              <a:t>Délai : </a:t>
            </a:r>
          </a:p>
          <a:p>
            <a:r>
              <a:rPr lang="fr-FR" dirty="0"/>
              <a:t>Quantité : </a:t>
            </a:r>
          </a:p>
        </p:txBody>
      </p:sp>
      <p:sp>
        <p:nvSpPr>
          <p:cNvPr id="4" name="Espace réservé du numéro de diapositive 3"/>
          <p:cNvSpPr>
            <a:spLocks noGrp="1"/>
          </p:cNvSpPr>
          <p:nvPr>
            <p:ph type="sldNum" sz="quarter" idx="12"/>
          </p:nvPr>
        </p:nvSpPr>
        <p:spPr/>
        <p:txBody>
          <a:bodyPr/>
          <a:lstStyle/>
          <a:p>
            <a:fld id="{C9F2E319-0919-499D-AD1F-7963255D1003}" type="slidenum">
              <a:rPr lang="id-ID" smtClean="0"/>
              <a:t>50</a:t>
            </a:fld>
            <a:endParaRPr lang="id-ID"/>
          </a:p>
        </p:txBody>
      </p:sp>
    </p:spTree>
    <p:extLst>
      <p:ext uri="{BB962C8B-B14F-4D97-AF65-F5344CB8AC3E}">
        <p14:creationId xmlns:p14="http://schemas.microsoft.com/office/powerpoint/2010/main" val="36248718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27012" y="252295"/>
            <a:ext cx="4469236" cy="461665"/>
          </a:xfrm>
          <a:prstGeom prst="rect">
            <a:avLst/>
          </a:prstGeom>
        </p:spPr>
        <p:txBody>
          <a:bodyPr wrap="square">
            <a:spAutoFit/>
          </a:bodyPr>
          <a:lstStyle/>
          <a:p>
            <a:pPr marL="571500" indent="-571500">
              <a:buFont typeface="+mj-lt"/>
              <a:buAutoNum type="romanUcPeriod"/>
            </a:pPr>
            <a:r>
              <a:rPr lang="fr-FR" sz="2400" b="1" dirty="0"/>
              <a:t>Problématique</a:t>
            </a:r>
            <a:r>
              <a:rPr lang="fr-FR" sz="2000" b="1" dirty="0"/>
              <a:t> </a:t>
            </a:r>
          </a:p>
        </p:txBody>
      </p:sp>
      <p:sp>
        <p:nvSpPr>
          <p:cNvPr id="55" name="Rectangle 54"/>
          <p:cNvSpPr/>
          <p:nvPr/>
        </p:nvSpPr>
        <p:spPr>
          <a:xfrm>
            <a:off x="502208" y="696738"/>
            <a:ext cx="7345519" cy="6478697"/>
          </a:xfrm>
          <a:prstGeom prst="rect">
            <a:avLst/>
          </a:prstGeom>
        </p:spPr>
        <p:txBody>
          <a:bodyPr wrap="square">
            <a:spAutoFit/>
          </a:bodyPr>
          <a:lstStyle/>
          <a:p>
            <a:r>
              <a:rPr lang="fr-FR" sz="2200" dirty="0"/>
              <a:t>Le service achat cherche à: </a:t>
            </a:r>
          </a:p>
          <a:p>
            <a:pPr indent="-342900">
              <a:lnSpc>
                <a:spcPct val="150000"/>
              </a:lnSpc>
              <a:buFont typeface="Arial" pitchFamily="34" charset="0"/>
              <a:buChar char="•"/>
            </a:pPr>
            <a:r>
              <a:rPr lang="fr-FR" sz="2000" dirty="0"/>
              <a:t>Améliorer Le niveau de service au dessus du Target (90%),   </a:t>
            </a:r>
          </a:p>
          <a:p>
            <a:pPr indent="-342900">
              <a:lnSpc>
                <a:spcPct val="150000"/>
              </a:lnSpc>
              <a:buFont typeface="Arial" pitchFamily="34" charset="0"/>
              <a:buChar char="•"/>
            </a:pPr>
            <a:r>
              <a:rPr lang="fr-FR" sz="2200" dirty="0"/>
              <a:t>Réaliser le suivi un pilotage vers la performance.    </a:t>
            </a:r>
          </a:p>
          <a:p>
            <a:pPr indent="-342900">
              <a:lnSpc>
                <a:spcPct val="150000"/>
              </a:lnSpc>
              <a:buFont typeface="Arial" pitchFamily="34" charset="0"/>
              <a:buChar char="•"/>
            </a:pPr>
            <a:r>
              <a:rPr lang="fr-FR" sz="2200" dirty="0"/>
              <a:t>Recherche du gain </a:t>
            </a:r>
          </a:p>
          <a:p>
            <a:pPr indent="-342900">
              <a:lnSpc>
                <a:spcPct val="150000"/>
              </a:lnSpc>
              <a:buFont typeface="Arial" pitchFamily="34" charset="0"/>
              <a:buChar char="•"/>
            </a:pPr>
            <a:r>
              <a:rPr lang="fr-FR" sz="2200" dirty="0"/>
              <a:t>Réduire les ruptures, </a:t>
            </a:r>
          </a:p>
          <a:p>
            <a:pPr indent="-342900">
              <a:lnSpc>
                <a:spcPct val="150000"/>
              </a:lnSpc>
              <a:buFont typeface="Arial" pitchFamily="34" charset="0"/>
              <a:buChar char="•"/>
            </a:pPr>
            <a:r>
              <a:rPr lang="fr-FR" sz="2200" dirty="0"/>
              <a:t>Structuré le panel fournisseurs     </a:t>
            </a:r>
          </a:p>
          <a:p>
            <a:pPr indent="-342900">
              <a:lnSpc>
                <a:spcPct val="150000"/>
              </a:lnSpc>
              <a:buFont typeface="Arial" pitchFamily="34" charset="0"/>
              <a:buChar char="•"/>
            </a:pPr>
            <a:r>
              <a:rPr lang="fr-FR" sz="2200" dirty="0"/>
              <a:t>Assurer à notre client interne un produit qualitatif dans le délai et en respectant la quantité.</a:t>
            </a:r>
          </a:p>
          <a:p>
            <a:pPr indent="-342900">
              <a:lnSpc>
                <a:spcPct val="150000"/>
              </a:lnSpc>
              <a:buFont typeface="Arial" pitchFamily="34" charset="0"/>
              <a:buChar char="•"/>
            </a:pPr>
            <a:r>
              <a:rPr lang="fr-FR" sz="2200" dirty="0"/>
              <a:t>Améliorer la satisfaction de notre client interne,  </a:t>
            </a:r>
          </a:p>
          <a:p>
            <a:pPr indent="-342900">
              <a:lnSpc>
                <a:spcPct val="150000"/>
              </a:lnSpc>
              <a:buFont typeface="Arial" pitchFamily="34" charset="0"/>
              <a:buChar char="•"/>
            </a:pPr>
            <a:r>
              <a:rPr lang="fr-FR" sz="2200" dirty="0"/>
              <a:t>Qualité de 89%------92%   -----------4%</a:t>
            </a:r>
          </a:p>
          <a:p>
            <a:pPr marL="342900" indent="-342900">
              <a:lnSpc>
                <a:spcPct val="150000"/>
              </a:lnSpc>
              <a:buFont typeface="Arial" panose="020B0604020202020204" pitchFamily="34" charset="0"/>
              <a:buChar char="•"/>
            </a:pPr>
            <a:r>
              <a:rPr lang="fr-FR" sz="2200" dirty="0"/>
              <a:t>Délai  (</a:t>
            </a:r>
            <a:r>
              <a:rPr lang="fr-FR" sz="2200" dirty="0" err="1"/>
              <a:t>tolerance</a:t>
            </a:r>
            <a:r>
              <a:rPr lang="fr-FR" sz="2200" dirty="0"/>
              <a:t> )  29%--- 34%   ----- 5%</a:t>
            </a:r>
          </a:p>
          <a:p>
            <a:pPr marL="342900" indent="-342900">
              <a:lnSpc>
                <a:spcPct val="150000"/>
              </a:lnSpc>
              <a:buFont typeface="Arial" panose="020B0604020202020204" pitchFamily="34" charset="0"/>
              <a:buChar char="•"/>
            </a:pPr>
            <a:r>
              <a:rPr lang="fr-FR" sz="2200" dirty="0"/>
              <a:t>Niveau de service de 3%donc de 69% à 73%</a:t>
            </a:r>
          </a:p>
          <a:p>
            <a:pPr marL="342900" indent="-342900">
              <a:lnSpc>
                <a:spcPct val="150000"/>
              </a:lnSpc>
              <a:buFont typeface="Arial" panose="020B0604020202020204" pitchFamily="34" charset="0"/>
              <a:buChar char="•"/>
            </a:pPr>
            <a:endParaRPr lang="fr-FR" sz="2200" dirty="0"/>
          </a:p>
        </p:txBody>
      </p:sp>
      <p:sp>
        <p:nvSpPr>
          <p:cNvPr id="59" name="TextBox 58"/>
          <p:cNvSpPr txBox="1"/>
          <p:nvPr/>
        </p:nvSpPr>
        <p:spPr>
          <a:xfrm>
            <a:off x="8024310" y="3505200"/>
            <a:ext cx="3859795" cy="1200329"/>
          </a:xfrm>
          <a:prstGeom prst="rect">
            <a:avLst/>
          </a:prstGeom>
          <a:noFill/>
          <a:ln w="28575">
            <a:solidFill>
              <a:srgbClr val="003399"/>
            </a:solidFill>
            <a:prstDash val="solid"/>
          </a:ln>
        </p:spPr>
        <p:txBody>
          <a:bodyPr wrap="square" rtlCol="0">
            <a:spAutoFit/>
          </a:bodyPr>
          <a:lstStyle/>
          <a:p>
            <a:pPr algn="ctr"/>
            <a:r>
              <a:rPr lang="fr-FR" sz="2400" b="1" dirty="0"/>
              <a:t>Evaluation et pilotage de la performance des fournisseurs</a:t>
            </a:r>
          </a:p>
        </p:txBody>
      </p:sp>
      <p:sp>
        <p:nvSpPr>
          <p:cNvPr id="60" name="Equal 59"/>
          <p:cNvSpPr/>
          <p:nvPr/>
        </p:nvSpPr>
        <p:spPr>
          <a:xfrm>
            <a:off x="6933565" y="3671668"/>
            <a:ext cx="914162" cy="609600"/>
          </a:xfrm>
          <a:prstGeom prst="mathEqual">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Espace réservé du numéro de diapositive 1"/>
          <p:cNvSpPr>
            <a:spLocks noGrp="1"/>
          </p:cNvSpPr>
          <p:nvPr>
            <p:ph type="sldNum" sz="quarter" idx="12"/>
          </p:nvPr>
        </p:nvSpPr>
        <p:spPr/>
        <p:txBody>
          <a:bodyPr/>
          <a:lstStyle/>
          <a:p>
            <a:fld id="{C2F52289-4012-4053-9770-FE82CEB9514F}" type="slidenum">
              <a:rPr lang="en-US" smtClean="0"/>
              <a:pPr/>
              <a:t>51</a:t>
            </a:fld>
            <a:endParaRPr lang="en-US"/>
          </a:p>
        </p:txBody>
      </p:sp>
    </p:spTree>
    <p:extLst>
      <p:ext uri="{BB962C8B-B14F-4D97-AF65-F5344CB8AC3E}">
        <p14:creationId xmlns:p14="http://schemas.microsoft.com/office/powerpoint/2010/main" val="2564528767"/>
      </p:ext>
    </p:extLst>
  </p:cSld>
  <p:clrMapOvr>
    <a:masterClrMapping/>
  </p:clrMapOvr>
  <p:transition spd="med">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5">
                                            <p:txEl>
                                              <p:pRg st="0" end="0"/>
                                            </p:txEl>
                                          </p:spTgt>
                                        </p:tgtEl>
                                        <p:attrNameLst>
                                          <p:attrName>style.visibility</p:attrName>
                                        </p:attrNameLst>
                                      </p:cBhvr>
                                      <p:to>
                                        <p:strVal val="visible"/>
                                      </p:to>
                                    </p:set>
                                    <p:animEffect transition="in" filter="wipe(down)">
                                      <p:cBhvr>
                                        <p:cTn id="7" dur="500"/>
                                        <p:tgtEl>
                                          <p:spTgt spid="55">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5">
                                            <p:txEl>
                                              <p:pRg st="1" end="1"/>
                                            </p:txEl>
                                          </p:spTgt>
                                        </p:tgtEl>
                                        <p:attrNameLst>
                                          <p:attrName>style.visibility</p:attrName>
                                        </p:attrNameLst>
                                      </p:cBhvr>
                                      <p:to>
                                        <p:strVal val="visible"/>
                                      </p:to>
                                    </p:set>
                                    <p:animEffect transition="in" filter="wipe(down)">
                                      <p:cBhvr>
                                        <p:cTn id="10" dur="500"/>
                                        <p:tgtEl>
                                          <p:spTgt spid="55">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55">
                                            <p:txEl>
                                              <p:pRg st="2" end="2"/>
                                            </p:txEl>
                                          </p:spTgt>
                                        </p:tgtEl>
                                        <p:attrNameLst>
                                          <p:attrName>style.visibility</p:attrName>
                                        </p:attrNameLst>
                                      </p:cBhvr>
                                      <p:to>
                                        <p:strVal val="visible"/>
                                      </p:to>
                                    </p:set>
                                    <p:animEffect transition="in" filter="wipe(down)">
                                      <p:cBhvr>
                                        <p:cTn id="13" dur="500"/>
                                        <p:tgtEl>
                                          <p:spTgt spid="55">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55">
                                            <p:txEl>
                                              <p:pRg st="3" end="3"/>
                                            </p:txEl>
                                          </p:spTgt>
                                        </p:tgtEl>
                                        <p:attrNameLst>
                                          <p:attrName>style.visibility</p:attrName>
                                        </p:attrNameLst>
                                      </p:cBhvr>
                                      <p:to>
                                        <p:strVal val="visible"/>
                                      </p:to>
                                    </p:set>
                                    <p:animEffect transition="in" filter="wipe(down)">
                                      <p:cBhvr>
                                        <p:cTn id="16" dur="500"/>
                                        <p:tgtEl>
                                          <p:spTgt spid="55">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55">
                                            <p:txEl>
                                              <p:pRg st="4" end="4"/>
                                            </p:txEl>
                                          </p:spTgt>
                                        </p:tgtEl>
                                        <p:attrNameLst>
                                          <p:attrName>style.visibility</p:attrName>
                                        </p:attrNameLst>
                                      </p:cBhvr>
                                      <p:to>
                                        <p:strVal val="visible"/>
                                      </p:to>
                                    </p:set>
                                    <p:animEffect transition="in" filter="wipe(down)">
                                      <p:cBhvr>
                                        <p:cTn id="19" dur="500"/>
                                        <p:tgtEl>
                                          <p:spTgt spid="55">
                                            <p:txEl>
                                              <p:pRg st="4" end="4"/>
                                            </p:txEl>
                                          </p:spTgt>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55">
                                            <p:txEl>
                                              <p:pRg st="5" end="5"/>
                                            </p:txEl>
                                          </p:spTgt>
                                        </p:tgtEl>
                                        <p:attrNameLst>
                                          <p:attrName>style.visibility</p:attrName>
                                        </p:attrNameLst>
                                      </p:cBhvr>
                                      <p:to>
                                        <p:strVal val="visible"/>
                                      </p:to>
                                    </p:set>
                                    <p:animEffect transition="in" filter="wipe(down)">
                                      <p:cBhvr>
                                        <p:cTn id="22" dur="500"/>
                                        <p:tgtEl>
                                          <p:spTgt spid="55">
                                            <p:txEl>
                                              <p:pRg st="5" end="5"/>
                                            </p:txEl>
                                          </p:spTgt>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55">
                                            <p:txEl>
                                              <p:pRg st="6" end="6"/>
                                            </p:txEl>
                                          </p:spTgt>
                                        </p:tgtEl>
                                        <p:attrNameLst>
                                          <p:attrName>style.visibility</p:attrName>
                                        </p:attrNameLst>
                                      </p:cBhvr>
                                      <p:to>
                                        <p:strVal val="visible"/>
                                      </p:to>
                                    </p:set>
                                    <p:animEffect transition="in" filter="wipe(down)">
                                      <p:cBhvr>
                                        <p:cTn id="25" dur="500"/>
                                        <p:tgtEl>
                                          <p:spTgt spid="55">
                                            <p:txEl>
                                              <p:pRg st="6" end="6"/>
                                            </p:txEl>
                                          </p:spTgt>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55">
                                            <p:txEl>
                                              <p:pRg st="7" end="7"/>
                                            </p:txEl>
                                          </p:spTgt>
                                        </p:tgtEl>
                                        <p:attrNameLst>
                                          <p:attrName>style.visibility</p:attrName>
                                        </p:attrNameLst>
                                      </p:cBhvr>
                                      <p:to>
                                        <p:strVal val="visible"/>
                                      </p:to>
                                    </p:set>
                                    <p:animEffect transition="in" filter="wipe(down)">
                                      <p:cBhvr>
                                        <p:cTn id="28" dur="500"/>
                                        <p:tgtEl>
                                          <p:spTgt spid="55">
                                            <p:txEl>
                                              <p:pRg st="7" end="7"/>
                                            </p:txEl>
                                          </p:spTgt>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55">
                                            <p:txEl>
                                              <p:pRg st="8" end="8"/>
                                            </p:txEl>
                                          </p:spTgt>
                                        </p:tgtEl>
                                        <p:attrNameLst>
                                          <p:attrName>style.visibility</p:attrName>
                                        </p:attrNameLst>
                                      </p:cBhvr>
                                      <p:to>
                                        <p:strVal val="visible"/>
                                      </p:to>
                                    </p:set>
                                    <p:animEffect transition="in" filter="wipe(down)">
                                      <p:cBhvr>
                                        <p:cTn id="31" dur="500"/>
                                        <p:tgtEl>
                                          <p:spTgt spid="55">
                                            <p:txEl>
                                              <p:pRg st="8" end="8"/>
                                            </p:txEl>
                                          </p:spTgt>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55">
                                            <p:txEl>
                                              <p:pRg st="9" end="9"/>
                                            </p:txEl>
                                          </p:spTgt>
                                        </p:tgtEl>
                                        <p:attrNameLst>
                                          <p:attrName>style.visibility</p:attrName>
                                        </p:attrNameLst>
                                      </p:cBhvr>
                                      <p:to>
                                        <p:strVal val="visible"/>
                                      </p:to>
                                    </p:set>
                                    <p:animEffect transition="in" filter="wipe(down)">
                                      <p:cBhvr>
                                        <p:cTn id="34" dur="500"/>
                                        <p:tgtEl>
                                          <p:spTgt spid="55">
                                            <p:txEl>
                                              <p:pRg st="9" end="9"/>
                                            </p:txEl>
                                          </p:spTgt>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55">
                                            <p:txEl>
                                              <p:pRg st="10" end="10"/>
                                            </p:txEl>
                                          </p:spTgt>
                                        </p:tgtEl>
                                        <p:attrNameLst>
                                          <p:attrName>style.visibility</p:attrName>
                                        </p:attrNameLst>
                                      </p:cBhvr>
                                      <p:to>
                                        <p:strVal val="visible"/>
                                      </p:to>
                                    </p:set>
                                    <p:animEffect transition="in" filter="wipe(down)">
                                      <p:cBhvr>
                                        <p:cTn id="37" dur="500"/>
                                        <p:tgtEl>
                                          <p:spTgt spid="55">
                                            <p:txEl>
                                              <p:pRg st="10" end="1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 presetClass="entr" presetSubtype="4" fill="hold" grpId="0" nodeType="clickEffect">
                                  <p:stCondLst>
                                    <p:cond delay="0"/>
                                  </p:stCondLst>
                                  <p:childTnLst>
                                    <p:set>
                                      <p:cBhvr>
                                        <p:cTn id="41" dur="1" fill="hold">
                                          <p:stCondLst>
                                            <p:cond delay="0"/>
                                          </p:stCondLst>
                                        </p:cTn>
                                        <p:tgtEl>
                                          <p:spTgt spid="60"/>
                                        </p:tgtEl>
                                        <p:attrNameLst>
                                          <p:attrName>style.visibility</p:attrName>
                                        </p:attrNameLst>
                                      </p:cBhvr>
                                      <p:to>
                                        <p:strVal val="visible"/>
                                      </p:to>
                                    </p:set>
                                    <p:anim calcmode="lin" valueType="num">
                                      <p:cBhvr additive="base">
                                        <p:cTn id="42" dur="500" fill="hold"/>
                                        <p:tgtEl>
                                          <p:spTgt spid="60"/>
                                        </p:tgtEl>
                                        <p:attrNameLst>
                                          <p:attrName>ppt_x</p:attrName>
                                        </p:attrNameLst>
                                      </p:cBhvr>
                                      <p:tavLst>
                                        <p:tav tm="0">
                                          <p:val>
                                            <p:strVal val="#ppt_x"/>
                                          </p:val>
                                        </p:tav>
                                        <p:tav tm="100000">
                                          <p:val>
                                            <p:strVal val="#ppt_x"/>
                                          </p:val>
                                        </p:tav>
                                      </p:tavLst>
                                    </p:anim>
                                    <p:anim calcmode="lin" valueType="num">
                                      <p:cBhvr additive="base">
                                        <p:cTn id="43"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59">
                                            <p:bg/>
                                          </p:spTgt>
                                        </p:tgtEl>
                                        <p:attrNameLst>
                                          <p:attrName>style.visibility</p:attrName>
                                        </p:attrNameLst>
                                      </p:cBhvr>
                                      <p:to>
                                        <p:strVal val="visible"/>
                                      </p:to>
                                    </p:set>
                                    <p:animEffect transition="in" filter="wipe(down)">
                                      <p:cBhvr>
                                        <p:cTn id="48" dur="500"/>
                                        <p:tgtEl>
                                          <p:spTgt spid="59">
                                            <p:bg/>
                                          </p:spTgt>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59">
                                            <p:txEl>
                                              <p:pRg st="0" end="0"/>
                                            </p:txEl>
                                          </p:spTgt>
                                        </p:tgtEl>
                                        <p:attrNameLst>
                                          <p:attrName>style.visibility</p:attrName>
                                        </p:attrNameLst>
                                      </p:cBhvr>
                                      <p:to>
                                        <p:strVal val="visible"/>
                                      </p:to>
                                    </p:set>
                                    <p:animEffect transition="in" filter="wipe(down)">
                                      <p:cBhvr>
                                        <p:cTn id="51" dur="500"/>
                                        <p:tgtEl>
                                          <p:spTgt spid="5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build="allAtOnce"/>
      <p:bldP spid="59" grpId="0" build="allAtOnce" animBg="1"/>
      <p:bldP spid="6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a:xfrm>
            <a:off x="4265613" y="6477000"/>
            <a:ext cx="3581400" cy="381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078" eaLnBrk="1" fontAlgn="auto" hangingPunct="1">
              <a:spcBef>
                <a:spcPts val="0"/>
              </a:spcBef>
              <a:spcAft>
                <a:spcPts val="0"/>
              </a:spcAft>
              <a:defRPr/>
            </a:pPr>
            <a:endParaRPr lang="en-US"/>
          </a:p>
        </p:txBody>
      </p:sp>
      <p:sp>
        <p:nvSpPr>
          <p:cNvPr id="91139" name="Freeform 81"/>
          <p:cNvSpPr>
            <a:spLocks noEditPoints="1"/>
          </p:cNvSpPr>
          <p:nvPr/>
        </p:nvSpPr>
        <p:spPr bwMode="auto">
          <a:xfrm>
            <a:off x="4433888" y="5400675"/>
            <a:ext cx="877887" cy="879475"/>
          </a:xfrm>
          <a:custGeom>
            <a:avLst/>
            <a:gdLst>
              <a:gd name="T0" fmla="*/ 751371 w 369"/>
              <a:gd name="T1" fmla="*/ 209156 h 370"/>
              <a:gd name="T2" fmla="*/ 209243 w 369"/>
              <a:gd name="T3" fmla="*/ 125969 h 370"/>
              <a:gd name="T4" fmla="*/ 126021 w 369"/>
              <a:gd name="T5" fmla="*/ 667872 h 370"/>
              <a:gd name="T6" fmla="*/ 668149 w 369"/>
              <a:gd name="T7" fmla="*/ 751059 h 370"/>
              <a:gd name="T8" fmla="*/ 751371 w 369"/>
              <a:gd name="T9" fmla="*/ 209156 h 370"/>
              <a:gd name="T10" fmla="*/ 627728 w 369"/>
              <a:gd name="T11" fmla="*/ 696393 h 370"/>
              <a:gd name="T12" fmla="*/ 180709 w 369"/>
              <a:gd name="T13" fmla="*/ 627467 h 370"/>
              <a:gd name="T14" fmla="*/ 249664 w 369"/>
              <a:gd name="T15" fmla="*/ 180634 h 370"/>
              <a:gd name="T16" fmla="*/ 696683 w 369"/>
              <a:gd name="T17" fmla="*/ 249561 h 370"/>
              <a:gd name="T18" fmla="*/ 627728 w 369"/>
              <a:gd name="T19" fmla="*/ 696393 h 3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9" h="370">
                <a:moveTo>
                  <a:pt x="316" y="88"/>
                </a:moveTo>
                <a:cubicBezTo>
                  <a:pt x="263" y="16"/>
                  <a:pt x="161" y="0"/>
                  <a:pt x="88" y="53"/>
                </a:cubicBezTo>
                <a:cubicBezTo>
                  <a:pt x="16" y="107"/>
                  <a:pt x="0" y="209"/>
                  <a:pt x="53" y="281"/>
                </a:cubicBezTo>
                <a:cubicBezTo>
                  <a:pt x="106" y="354"/>
                  <a:pt x="208" y="370"/>
                  <a:pt x="281" y="316"/>
                </a:cubicBezTo>
                <a:cubicBezTo>
                  <a:pt x="354" y="263"/>
                  <a:pt x="369" y="161"/>
                  <a:pt x="316" y="88"/>
                </a:cubicBezTo>
                <a:close/>
                <a:moveTo>
                  <a:pt x="264" y="293"/>
                </a:moveTo>
                <a:cubicBezTo>
                  <a:pt x="204" y="337"/>
                  <a:pt x="120" y="324"/>
                  <a:pt x="76" y="264"/>
                </a:cubicBezTo>
                <a:cubicBezTo>
                  <a:pt x="32" y="205"/>
                  <a:pt x="45" y="120"/>
                  <a:pt x="105" y="76"/>
                </a:cubicBezTo>
                <a:cubicBezTo>
                  <a:pt x="165" y="32"/>
                  <a:pt x="249" y="45"/>
                  <a:pt x="293" y="105"/>
                </a:cubicBezTo>
                <a:cubicBezTo>
                  <a:pt x="337" y="165"/>
                  <a:pt x="324" y="249"/>
                  <a:pt x="264" y="293"/>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060" name="Freeform 82"/>
          <p:cNvSpPr>
            <a:spLocks noEditPoints="1"/>
          </p:cNvSpPr>
          <p:nvPr/>
        </p:nvSpPr>
        <p:spPr bwMode="auto">
          <a:xfrm>
            <a:off x="7585075" y="4364038"/>
            <a:ext cx="811213" cy="811212"/>
          </a:xfrm>
          <a:custGeom>
            <a:avLst/>
            <a:gdLst>
              <a:gd name="T0" fmla="*/ 292 w 341"/>
              <a:gd name="T1" fmla="*/ 82 h 341"/>
              <a:gd name="T2" fmla="*/ 82 w 341"/>
              <a:gd name="T3" fmla="*/ 49 h 341"/>
              <a:gd name="T4" fmla="*/ 50 w 341"/>
              <a:gd name="T5" fmla="*/ 260 h 341"/>
              <a:gd name="T6" fmla="*/ 260 w 341"/>
              <a:gd name="T7" fmla="*/ 292 h 341"/>
              <a:gd name="T8" fmla="*/ 292 w 341"/>
              <a:gd name="T9" fmla="*/ 82 h 341"/>
              <a:gd name="T10" fmla="*/ 241 w 341"/>
              <a:gd name="T11" fmla="*/ 266 h 341"/>
              <a:gd name="T12" fmla="*/ 76 w 341"/>
              <a:gd name="T13" fmla="*/ 241 h 341"/>
              <a:gd name="T14" fmla="*/ 101 w 341"/>
              <a:gd name="T15" fmla="*/ 75 h 341"/>
              <a:gd name="T16" fmla="*/ 266 w 341"/>
              <a:gd name="T17" fmla="*/ 101 h 341"/>
              <a:gd name="T18" fmla="*/ 241 w 341"/>
              <a:gd name="T19" fmla="*/ 26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292" y="82"/>
                </a:moveTo>
                <a:cubicBezTo>
                  <a:pt x="243" y="15"/>
                  <a:pt x="149" y="0"/>
                  <a:pt x="82" y="49"/>
                </a:cubicBezTo>
                <a:cubicBezTo>
                  <a:pt x="15" y="98"/>
                  <a:pt x="0" y="193"/>
                  <a:pt x="50" y="260"/>
                </a:cubicBezTo>
                <a:cubicBezTo>
                  <a:pt x="99" y="327"/>
                  <a:pt x="193" y="341"/>
                  <a:pt x="260" y="292"/>
                </a:cubicBezTo>
                <a:cubicBezTo>
                  <a:pt x="327" y="243"/>
                  <a:pt x="341" y="149"/>
                  <a:pt x="292" y="82"/>
                </a:cubicBezTo>
                <a:close/>
                <a:moveTo>
                  <a:pt x="241" y="266"/>
                </a:moveTo>
                <a:cubicBezTo>
                  <a:pt x="188" y="305"/>
                  <a:pt x="114" y="293"/>
                  <a:pt x="76" y="241"/>
                </a:cubicBezTo>
                <a:cubicBezTo>
                  <a:pt x="37" y="188"/>
                  <a:pt x="48" y="114"/>
                  <a:pt x="101" y="75"/>
                </a:cubicBezTo>
                <a:cubicBezTo>
                  <a:pt x="154" y="37"/>
                  <a:pt x="228" y="48"/>
                  <a:pt x="266" y="101"/>
                </a:cubicBezTo>
                <a:cubicBezTo>
                  <a:pt x="305" y="153"/>
                  <a:pt x="293" y="227"/>
                  <a:pt x="241" y="26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61" name="Freeform 83"/>
          <p:cNvSpPr>
            <a:spLocks noEditPoints="1"/>
          </p:cNvSpPr>
          <p:nvPr/>
        </p:nvSpPr>
        <p:spPr bwMode="auto">
          <a:xfrm>
            <a:off x="7448550" y="4238625"/>
            <a:ext cx="1076325" cy="1074738"/>
          </a:xfrm>
          <a:custGeom>
            <a:avLst/>
            <a:gdLst>
              <a:gd name="T0" fmla="*/ 436 w 453"/>
              <a:gd name="T1" fmla="*/ 284 h 452"/>
              <a:gd name="T2" fmla="*/ 404 w 453"/>
              <a:gd name="T3" fmla="*/ 261 h 452"/>
              <a:gd name="T4" fmla="*/ 415 w 453"/>
              <a:gd name="T5" fmla="*/ 230 h 452"/>
              <a:gd name="T6" fmla="*/ 452 w 453"/>
              <a:gd name="T7" fmla="*/ 213 h 452"/>
              <a:gd name="T8" fmla="*/ 435 w 453"/>
              <a:gd name="T9" fmla="*/ 164 h 452"/>
              <a:gd name="T10" fmla="*/ 397 w 453"/>
              <a:gd name="T11" fmla="*/ 161 h 452"/>
              <a:gd name="T12" fmla="*/ 396 w 453"/>
              <a:gd name="T13" fmla="*/ 140 h 452"/>
              <a:gd name="T14" fmla="*/ 420 w 453"/>
              <a:gd name="T15" fmla="*/ 109 h 452"/>
              <a:gd name="T16" fmla="*/ 383 w 453"/>
              <a:gd name="T17" fmla="*/ 73 h 452"/>
              <a:gd name="T18" fmla="*/ 349 w 453"/>
              <a:gd name="T19" fmla="*/ 88 h 452"/>
              <a:gd name="T20" fmla="*/ 331 w 453"/>
              <a:gd name="T21" fmla="*/ 65 h 452"/>
              <a:gd name="T22" fmla="*/ 335 w 453"/>
              <a:gd name="T23" fmla="*/ 28 h 452"/>
              <a:gd name="T24" fmla="*/ 285 w 453"/>
              <a:gd name="T25" fmla="*/ 16 h 452"/>
              <a:gd name="T26" fmla="*/ 263 w 453"/>
              <a:gd name="T27" fmla="*/ 44 h 452"/>
              <a:gd name="T28" fmla="*/ 229 w 453"/>
              <a:gd name="T29" fmla="*/ 33 h 452"/>
              <a:gd name="T30" fmla="*/ 214 w 453"/>
              <a:gd name="T31" fmla="*/ 0 h 452"/>
              <a:gd name="T32" fmla="*/ 165 w 453"/>
              <a:gd name="T33" fmla="*/ 17 h 452"/>
              <a:gd name="T34" fmla="*/ 161 w 453"/>
              <a:gd name="T35" fmla="*/ 51 h 452"/>
              <a:gd name="T36" fmla="*/ 139 w 453"/>
              <a:gd name="T37" fmla="*/ 53 h 452"/>
              <a:gd name="T38" fmla="*/ 110 w 453"/>
              <a:gd name="T39" fmla="*/ 32 h 452"/>
              <a:gd name="T40" fmla="*/ 75 w 453"/>
              <a:gd name="T41" fmla="*/ 70 h 452"/>
              <a:gd name="T42" fmla="*/ 87 w 453"/>
              <a:gd name="T43" fmla="*/ 102 h 452"/>
              <a:gd name="T44" fmla="*/ 64 w 453"/>
              <a:gd name="T45" fmla="*/ 121 h 452"/>
              <a:gd name="T46" fmla="*/ 29 w 453"/>
              <a:gd name="T47" fmla="*/ 117 h 452"/>
              <a:gd name="T48" fmla="*/ 17 w 453"/>
              <a:gd name="T49" fmla="*/ 167 h 452"/>
              <a:gd name="T50" fmla="*/ 45 w 453"/>
              <a:gd name="T51" fmla="*/ 189 h 452"/>
              <a:gd name="T52" fmla="*/ 34 w 453"/>
              <a:gd name="T53" fmla="*/ 223 h 452"/>
              <a:gd name="T54" fmla="*/ 1 w 453"/>
              <a:gd name="T55" fmla="*/ 238 h 452"/>
              <a:gd name="T56" fmla="*/ 18 w 453"/>
              <a:gd name="T57" fmla="*/ 287 h 452"/>
              <a:gd name="T58" fmla="*/ 54 w 453"/>
              <a:gd name="T59" fmla="*/ 290 h 452"/>
              <a:gd name="T60" fmla="*/ 56 w 453"/>
              <a:gd name="T61" fmla="*/ 312 h 452"/>
              <a:gd name="T62" fmla="*/ 33 w 453"/>
              <a:gd name="T63" fmla="*/ 342 h 452"/>
              <a:gd name="T64" fmla="*/ 71 w 453"/>
              <a:gd name="T65" fmla="*/ 378 h 452"/>
              <a:gd name="T66" fmla="*/ 105 w 453"/>
              <a:gd name="T67" fmla="*/ 363 h 452"/>
              <a:gd name="T68" fmla="*/ 123 w 453"/>
              <a:gd name="T69" fmla="*/ 385 h 452"/>
              <a:gd name="T70" fmla="*/ 118 w 453"/>
              <a:gd name="T71" fmla="*/ 423 h 452"/>
              <a:gd name="T72" fmla="*/ 168 w 453"/>
              <a:gd name="T73" fmla="*/ 435 h 452"/>
              <a:gd name="T74" fmla="*/ 191 w 453"/>
              <a:gd name="T75" fmla="*/ 404 h 452"/>
              <a:gd name="T76" fmla="*/ 223 w 453"/>
              <a:gd name="T77" fmla="*/ 414 h 452"/>
              <a:gd name="T78" fmla="*/ 239 w 453"/>
              <a:gd name="T79" fmla="*/ 451 h 452"/>
              <a:gd name="T80" fmla="*/ 288 w 453"/>
              <a:gd name="T81" fmla="*/ 435 h 452"/>
              <a:gd name="T82" fmla="*/ 291 w 453"/>
              <a:gd name="T83" fmla="*/ 395 h 452"/>
              <a:gd name="T84" fmla="*/ 311 w 453"/>
              <a:gd name="T85" fmla="*/ 394 h 452"/>
              <a:gd name="T86" fmla="*/ 343 w 453"/>
              <a:gd name="T87" fmla="*/ 420 h 452"/>
              <a:gd name="T88" fmla="*/ 379 w 453"/>
              <a:gd name="T89" fmla="*/ 382 h 452"/>
              <a:gd name="T90" fmla="*/ 362 w 453"/>
              <a:gd name="T91" fmla="*/ 345 h 452"/>
              <a:gd name="T92" fmla="*/ 384 w 453"/>
              <a:gd name="T93" fmla="*/ 329 h 452"/>
              <a:gd name="T94" fmla="*/ 424 w 453"/>
              <a:gd name="T95" fmla="*/ 335 h 452"/>
              <a:gd name="T96" fmla="*/ 325 w 453"/>
              <a:gd name="T97" fmla="*/ 355 h 452"/>
              <a:gd name="T98" fmla="*/ 131 w 453"/>
              <a:gd name="T99" fmla="*/ 92 h 452"/>
              <a:gd name="T100" fmla="*/ 325 w 453"/>
              <a:gd name="T101" fmla="*/ 3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3" h="452">
                <a:moveTo>
                  <a:pt x="441" y="297"/>
                </a:moveTo>
                <a:cubicBezTo>
                  <a:pt x="443" y="292"/>
                  <a:pt x="441" y="286"/>
                  <a:pt x="436" y="284"/>
                </a:cubicBezTo>
                <a:cubicBezTo>
                  <a:pt x="409" y="271"/>
                  <a:pt x="409" y="271"/>
                  <a:pt x="409" y="271"/>
                </a:cubicBezTo>
                <a:cubicBezTo>
                  <a:pt x="406" y="269"/>
                  <a:pt x="403" y="265"/>
                  <a:pt x="404" y="261"/>
                </a:cubicBezTo>
                <a:cubicBezTo>
                  <a:pt x="406" y="253"/>
                  <a:pt x="407" y="246"/>
                  <a:pt x="408" y="238"/>
                </a:cubicBezTo>
                <a:cubicBezTo>
                  <a:pt x="408" y="234"/>
                  <a:pt x="411" y="230"/>
                  <a:pt x="415" y="230"/>
                </a:cubicBezTo>
                <a:cubicBezTo>
                  <a:pt x="444" y="224"/>
                  <a:pt x="444" y="224"/>
                  <a:pt x="444" y="224"/>
                </a:cubicBezTo>
                <a:cubicBezTo>
                  <a:pt x="449" y="223"/>
                  <a:pt x="453" y="218"/>
                  <a:pt x="452" y="213"/>
                </a:cubicBezTo>
                <a:cubicBezTo>
                  <a:pt x="446" y="172"/>
                  <a:pt x="446" y="172"/>
                  <a:pt x="446" y="172"/>
                </a:cubicBezTo>
                <a:cubicBezTo>
                  <a:pt x="445" y="167"/>
                  <a:pt x="440" y="164"/>
                  <a:pt x="435" y="164"/>
                </a:cubicBezTo>
                <a:cubicBezTo>
                  <a:pt x="407" y="167"/>
                  <a:pt x="407" y="167"/>
                  <a:pt x="407" y="167"/>
                </a:cubicBezTo>
                <a:cubicBezTo>
                  <a:pt x="403" y="168"/>
                  <a:pt x="399" y="165"/>
                  <a:pt x="397" y="161"/>
                </a:cubicBezTo>
                <a:cubicBezTo>
                  <a:pt x="396" y="158"/>
                  <a:pt x="395" y="154"/>
                  <a:pt x="394" y="151"/>
                </a:cubicBezTo>
                <a:cubicBezTo>
                  <a:pt x="392" y="147"/>
                  <a:pt x="393" y="143"/>
                  <a:pt x="396" y="140"/>
                </a:cubicBezTo>
                <a:cubicBezTo>
                  <a:pt x="419" y="122"/>
                  <a:pt x="419" y="122"/>
                  <a:pt x="419" y="122"/>
                </a:cubicBezTo>
                <a:cubicBezTo>
                  <a:pt x="423" y="119"/>
                  <a:pt x="423" y="113"/>
                  <a:pt x="420" y="109"/>
                </a:cubicBezTo>
                <a:cubicBezTo>
                  <a:pt x="396" y="76"/>
                  <a:pt x="396" y="76"/>
                  <a:pt x="396" y="76"/>
                </a:cubicBezTo>
                <a:cubicBezTo>
                  <a:pt x="393" y="72"/>
                  <a:pt x="387" y="71"/>
                  <a:pt x="383" y="73"/>
                </a:cubicBezTo>
                <a:cubicBezTo>
                  <a:pt x="360" y="89"/>
                  <a:pt x="360" y="89"/>
                  <a:pt x="360" y="89"/>
                </a:cubicBezTo>
                <a:cubicBezTo>
                  <a:pt x="357" y="91"/>
                  <a:pt x="352" y="91"/>
                  <a:pt x="349" y="88"/>
                </a:cubicBezTo>
                <a:cubicBezTo>
                  <a:pt x="344" y="84"/>
                  <a:pt x="339" y="80"/>
                  <a:pt x="334" y="76"/>
                </a:cubicBezTo>
                <a:cubicBezTo>
                  <a:pt x="331" y="73"/>
                  <a:pt x="329" y="69"/>
                  <a:pt x="331" y="65"/>
                </a:cubicBezTo>
                <a:cubicBezTo>
                  <a:pt x="340" y="40"/>
                  <a:pt x="340" y="40"/>
                  <a:pt x="340" y="40"/>
                </a:cubicBezTo>
                <a:cubicBezTo>
                  <a:pt x="342" y="35"/>
                  <a:pt x="340" y="30"/>
                  <a:pt x="335" y="28"/>
                </a:cubicBezTo>
                <a:cubicBezTo>
                  <a:pt x="297" y="12"/>
                  <a:pt x="297" y="12"/>
                  <a:pt x="297" y="12"/>
                </a:cubicBezTo>
                <a:cubicBezTo>
                  <a:pt x="293" y="9"/>
                  <a:pt x="287" y="11"/>
                  <a:pt x="285" y="16"/>
                </a:cubicBezTo>
                <a:cubicBezTo>
                  <a:pt x="274" y="39"/>
                  <a:pt x="274" y="39"/>
                  <a:pt x="274" y="39"/>
                </a:cubicBezTo>
                <a:cubicBezTo>
                  <a:pt x="272" y="43"/>
                  <a:pt x="268" y="45"/>
                  <a:pt x="263" y="44"/>
                </a:cubicBezTo>
                <a:cubicBezTo>
                  <a:pt x="255" y="42"/>
                  <a:pt x="247" y="41"/>
                  <a:pt x="238" y="41"/>
                </a:cubicBezTo>
                <a:cubicBezTo>
                  <a:pt x="234" y="40"/>
                  <a:pt x="230" y="37"/>
                  <a:pt x="229" y="33"/>
                </a:cubicBezTo>
                <a:cubicBezTo>
                  <a:pt x="225" y="8"/>
                  <a:pt x="225" y="8"/>
                  <a:pt x="225" y="8"/>
                </a:cubicBezTo>
                <a:cubicBezTo>
                  <a:pt x="224" y="3"/>
                  <a:pt x="219" y="0"/>
                  <a:pt x="214" y="0"/>
                </a:cubicBezTo>
                <a:cubicBezTo>
                  <a:pt x="173" y="7"/>
                  <a:pt x="173" y="7"/>
                  <a:pt x="173" y="7"/>
                </a:cubicBezTo>
                <a:cubicBezTo>
                  <a:pt x="168" y="7"/>
                  <a:pt x="164" y="12"/>
                  <a:pt x="165" y="17"/>
                </a:cubicBezTo>
                <a:cubicBezTo>
                  <a:pt x="168" y="41"/>
                  <a:pt x="168" y="41"/>
                  <a:pt x="168" y="41"/>
                </a:cubicBezTo>
                <a:cubicBezTo>
                  <a:pt x="168" y="46"/>
                  <a:pt x="165" y="50"/>
                  <a:pt x="161" y="51"/>
                </a:cubicBezTo>
                <a:cubicBezTo>
                  <a:pt x="158" y="53"/>
                  <a:pt x="154" y="54"/>
                  <a:pt x="150" y="56"/>
                </a:cubicBezTo>
                <a:cubicBezTo>
                  <a:pt x="146" y="58"/>
                  <a:pt x="141" y="57"/>
                  <a:pt x="139" y="53"/>
                </a:cubicBezTo>
                <a:cubicBezTo>
                  <a:pt x="123" y="34"/>
                  <a:pt x="123" y="34"/>
                  <a:pt x="123" y="34"/>
                </a:cubicBezTo>
                <a:cubicBezTo>
                  <a:pt x="120" y="30"/>
                  <a:pt x="114" y="29"/>
                  <a:pt x="110" y="32"/>
                </a:cubicBezTo>
                <a:cubicBezTo>
                  <a:pt x="77" y="57"/>
                  <a:pt x="77" y="57"/>
                  <a:pt x="77" y="57"/>
                </a:cubicBezTo>
                <a:cubicBezTo>
                  <a:pt x="73" y="60"/>
                  <a:pt x="72" y="66"/>
                  <a:pt x="75" y="70"/>
                </a:cubicBezTo>
                <a:cubicBezTo>
                  <a:pt x="88" y="90"/>
                  <a:pt x="88" y="90"/>
                  <a:pt x="88" y="90"/>
                </a:cubicBezTo>
                <a:cubicBezTo>
                  <a:pt x="91" y="94"/>
                  <a:pt x="90" y="99"/>
                  <a:pt x="87" y="102"/>
                </a:cubicBezTo>
                <a:cubicBezTo>
                  <a:pt x="83" y="107"/>
                  <a:pt x="79" y="112"/>
                  <a:pt x="75" y="117"/>
                </a:cubicBezTo>
                <a:cubicBezTo>
                  <a:pt x="73" y="121"/>
                  <a:pt x="68" y="122"/>
                  <a:pt x="64" y="121"/>
                </a:cubicBezTo>
                <a:cubicBezTo>
                  <a:pt x="41" y="112"/>
                  <a:pt x="41" y="112"/>
                  <a:pt x="41" y="112"/>
                </a:cubicBezTo>
                <a:cubicBezTo>
                  <a:pt x="36" y="110"/>
                  <a:pt x="31" y="112"/>
                  <a:pt x="29" y="117"/>
                </a:cubicBezTo>
                <a:cubicBezTo>
                  <a:pt x="12" y="155"/>
                  <a:pt x="12" y="155"/>
                  <a:pt x="12" y="155"/>
                </a:cubicBezTo>
                <a:cubicBezTo>
                  <a:pt x="10" y="160"/>
                  <a:pt x="12" y="165"/>
                  <a:pt x="17" y="167"/>
                </a:cubicBezTo>
                <a:cubicBezTo>
                  <a:pt x="40" y="178"/>
                  <a:pt x="40" y="178"/>
                  <a:pt x="40" y="178"/>
                </a:cubicBezTo>
                <a:cubicBezTo>
                  <a:pt x="43" y="180"/>
                  <a:pt x="46" y="184"/>
                  <a:pt x="45" y="189"/>
                </a:cubicBezTo>
                <a:cubicBezTo>
                  <a:pt x="43" y="197"/>
                  <a:pt x="42" y="205"/>
                  <a:pt x="42" y="214"/>
                </a:cubicBezTo>
                <a:cubicBezTo>
                  <a:pt x="41" y="218"/>
                  <a:pt x="38" y="222"/>
                  <a:pt x="34" y="223"/>
                </a:cubicBezTo>
                <a:cubicBezTo>
                  <a:pt x="9" y="228"/>
                  <a:pt x="9" y="228"/>
                  <a:pt x="9" y="228"/>
                </a:cubicBezTo>
                <a:cubicBezTo>
                  <a:pt x="4" y="228"/>
                  <a:pt x="0" y="233"/>
                  <a:pt x="1" y="238"/>
                </a:cubicBezTo>
                <a:cubicBezTo>
                  <a:pt x="7" y="279"/>
                  <a:pt x="7" y="279"/>
                  <a:pt x="7" y="279"/>
                </a:cubicBezTo>
                <a:cubicBezTo>
                  <a:pt x="8" y="284"/>
                  <a:pt x="13" y="288"/>
                  <a:pt x="18" y="287"/>
                </a:cubicBezTo>
                <a:cubicBezTo>
                  <a:pt x="44" y="284"/>
                  <a:pt x="44" y="284"/>
                  <a:pt x="44" y="284"/>
                </a:cubicBezTo>
                <a:cubicBezTo>
                  <a:pt x="48" y="284"/>
                  <a:pt x="52" y="286"/>
                  <a:pt x="54" y="290"/>
                </a:cubicBezTo>
                <a:cubicBezTo>
                  <a:pt x="55" y="294"/>
                  <a:pt x="57" y="297"/>
                  <a:pt x="58" y="301"/>
                </a:cubicBezTo>
                <a:cubicBezTo>
                  <a:pt x="60" y="305"/>
                  <a:pt x="59" y="309"/>
                  <a:pt x="56" y="312"/>
                </a:cubicBezTo>
                <a:cubicBezTo>
                  <a:pt x="35" y="329"/>
                  <a:pt x="35" y="329"/>
                  <a:pt x="35" y="329"/>
                </a:cubicBezTo>
                <a:cubicBezTo>
                  <a:pt x="31" y="332"/>
                  <a:pt x="30" y="338"/>
                  <a:pt x="33" y="342"/>
                </a:cubicBezTo>
                <a:cubicBezTo>
                  <a:pt x="58" y="375"/>
                  <a:pt x="58" y="375"/>
                  <a:pt x="58" y="375"/>
                </a:cubicBezTo>
                <a:cubicBezTo>
                  <a:pt x="61" y="379"/>
                  <a:pt x="66" y="380"/>
                  <a:pt x="71" y="378"/>
                </a:cubicBezTo>
                <a:cubicBezTo>
                  <a:pt x="94" y="362"/>
                  <a:pt x="94" y="362"/>
                  <a:pt x="94" y="362"/>
                </a:cubicBezTo>
                <a:cubicBezTo>
                  <a:pt x="97" y="360"/>
                  <a:pt x="102" y="360"/>
                  <a:pt x="105" y="363"/>
                </a:cubicBezTo>
                <a:cubicBezTo>
                  <a:pt x="110" y="367"/>
                  <a:pt x="115" y="370"/>
                  <a:pt x="119" y="374"/>
                </a:cubicBezTo>
                <a:cubicBezTo>
                  <a:pt x="123" y="376"/>
                  <a:pt x="124" y="381"/>
                  <a:pt x="123" y="385"/>
                </a:cubicBezTo>
                <a:cubicBezTo>
                  <a:pt x="113" y="411"/>
                  <a:pt x="113" y="411"/>
                  <a:pt x="113" y="411"/>
                </a:cubicBezTo>
                <a:cubicBezTo>
                  <a:pt x="111" y="416"/>
                  <a:pt x="113" y="421"/>
                  <a:pt x="118" y="423"/>
                </a:cubicBezTo>
                <a:cubicBezTo>
                  <a:pt x="156" y="440"/>
                  <a:pt x="156" y="440"/>
                  <a:pt x="156" y="440"/>
                </a:cubicBezTo>
                <a:cubicBezTo>
                  <a:pt x="160" y="442"/>
                  <a:pt x="166" y="440"/>
                  <a:pt x="168" y="435"/>
                </a:cubicBezTo>
                <a:cubicBezTo>
                  <a:pt x="181" y="409"/>
                  <a:pt x="181" y="409"/>
                  <a:pt x="181" y="409"/>
                </a:cubicBezTo>
                <a:cubicBezTo>
                  <a:pt x="183" y="405"/>
                  <a:pt x="187" y="403"/>
                  <a:pt x="191" y="404"/>
                </a:cubicBezTo>
                <a:cubicBezTo>
                  <a:pt x="199" y="405"/>
                  <a:pt x="206" y="406"/>
                  <a:pt x="214" y="406"/>
                </a:cubicBezTo>
                <a:cubicBezTo>
                  <a:pt x="218" y="407"/>
                  <a:pt x="222" y="410"/>
                  <a:pt x="223" y="414"/>
                </a:cubicBezTo>
                <a:cubicBezTo>
                  <a:pt x="228" y="443"/>
                  <a:pt x="228" y="443"/>
                  <a:pt x="228" y="443"/>
                </a:cubicBezTo>
                <a:cubicBezTo>
                  <a:pt x="229" y="448"/>
                  <a:pt x="234" y="452"/>
                  <a:pt x="239" y="451"/>
                </a:cubicBezTo>
                <a:cubicBezTo>
                  <a:pt x="280" y="445"/>
                  <a:pt x="280" y="445"/>
                  <a:pt x="280" y="445"/>
                </a:cubicBezTo>
                <a:cubicBezTo>
                  <a:pt x="285" y="444"/>
                  <a:pt x="289" y="440"/>
                  <a:pt x="288" y="435"/>
                </a:cubicBezTo>
                <a:cubicBezTo>
                  <a:pt x="285" y="405"/>
                  <a:pt x="285" y="405"/>
                  <a:pt x="285" y="405"/>
                </a:cubicBezTo>
                <a:cubicBezTo>
                  <a:pt x="284" y="400"/>
                  <a:pt x="287" y="396"/>
                  <a:pt x="291" y="395"/>
                </a:cubicBezTo>
                <a:cubicBezTo>
                  <a:pt x="294" y="393"/>
                  <a:pt x="297" y="392"/>
                  <a:pt x="300" y="391"/>
                </a:cubicBezTo>
                <a:cubicBezTo>
                  <a:pt x="303" y="389"/>
                  <a:pt x="308" y="391"/>
                  <a:pt x="311" y="394"/>
                </a:cubicBezTo>
                <a:cubicBezTo>
                  <a:pt x="330" y="418"/>
                  <a:pt x="330" y="418"/>
                  <a:pt x="330" y="418"/>
                </a:cubicBezTo>
                <a:cubicBezTo>
                  <a:pt x="333" y="422"/>
                  <a:pt x="339" y="423"/>
                  <a:pt x="343" y="420"/>
                </a:cubicBezTo>
                <a:cubicBezTo>
                  <a:pt x="376" y="395"/>
                  <a:pt x="376" y="395"/>
                  <a:pt x="376" y="395"/>
                </a:cubicBezTo>
                <a:cubicBezTo>
                  <a:pt x="381" y="392"/>
                  <a:pt x="382" y="386"/>
                  <a:pt x="379" y="382"/>
                </a:cubicBezTo>
                <a:cubicBezTo>
                  <a:pt x="362" y="357"/>
                  <a:pt x="362" y="357"/>
                  <a:pt x="362" y="357"/>
                </a:cubicBezTo>
                <a:cubicBezTo>
                  <a:pt x="359" y="353"/>
                  <a:pt x="360" y="348"/>
                  <a:pt x="362" y="345"/>
                </a:cubicBezTo>
                <a:cubicBezTo>
                  <a:pt x="366" y="341"/>
                  <a:pt x="369" y="337"/>
                  <a:pt x="373" y="332"/>
                </a:cubicBezTo>
                <a:cubicBezTo>
                  <a:pt x="375" y="329"/>
                  <a:pt x="380" y="327"/>
                  <a:pt x="384" y="329"/>
                </a:cubicBezTo>
                <a:cubicBezTo>
                  <a:pt x="412" y="340"/>
                  <a:pt x="412" y="340"/>
                  <a:pt x="412" y="340"/>
                </a:cubicBezTo>
                <a:cubicBezTo>
                  <a:pt x="417" y="342"/>
                  <a:pt x="422" y="339"/>
                  <a:pt x="424" y="335"/>
                </a:cubicBezTo>
                <a:lnTo>
                  <a:pt x="441" y="297"/>
                </a:lnTo>
                <a:close/>
                <a:moveTo>
                  <a:pt x="325" y="355"/>
                </a:moveTo>
                <a:cubicBezTo>
                  <a:pt x="252" y="409"/>
                  <a:pt x="149" y="393"/>
                  <a:pt x="96" y="320"/>
                </a:cubicBezTo>
                <a:cubicBezTo>
                  <a:pt x="43" y="247"/>
                  <a:pt x="58" y="145"/>
                  <a:pt x="131" y="92"/>
                </a:cubicBezTo>
                <a:cubicBezTo>
                  <a:pt x="204" y="38"/>
                  <a:pt x="306" y="54"/>
                  <a:pt x="360" y="127"/>
                </a:cubicBezTo>
                <a:cubicBezTo>
                  <a:pt x="413" y="200"/>
                  <a:pt x="398" y="302"/>
                  <a:pt x="325" y="355"/>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062" name="Freeform 85"/>
          <p:cNvSpPr>
            <a:spLocks noEditPoints="1"/>
          </p:cNvSpPr>
          <p:nvPr/>
        </p:nvSpPr>
        <p:spPr bwMode="auto">
          <a:xfrm>
            <a:off x="7550150" y="4329113"/>
            <a:ext cx="879475" cy="882650"/>
          </a:xfrm>
          <a:custGeom>
            <a:avLst/>
            <a:gdLst>
              <a:gd name="T0" fmla="*/ 317 w 370"/>
              <a:gd name="T1" fmla="*/ 89 h 371"/>
              <a:gd name="T2" fmla="*/ 88 w 370"/>
              <a:gd name="T3" fmla="*/ 54 h 371"/>
              <a:gd name="T4" fmla="*/ 53 w 370"/>
              <a:gd name="T5" fmla="*/ 282 h 371"/>
              <a:gd name="T6" fmla="*/ 282 w 370"/>
              <a:gd name="T7" fmla="*/ 317 h 371"/>
              <a:gd name="T8" fmla="*/ 317 w 370"/>
              <a:gd name="T9" fmla="*/ 89 h 371"/>
              <a:gd name="T10" fmla="*/ 274 w 370"/>
              <a:gd name="T11" fmla="*/ 307 h 371"/>
              <a:gd name="T12" fmla="*/ 64 w 370"/>
              <a:gd name="T13" fmla="*/ 275 h 371"/>
              <a:gd name="T14" fmla="*/ 96 w 370"/>
              <a:gd name="T15" fmla="*/ 64 h 371"/>
              <a:gd name="T16" fmla="*/ 306 w 370"/>
              <a:gd name="T17" fmla="*/ 97 h 371"/>
              <a:gd name="T18" fmla="*/ 274 w 370"/>
              <a:gd name="T19" fmla="*/ 30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0" h="371">
                <a:moveTo>
                  <a:pt x="317" y="89"/>
                </a:moveTo>
                <a:cubicBezTo>
                  <a:pt x="263" y="16"/>
                  <a:pt x="161" y="0"/>
                  <a:pt x="88" y="54"/>
                </a:cubicBezTo>
                <a:cubicBezTo>
                  <a:pt x="15" y="107"/>
                  <a:pt x="0" y="209"/>
                  <a:pt x="53" y="282"/>
                </a:cubicBezTo>
                <a:cubicBezTo>
                  <a:pt x="106" y="355"/>
                  <a:pt x="209" y="371"/>
                  <a:pt x="282" y="317"/>
                </a:cubicBezTo>
                <a:cubicBezTo>
                  <a:pt x="355" y="264"/>
                  <a:pt x="370" y="162"/>
                  <a:pt x="317" y="89"/>
                </a:cubicBezTo>
                <a:close/>
                <a:moveTo>
                  <a:pt x="274" y="307"/>
                </a:moveTo>
                <a:cubicBezTo>
                  <a:pt x="207" y="356"/>
                  <a:pt x="113" y="342"/>
                  <a:pt x="64" y="275"/>
                </a:cubicBezTo>
                <a:cubicBezTo>
                  <a:pt x="14" y="208"/>
                  <a:pt x="29" y="113"/>
                  <a:pt x="96" y="64"/>
                </a:cubicBezTo>
                <a:cubicBezTo>
                  <a:pt x="163" y="15"/>
                  <a:pt x="257" y="30"/>
                  <a:pt x="306" y="97"/>
                </a:cubicBezTo>
                <a:cubicBezTo>
                  <a:pt x="355" y="164"/>
                  <a:pt x="341" y="258"/>
                  <a:pt x="274" y="30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91143" name="Freeform 86"/>
          <p:cNvSpPr>
            <a:spLocks noEditPoints="1"/>
          </p:cNvSpPr>
          <p:nvPr/>
        </p:nvSpPr>
        <p:spPr bwMode="auto">
          <a:xfrm>
            <a:off x="6149975" y="1512888"/>
            <a:ext cx="1516063" cy="1514475"/>
          </a:xfrm>
          <a:custGeom>
            <a:avLst/>
            <a:gdLst>
              <a:gd name="T0" fmla="*/ 1298840 w 637"/>
              <a:gd name="T1" fmla="*/ 361582 h 637"/>
              <a:gd name="T2" fmla="*/ 363961 w 637"/>
              <a:gd name="T3" fmla="*/ 218852 h 637"/>
              <a:gd name="T4" fmla="*/ 218852 w 637"/>
              <a:gd name="T5" fmla="*/ 1153730 h 637"/>
              <a:gd name="T6" fmla="*/ 1153731 w 637"/>
              <a:gd name="T7" fmla="*/ 1296460 h 637"/>
              <a:gd name="T8" fmla="*/ 1298840 w 637"/>
              <a:gd name="T9" fmla="*/ 361582 h 637"/>
              <a:gd name="T10" fmla="*/ 1070472 w 637"/>
              <a:gd name="T11" fmla="*/ 1182276 h 637"/>
              <a:gd name="T12" fmla="*/ 335415 w 637"/>
              <a:gd name="T13" fmla="*/ 1068093 h 637"/>
              <a:gd name="T14" fmla="*/ 447220 w 637"/>
              <a:gd name="T15" fmla="*/ 333036 h 637"/>
              <a:gd name="T16" fmla="*/ 1182277 w 637"/>
              <a:gd name="T17" fmla="*/ 447219 h 637"/>
              <a:gd name="T18" fmla="*/ 1070472 w 637"/>
              <a:gd name="T19" fmla="*/ 1182276 h 6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37" h="637">
                <a:moveTo>
                  <a:pt x="546" y="152"/>
                </a:moveTo>
                <a:cubicBezTo>
                  <a:pt x="454" y="27"/>
                  <a:pt x="278" y="0"/>
                  <a:pt x="153" y="92"/>
                </a:cubicBezTo>
                <a:cubicBezTo>
                  <a:pt x="27" y="184"/>
                  <a:pt x="0" y="360"/>
                  <a:pt x="92" y="485"/>
                </a:cubicBezTo>
                <a:cubicBezTo>
                  <a:pt x="184" y="610"/>
                  <a:pt x="360" y="637"/>
                  <a:pt x="485" y="545"/>
                </a:cubicBezTo>
                <a:cubicBezTo>
                  <a:pt x="610" y="453"/>
                  <a:pt x="637" y="277"/>
                  <a:pt x="546" y="152"/>
                </a:cubicBezTo>
                <a:close/>
                <a:moveTo>
                  <a:pt x="450" y="497"/>
                </a:moveTo>
                <a:cubicBezTo>
                  <a:pt x="351" y="569"/>
                  <a:pt x="213" y="548"/>
                  <a:pt x="141" y="449"/>
                </a:cubicBezTo>
                <a:cubicBezTo>
                  <a:pt x="69" y="351"/>
                  <a:pt x="90" y="213"/>
                  <a:pt x="188" y="140"/>
                </a:cubicBezTo>
                <a:cubicBezTo>
                  <a:pt x="287" y="68"/>
                  <a:pt x="425" y="90"/>
                  <a:pt x="497" y="188"/>
                </a:cubicBezTo>
                <a:cubicBezTo>
                  <a:pt x="569" y="286"/>
                  <a:pt x="548" y="424"/>
                  <a:pt x="450" y="497"/>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064" name="Freeform 87"/>
          <p:cNvSpPr>
            <a:spLocks noEditPoints="1"/>
          </p:cNvSpPr>
          <p:nvPr/>
        </p:nvSpPr>
        <p:spPr bwMode="auto">
          <a:xfrm>
            <a:off x="7246938" y="3941763"/>
            <a:ext cx="449262" cy="452437"/>
          </a:xfrm>
          <a:custGeom>
            <a:avLst/>
            <a:gdLst>
              <a:gd name="T0" fmla="*/ 143 w 189"/>
              <a:gd name="T1" fmla="*/ 160 h 190"/>
              <a:gd name="T2" fmla="*/ 160 w 189"/>
              <a:gd name="T3" fmla="*/ 163 h 190"/>
              <a:gd name="T4" fmla="*/ 161 w 189"/>
              <a:gd name="T5" fmla="*/ 153 h 190"/>
              <a:gd name="T6" fmla="*/ 171 w 189"/>
              <a:gd name="T7" fmla="*/ 143 h 190"/>
              <a:gd name="T8" fmla="*/ 177 w 189"/>
              <a:gd name="T9" fmla="*/ 133 h 190"/>
              <a:gd name="T10" fmla="*/ 175 w 189"/>
              <a:gd name="T11" fmla="*/ 118 h 190"/>
              <a:gd name="T12" fmla="*/ 188 w 189"/>
              <a:gd name="T13" fmla="*/ 113 h 190"/>
              <a:gd name="T14" fmla="*/ 175 w 189"/>
              <a:gd name="T15" fmla="*/ 101 h 190"/>
              <a:gd name="T16" fmla="*/ 189 w 189"/>
              <a:gd name="T17" fmla="*/ 90 h 190"/>
              <a:gd name="T18" fmla="*/ 182 w 189"/>
              <a:gd name="T19" fmla="*/ 83 h 190"/>
              <a:gd name="T20" fmla="*/ 181 w 189"/>
              <a:gd name="T21" fmla="*/ 69 h 190"/>
              <a:gd name="T22" fmla="*/ 177 w 189"/>
              <a:gd name="T23" fmla="*/ 58 h 190"/>
              <a:gd name="T24" fmla="*/ 168 w 189"/>
              <a:gd name="T25" fmla="*/ 47 h 190"/>
              <a:gd name="T26" fmla="*/ 169 w 189"/>
              <a:gd name="T27" fmla="*/ 37 h 190"/>
              <a:gd name="T28" fmla="*/ 152 w 189"/>
              <a:gd name="T29" fmla="*/ 38 h 190"/>
              <a:gd name="T30" fmla="*/ 153 w 189"/>
              <a:gd name="T31" fmla="*/ 20 h 190"/>
              <a:gd name="T32" fmla="*/ 142 w 189"/>
              <a:gd name="T33" fmla="*/ 21 h 190"/>
              <a:gd name="T34" fmla="*/ 131 w 189"/>
              <a:gd name="T35" fmla="*/ 13 h 190"/>
              <a:gd name="T36" fmla="*/ 120 w 189"/>
              <a:gd name="T37" fmla="*/ 9 h 190"/>
              <a:gd name="T38" fmla="*/ 106 w 189"/>
              <a:gd name="T39" fmla="*/ 8 h 190"/>
              <a:gd name="T40" fmla="*/ 99 w 189"/>
              <a:gd name="T41" fmla="*/ 1 h 190"/>
              <a:gd name="T42" fmla="*/ 88 w 189"/>
              <a:gd name="T43" fmla="*/ 15 h 190"/>
              <a:gd name="T44" fmla="*/ 76 w 189"/>
              <a:gd name="T45" fmla="*/ 2 h 190"/>
              <a:gd name="T46" fmla="*/ 70 w 189"/>
              <a:gd name="T47" fmla="*/ 11 h 190"/>
              <a:gd name="T48" fmla="*/ 57 w 189"/>
              <a:gd name="T49" fmla="*/ 14 h 190"/>
              <a:gd name="T50" fmla="*/ 47 w 189"/>
              <a:gd name="T51" fmla="*/ 13 h 190"/>
              <a:gd name="T52" fmla="*/ 46 w 189"/>
              <a:gd name="T53" fmla="*/ 31 h 190"/>
              <a:gd name="T54" fmla="*/ 29 w 189"/>
              <a:gd name="T55" fmla="*/ 27 h 190"/>
              <a:gd name="T56" fmla="*/ 28 w 189"/>
              <a:gd name="T57" fmla="*/ 38 h 190"/>
              <a:gd name="T58" fmla="*/ 18 w 189"/>
              <a:gd name="T59" fmla="*/ 47 h 190"/>
              <a:gd name="T60" fmla="*/ 13 w 189"/>
              <a:gd name="T61" fmla="*/ 58 h 190"/>
              <a:gd name="T62" fmla="*/ 14 w 189"/>
              <a:gd name="T63" fmla="*/ 73 h 190"/>
              <a:gd name="T64" fmla="*/ 2 w 189"/>
              <a:gd name="T65" fmla="*/ 77 h 190"/>
              <a:gd name="T66" fmla="*/ 14 w 189"/>
              <a:gd name="T67" fmla="*/ 89 h 190"/>
              <a:gd name="T68" fmla="*/ 0 w 189"/>
              <a:gd name="T69" fmla="*/ 100 h 190"/>
              <a:gd name="T70" fmla="*/ 7 w 189"/>
              <a:gd name="T71" fmla="*/ 108 h 190"/>
              <a:gd name="T72" fmla="*/ 8 w 189"/>
              <a:gd name="T73" fmla="*/ 121 h 190"/>
              <a:gd name="T74" fmla="*/ 13 w 189"/>
              <a:gd name="T75" fmla="*/ 133 h 190"/>
              <a:gd name="T76" fmla="*/ 21 w 189"/>
              <a:gd name="T77" fmla="*/ 144 h 190"/>
              <a:gd name="T78" fmla="*/ 20 w 189"/>
              <a:gd name="T79" fmla="*/ 154 h 190"/>
              <a:gd name="T80" fmla="*/ 37 w 189"/>
              <a:gd name="T81" fmla="*/ 152 h 190"/>
              <a:gd name="T82" fmla="*/ 37 w 189"/>
              <a:gd name="T83" fmla="*/ 170 h 190"/>
              <a:gd name="T84" fmla="*/ 47 w 189"/>
              <a:gd name="T85" fmla="*/ 169 h 190"/>
              <a:gd name="T86" fmla="*/ 58 w 189"/>
              <a:gd name="T87" fmla="*/ 177 h 190"/>
              <a:gd name="T88" fmla="*/ 69 w 189"/>
              <a:gd name="T89" fmla="*/ 182 h 190"/>
              <a:gd name="T90" fmla="*/ 83 w 189"/>
              <a:gd name="T91" fmla="*/ 183 h 190"/>
              <a:gd name="T92" fmla="*/ 90 w 189"/>
              <a:gd name="T93" fmla="*/ 190 h 190"/>
              <a:gd name="T94" fmla="*/ 101 w 189"/>
              <a:gd name="T95" fmla="*/ 176 h 190"/>
              <a:gd name="T96" fmla="*/ 113 w 189"/>
              <a:gd name="T97" fmla="*/ 188 h 190"/>
              <a:gd name="T98" fmla="*/ 119 w 189"/>
              <a:gd name="T99" fmla="*/ 180 h 190"/>
              <a:gd name="T100" fmla="*/ 133 w 189"/>
              <a:gd name="T101" fmla="*/ 177 h 190"/>
              <a:gd name="T102" fmla="*/ 142 w 189"/>
              <a:gd name="T103" fmla="*/ 177 h 190"/>
              <a:gd name="T104" fmla="*/ 80 w 189"/>
              <a:gd name="T105" fmla="*/ 66 h 190"/>
              <a:gd name="T106" fmla="*/ 78 w 189"/>
              <a:gd name="T107" fmla="*/ 74 h 190"/>
              <a:gd name="T108" fmla="*/ 113 w 189"/>
              <a:gd name="T109" fmla="*/ 85 h 190"/>
              <a:gd name="T110" fmla="*/ 66 w 189"/>
              <a:gd name="T111" fmla="*/ 109 h 190"/>
              <a:gd name="T112" fmla="*/ 74 w 189"/>
              <a:gd name="T113" fmla="*/ 112 h 190"/>
              <a:gd name="T114" fmla="*/ 88 w 189"/>
              <a:gd name="T115" fmla="*/ 82 h 190"/>
              <a:gd name="T116" fmla="*/ 81 w 189"/>
              <a:gd name="T117" fmla="*/ 102 h 190"/>
              <a:gd name="T118" fmla="*/ 112 w 189"/>
              <a:gd name="T119" fmla="*/ 11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9" h="190">
                <a:moveTo>
                  <a:pt x="143" y="171"/>
                </a:moveTo>
                <a:cubicBezTo>
                  <a:pt x="142" y="169"/>
                  <a:pt x="142" y="169"/>
                  <a:pt x="142" y="169"/>
                </a:cubicBezTo>
                <a:cubicBezTo>
                  <a:pt x="140" y="167"/>
                  <a:pt x="140" y="163"/>
                  <a:pt x="143" y="160"/>
                </a:cubicBezTo>
                <a:cubicBezTo>
                  <a:pt x="146" y="157"/>
                  <a:pt x="150" y="158"/>
                  <a:pt x="153" y="161"/>
                </a:cubicBezTo>
                <a:cubicBezTo>
                  <a:pt x="154" y="163"/>
                  <a:pt x="154" y="163"/>
                  <a:pt x="154" y="163"/>
                </a:cubicBezTo>
                <a:cubicBezTo>
                  <a:pt x="156" y="165"/>
                  <a:pt x="159" y="165"/>
                  <a:pt x="160" y="163"/>
                </a:cubicBezTo>
                <a:cubicBezTo>
                  <a:pt x="161" y="162"/>
                  <a:pt x="162" y="162"/>
                  <a:pt x="163" y="161"/>
                </a:cubicBezTo>
                <a:cubicBezTo>
                  <a:pt x="165" y="159"/>
                  <a:pt x="165" y="156"/>
                  <a:pt x="163" y="154"/>
                </a:cubicBezTo>
                <a:cubicBezTo>
                  <a:pt x="161" y="153"/>
                  <a:pt x="161" y="153"/>
                  <a:pt x="161" y="153"/>
                </a:cubicBezTo>
                <a:cubicBezTo>
                  <a:pt x="158" y="151"/>
                  <a:pt x="157" y="147"/>
                  <a:pt x="159" y="144"/>
                </a:cubicBezTo>
                <a:cubicBezTo>
                  <a:pt x="161" y="140"/>
                  <a:pt x="166" y="140"/>
                  <a:pt x="169" y="142"/>
                </a:cubicBezTo>
                <a:cubicBezTo>
                  <a:pt x="171" y="143"/>
                  <a:pt x="171" y="143"/>
                  <a:pt x="171" y="143"/>
                </a:cubicBezTo>
                <a:cubicBezTo>
                  <a:pt x="173" y="145"/>
                  <a:pt x="176" y="144"/>
                  <a:pt x="177" y="142"/>
                </a:cubicBezTo>
                <a:cubicBezTo>
                  <a:pt x="178" y="141"/>
                  <a:pt x="178" y="140"/>
                  <a:pt x="179" y="139"/>
                </a:cubicBezTo>
                <a:cubicBezTo>
                  <a:pt x="180" y="136"/>
                  <a:pt x="179" y="134"/>
                  <a:pt x="177" y="133"/>
                </a:cubicBezTo>
                <a:cubicBezTo>
                  <a:pt x="174" y="132"/>
                  <a:pt x="174" y="132"/>
                  <a:pt x="174" y="132"/>
                </a:cubicBezTo>
                <a:cubicBezTo>
                  <a:pt x="171" y="130"/>
                  <a:pt x="169" y="127"/>
                  <a:pt x="171" y="123"/>
                </a:cubicBezTo>
                <a:cubicBezTo>
                  <a:pt x="169" y="120"/>
                  <a:pt x="172" y="116"/>
                  <a:pt x="175" y="118"/>
                </a:cubicBezTo>
                <a:cubicBezTo>
                  <a:pt x="181" y="120"/>
                  <a:pt x="181" y="120"/>
                  <a:pt x="181" y="120"/>
                </a:cubicBezTo>
                <a:cubicBezTo>
                  <a:pt x="183" y="121"/>
                  <a:pt x="186" y="119"/>
                  <a:pt x="187" y="117"/>
                </a:cubicBezTo>
                <a:cubicBezTo>
                  <a:pt x="187" y="116"/>
                  <a:pt x="187" y="114"/>
                  <a:pt x="188" y="113"/>
                </a:cubicBezTo>
                <a:cubicBezTo>
                  <a:pt x="188" y="111"/>
                  <a:pt x="186" y="108"/>
                  <a:pt x="184" y="108"/>
                </a:cubicBezTo>
                <a:cubicBezTo>
                  <a:pt x="181" y="108"/>
                  <a:pt x="181" y="108"/>
                  <a:pt x="181" y="108"/>
                </a:cubicBezTo>
                <a:cubicBezTo>
                  <a:pt x="178" y="108"/>
                  <a:pt x="175" y="104"/>
                  <a:pt x="175" y="101"/>
                </a:cubicBezTo>
                <a:cubicBezTo>
                  <a:pt x="176" y="97"/>
                  <a:pt x="179" y="94"/>
                  <a:pt x="183" y="94"/>
                </a:cubicBezTo>
                <a:cubicBezTo>
                  <a:pt x="185" y="94"/>
                  <a:pt x="185" y="94"/>
                  <a:pt x="185" y="94"/>
                </a:cubicBezTo>
                <a:cubicBezTo>
                  <a:pt x="187" y="95"/>
                  <a:pt x="189" y="93"/>
                  <a:pt x="189" y="90"/>
                </a:cubicBezTo>
                <a:cubicBezTo>
                  <a:pt x="189" y="89"/>
                  <a:pt x="189" y="87"/>
                  <a:pt x="189" y="86"/>
                </a:cubicBezTo>
                <a:cubicBezTo>
                  <a:pt x="189" y="84"/>
                  <a:pt x="186" y="82"/>
                  <a:pt x="184" y="82"/>
                </a:cubicBezTo>
                <a:cubicBezTo>
                  <a:pt x="182" y="83"/>
                  <a:pt x="182" y="83"/>
                  <a:pt x="182" y="83"/>
                </a:cubicBezTo>
                <a:cubicBezTo>
                  <a:pt x="178" y="84"/>
                  <a:pt x="174" y="81"/>
                  <a:pt x="173" y="78"/>
                </a:cubicBezTo>
                <a:cubicBezTo>
                  <a:pt x="173" y="74"/>
                  <a:pt x="175" y="70"/>
                  <a:pt x="179" y="70"/>
                </a:cubicBezTo>
                <a:cubicBezTo>
                  <a:pt x="181" y="69"/>
                  <a:pt x="181" y="69"/>
                  <a:pt x="181" y="69"/>
                </a:cubicBezTo>
                <a:cubicBezTo>
                  <a:pt x="183" y="69"/>
                  <a:pt x="185" y="66"/>
                  <a:pt x="184" y="64"/>
                </a:cubicBezTo>
                <a:cubicBezTo>
                  <a:pt x="183" y="62"/>
                  <a:pt x="183" y="61"/>
                  <a:pt x="182" y="60"/>
                </a:cubicBezTo>
                <a:cubicBezTo>
                  <a:pt x="182" y="58"/>
                  <a:pt x="179" y="57"/>
                  <a:pt x="177" y="58"/>
                </a:cubicBezTo>
                <a:cubicBezTo>
                  <a:pt x="175" y="59"/>
                  <a:pt x="175" y="59"/>
                  <a:pt x="175" y="59"/>
                </a:cubicBezTo>
                <a:cubicBezTo>
                  <a:pt x="171" y="61"/>
                  <a:pt x="167" y="59"/>
                  <a:pt x="165" y="56"/>
                </a:cubicBezTo>
                <a:cubicBezTo>
                  <a:pt x="164" y="53"/>
                  <a:pt x="165" y="49"/>
                  <a:pt x="168" y="47"/>
                </a:cubicBezTo>
                <a:cubicBezTo>
                  <a:pt x="170" y="46"/>
                  <a:pt x="170" y="46"/>
                  <a:pt x="170" y="46"/>
                </a:cubicBezTo>
                <a:cubicBezTo>
                  <a:pt x="172" y="45"/>
                  <a:pt x="173" y="42"/>
                  <a:pt x="171" y="40"/>
                </a:cubicBezTo>
                <a:cubicBezTo>
                  <a:pt x="171" y="39"/>
                  <a:pt x="170" y="38"/>
                  <a:pt x="169" y="37"/>
                </a:cubicBezTo>
                <a:cubicBezTo>
                  <a:pt x="167" y="35"/>
                  <a:pt x="165" y="34"/>
                  <a:pt x="163" y="36"/>
                </a:cubicBezTo>
                <a:cubicBezTo>
                  <a:pt x="161" y="38"/>
                  <a:pt x="161" y="38"/>
                  <a:pt x="161" y="38"/>
                </a:cubicBezTo>
                <a:cubicBezTo>
                  <a:pt x="159" y="40"/>
                  <a:pt x="155" y="40"/>
                  <a:pt x="152" y="38"/>
                </a:cubicBezTo>
                <a:cubicBezTo>
                  <a:pt x="149" y="36"/>
                  <a:pt x="149" y="31"/>
                  <a:pt x="152" y="28"/>
                </a:cubicBezTo>
                <a:cubicBezTo>
                  <a:pt x="153" y="27"/>
                  <a:pt x="153" y="27"/>
                  <a:pt x="153" y="27"/>
                </a:cubicBezTo>
                <a:cubicBezTo>
                  <a:pt x="155" y="25"/>
                  <a:pt x="155" y="22"/>
                  <a:pt x="153" y="20"/>
                </a:cubicBezTo>
                <a:cubicBezTo>
                  <a:pt x="152" y="20"/>
                  <a:pt x="151" y="19"/>
                  <a:pt x="150" y="18"/>
                </a:cubicBezTo>
                <a:cubicBezTo>
                  <a:pt x="147" y="17"/>
                  <a:pt x="145" y="17"/>
                  <a:pt x="143" y="19"/>
                </a:cubicBezTo>
                <a:cubicBezTo>
                  <a:pt x="142" y="21"/>
                  <a:pt x="142" y="21"/>
                  <a:pt x="142" y="21"/>
                </a:cubicBezTo>
                <a:cubicBezTo>
                  <a:pt x="140" y="25"/>
                  <a:pt x="136" y="26"/>
                  <a:pt x="133" y="24"/>
                </a:cubicBezTo>
                <a:cubicBezTo>
                  <a:pt x="130" y="22"/>
                  <a:pt x="128" y="18"/>
                  <a:pt x="130" y="15"/>
                </a:cubicBezTo>
                <a:cubicBezTo>
                  <a:pt x="131" y="13"/>
                  <a:pt x="131" y="13"/>
                  <a:pt x="131" y="13"/>
                </a:cubicBezTo>
                <a:cubicBezTo>
                  <a:pt x="133" y="11"/>
                  <a:pt x="132" y="8"/>
                  <a:pt x="129" y="7"/>
                </a:cubicBezTo>
                <a:cubicBezTo>
                  <a:pt x="128" y="7"/>
                  <a:pt x="127" y="6"/>
                  <a:pt x="126" y="6"/>
                </a:cubicBezTo>
                <a:cubicBezTo>
                  <a:pt x="123" y="5"/>
                  <a:pt x="121" y="6"/>
                  <a:pt x="120" y="9"/>
                </a:cubicBezTo>
                <a:cubicBezTo>
                  <a:pt x="119" y="11"/>
                  <a:pt x="119" y="11"/>
                  <a:pt x="119" y="11"/>
                </a:cubicBezTo>
                <a:cubicBezTo>
                  <a:pt x="119" y="15"/>
                  <a:pt x="115" y="17"/>
                  <a:pt x="111" y="16"/>
                </a:cubicBezTo>
                <a:cubicBezTo>
                  <a:pt x="108" y="15"/>
                  <a:pt x="105" y="12"/>
                  <a:pt x="106" y="8"/>
                </a:cubicBezTo>
                <a:cubicBezTo>
                  <a:pt x="107" y="6"/>
                  <a:pt x="107" y="6"/>
                  <a:pt x="107" y="6"/>
                </a:cubicBezTo>
                <a:cubicBezTo>
                  <a:pt x="107" y="4"/>
                  <a:pt x="105" y="1"/>
                  <a:pt x="103" y="1"/>
                </a:cubicBezTo>
                <a:cubicBezTo>
                  <a:pt x="102" y="1"/>
                  <a:pt x="100" y="1"/>
                  <a:pt x="99" y="1"/>
                </a:cubicBezTo>
                <a:cubicBezTo>
                  <a:pt x="97" y="0"/>
                  <a:pt x="94" y="3"/>
                  <a:pt x="95" y="5"/>
                </a:cubicBezTo>
                <a:cubicBezTo>
                  <a:pt x="95" y="7"/>
                  <a:pt x="95" y="7"/>
                  <a:pt x="95" y="7"/>
                </a:cubicBezTo>
                <a:cubicBezTo>
                  <a:pt x="95" y="11"/>
                  <a:pt x="92" y="14"/>
                  <a:pt x="88" y="15"/>
                </a:cubicBezTo>
                <a:cubicBezTo>
                  <a:pt x="85" y="15"/>
                  <a:pt x="81" y="12"/>
                  <a:pt x="81" y="8"/>
                </a:cubicBezTo>
                <a:cubicBezTo>
                  <a:pt x="81" y="6"/>
                  <a:pt x="81" y="6"/>
                  <a:pt x="81" y="6"/>
                </a:cubicBezTo>
                <a:cubicBezTo>
                  <a:pt x="81" y="4"/>
                  <a:pt x="78" y="2"/>
                  <a:pt x="76" y="2"/>
                </a:cubicBezTo>
                <a:cubicBezTo>
                  <a:pt x="75" y="3"/>
                  <a:pt x="73" y="3"/>
                  <a:pt x="72" y="3"/>
                </a:cubicBezTo>
                <a:cubicBezTo>
                  <a:pt x="70" y="4"/>
                  <a:pt x="68" y="6"/>
                  <a:pt x="69" y="9"/>
                </a:cubicBezTo>
                <a:cubicBezTo>
                  <a:pt x="70" y="11"/>
                  <a:pt x="70" y="11"/>
                  <a:pt x="70" y="11"/>
                </a:cubicBezTo>
                <a:cubicBezTo>
                  <a:pt x="71" y="14"/>
                  <a:pt x="69" y="18"/>
                  <a:pt x="66" y="20"/>
                </a:cubicBezTo>
                <a:cubicBezTo>
                  <a:pt x="62" y="21"/>
                  <a:pt x="58" y="19"/>
                  <a:pt x="57" y="15"/>
                </a:cubicBezTo>
                <a:cubicBezTo>
                  <a:pt x="57" y="14"/>
                  <a:pt x="57" y="14"/>
                  <a:pt x="57" y="14"/>
                </a:cubicBezTo>
                <a:cubicBezTo>
                  <a:pt x="56" y="11"/>
                  <a:pt x="53" y="10"/>
                  <a:pt x="51" y="11"/>
                </a:cubicBezTo>
                <a:cubicBezTo>
                  <a:pt x="51" y="11"/>
                  <a:pt x="51" y="11"/>
                  <a:pt x="51" y="11"/>
                </a:cubicBezTo>
                <a:cubicBezTo>
                  <a:pt x="49" y="12"/>
                  <a:pt x="48" y="13"/>
                  <a:pt x="47" y="13"/>
                </a:cubicBezTo>
                <a:cubicBezTo>
                  <a:pt x="45" y="14"/>
                  <a:pt x="44" y="17"/>
                  <a:pt x="46" y="19"/>
                </a:cubicBezTo>
                <a:cubicBezTo>
                  <a:pt x="47" y="21"/>
                  <a:pt x="47" y="21"/>
                  <a:pt x="47" y="21"/>
                </a:cubicBezTo>
                <a:cubicBezTo>
                  <a:pt x="49" y="24"/>
                  <a:pt x="49" y="29"/>
                  <a:pt x="46" y="31"/>
                </a:cubicBezTo>
                <a:cubicBezTo>
                  <a:pt x="43" y="33"/>
                  <a:pt x="38" y="32"/>
                  <a:pt x="36" y="29"/>
                </a:cubicBezTo>
                <a:cubicBezTo>
                  <a:pt x="35" y="28"/>
                  <a:pt x="35" y="28"/>
                  <a:pt x="35" y="28"/>
                </a:cubicBezTo>
                <a:cubicBezTo>
                  <a:pt x="34" y="26"/>
                  <a:pt x="31" y="25"/>
                  <a:pt x="29" y="27"/>
                </a:cubicBezTo>
                <a:cubicBezTo>
                  <a:pt x="28" y="28"/>
                  <a:pt x="27" y="29"/>
                  <a:pt x="26" y="30"/>
                </a:cubicBezTo>
                <a:cubicBezTo>
                  <a:pt x="24" y="32"/>
                  <a:pt x="24" y="35"/>
                  <a:pt x="26" y="36"/>
                </a:cubicBezTo>
                <a:cubicBezTo>
                  <a:pt x="28" y="38"/>
                  <a:pt x="28" y="38"/>
                  <a:pt x="28" y="38"/>
                </a:cubicBezTo>
                <a:cubicBezTo>
                  <a:pt x="31" y="40"/>
                  <a:pt x="32" y="44"/>
                  <a:pt x="29" y="47"/>
                </a:cubicBezTo>
                <a:cubicBezTo>
                  <a:pt x="27" y="50"/>
                  <a:pt x="23" y="51"/>
                  <a:pt x="20" y="48"/>
                </a:cubicBezTo>
                <a:cubicBezTo>
                  <a:pt x="18" y="47"/>
                  <a:pt x="18" y="47"/>
                  <a:pt x="18" y="47"/>
                </a:cubicBezTo>
                <a:cubicBezTo>
                  <a:pt x="16" y="46"/>
                  <a:pt x="13" y="46"/>
                  <a:pt x="12" y="48"/>
                </a:cubicBezTo>
                <a:cubicBezTo>
                  <a:pt x="12" y="50"/>
                  <a:pt x="11" y="51"/>
                  <a:pt x="10" y="52"/>
                </a:cubicBezTo>
                <a:cubicBezTo>
                  <a:pt x="9" y="54"/>
                  <a:pt x="10" y="57"/>
                  <a:pt x="13" y="58"/>
                </a:cubicBezTo>
                <a:cubicBezTo>
                  <a:pt x="15" y="59"/>
                  <a:pt x="15" y="59"/>
                  <a:pt x="15" y="59"/>
                </a:cubicBezTo>
                <a:cubicBezTo>
                  <a:pt x="18" y="60"/>
                  <a:pt x="20" y="64"/>
                  <a:pt x="19" y="67"/>
                </a:cubicBezTo>
                <a:cubicBezTo>
                  <a:pt x="20" y="71"/>
                  <a:pt x="17" y="74"/>
                  <a:pt x="14" y="73"/>
                </a:cubicBezTo>
                <a:cubicBezTo>
                  <a:pt x="8" y="71"/>
                  <a:pt x="8" y="71"/>
                  <a:pt x="8" y="71"/>
                </a:cubicBezTo>
                <a:cubicBezTo>
                  <a:pt x="6" y="70"/>
                  <a:pt x="3" y="71"/>
                  <a:pt x="2" y="74"/>
                </a:cubicBezTo>
                <a:cubicBezTo>
                  <a:pt x="2" y="75"/>
                  <a:pt x="2" y="76"/>
                  <a:pt x="2" y="77"/>
                </a:cubicBezTo>
                <a:cubicBezTo>
                  <a:pt x="1" y="80"/>
                  <a:pt x="3" y="82"/>
                  <a:pt x="5" y="82"/>
                </a:cubicBezTo>
                <a:cubicBezTo>
                  <a:pt x="7" y="83"/>
                  <a:pt x="7" y="83"/>
                  <a:pt x="7" y="83"/>
                </a:cubicBezTo>
                <a:cubicBezTo>
                  <a:pt x="11" y="83"/>
                  <a:pt x="14" y="85"/>
                  <a:pt x="14" y="89"/>
                </a:cubicBezTo>
                <a:cubicBezTo>
                  <a:pt x="14" y="93"/>
                  <a:pt x="11" y="96"/>
                  <a:pt x="6" y="96"/>
                </a:cubicBezTo>
                <a:cubicBezTo>
                  <a:pt x="5" y="96"/>
                  <a:pt x="5" y="96"/>
                  <a:pt x="5" y="96"/>
                </a:cubicBezTo>
                <a:cubicBezTo>
                  <a:pt x="2" y="96"/>
                  <a:pt x="0" y="98"/>
                  <a:pt x="0" y="100"/>
                </a:cubicBezTo>
                <a:cubicBezTo>
                  <a:pt x="0" y="102"/>
                  <a:pt x="0" y="103"/>
                  <a:pt x="0" y="104"/>
                </a:cubicBezTo>
                <a:cubicBezTo>
                  <a:pt x="0" y="107"/>
                  <a:pt x="3" y="108"/>
                  <a:pt x="5" y="108"/>
                </a:cubicBezTo>
                <a:cubicBezTo>
                  <a:pt x="7" y="108"/>
                  <a:pt x="7" y="108"/>
                  <a:pt x="7" y="108"/>
                </a:cubicBezTo>
                <a:cubicBezTo>
                  <a:pt x="11" y="107"/>
                  <a:pt x="14" y="109"/>
                  <a:pt x="15" y="112"/>
                </a:cubicBezTo>
                <a:cubicBezTo>
                  <a:pt x="17" y="116"/>
                  <a:pt x="14" y="120"/>
                  <a:pt x="10" y="121"/>
                </a:cubicBezTo>
                <a:cubicBezTo>
                  <a:pt x="8" y="121"/>
                  <a:pt x="8" y="121"/>
                  <a:pt x="8" y="121"/>
                </a:cubicBezTo>
                <a:cubicBezTo>
                  <a:pt x="6" y="122"/>
                  <a:pt x="4" y="124"/>
                  <a:pt x="5" y="127"/>
                </a:cubicBezTo>
                <a:cubicBezTo>
                  <a:pt x="6" y="128"/>
                  <a:pt x="6" y="129"/>
                  <a:pt x="7" y="130"/>
                </a:cubicBezTo>
                <a:cubicBezTo>
                  <a:pt x="8" y="133"/>
                  <a:pt x="10" y="134"/>
                  <a:pt x="13" y="133"/>
                </a:cubicBezTo>
                <a:cubicBezTo>
                  <a:pt x="15" y="132"/>
                  <a:pt x="15" y="132"/>
                  <a:pt x="15" y="132"/>
                </a:cubicBezTo>
                <a:cubicBezTo>
                  <a:pt x="18" y="130"/>
                  <a:pt x="22" y="131"/>
                  <a:pt x="24" y="134"/>
                </a:cubicBezTo>
                <a:cubicBezTo>
                  <a:pt x="26" y="138"/>
                  <a:pt x="24" y="142"/>
                  <a:pt x="21" y="144"/>
                </a:cubicBezTo>
                <a:cubicBezTo>
                  <a:pt x="19" y="144"/>
                  <a:pt x="19" y="144"/>
                  <a:pt x="19" y="144"/>
                </a:cubicBezTo>
                <a:cubicBezTo>
                  <a:pt x="17" y="146"/>
                  <a:pt x="16" y="149"/>
                  <a:pt x="18" y="151"/>
                </a:cubicBezTo>
                <a:cubicBezTo>
                  <a:pt x="19" y="152"/>
                  <a:pt x="19" y="153"/>
                  <a:pt x="20" y="154"/>
                </a:cubicBezTo>
                <a:cubicBezTo>
                  <a:pt x="22" y="156"/>
                  <a:pt x="25" y="156"/>
                  <a:pt x="26" y="154"/>
                </a:cubicBezTo>
                <a:cubicBezTo>
                  <a:pt x="28" y="153"/>
                  <a:pt x="28" y="153"/>
                  <a:pt x="28" y="153"/>
                </a:cubicBezTo>
                <a:cubicBezTo>
                  <a:pt x="30" y="150"/>
                  <a:pt x="34" y="150"/>
                  <a:pt x="37" y="152"/>
                </a:cubicBezTo>
                <a:cubicBezTo>
                  <a:pt x="40" y="155"/>
                  <a:pt x="40" y="159"/>
                  <a:pt x="38" y="162"/>
                </a:cubicBezTo>
                <a:cubicBezTo>
                  <a:pt x="36" y="164"/>
                  <a:pt x="36" y="164"/>
                  <a:pt x="36" y="164"/>
                </a:cubicBezTo>
                <a:cubicBezTo>
                  <a:pt x="34" y="165"/>
                  <a:pt x="34" y="169"/>
                  <a:pt x="37" y="170"/>
                </a:cubicBezTo>
                <a:cubicBezTo>
                  <a:pt x="38" y="171"/>
                  <a:pt x="39" y="172"/>
                  <a:pt x="40" y="172"/>
                </a:cubicBezTo>
                <a:cubicBezTo>
                  <a:pt x="42" y="174"/>
                  <a:pt x="45" y="173"/>
                  <a:pt x="46" y="171"/>
                </a:cubicBezTo>
                <a:cubicBezTo>
                  <a:pt x="47" y="169"/>
                  <a:pt x="47" y="169"/>
                  <a:pt x="47" y="169"/>
                </a:cubicBezTo>
                <a:cubicBezTo>
                  <a:pt x="48" y="166"/>
                  <a:pt x="52" y="165"/>
                  <a:pt x="55" y="166"/>
                </a:cubicBezTo>
                <a:cubicBezTo>
                  <a:pt x="59" y="167"/>
                  <a:pt x="61" y="172"/>
                  <a:pt x="59" y="176"/>
                </a:cubicBezTo>
                <a:cubicBezTo>
                  <a:pt x="58" y="177"/>
                  <a:pt x="58" y="177"/>
                  <a:pt x="58" y="177"/>
                </a:cubicBezTo>
                <a:cubicBezTo>
                  <a:pt x="57" y="180"/>
                  <a:pt x="58" y="182"/>
                  <a:pt x="60" y="183"/>
                </a:cubicBezTo>
                <a:cubicBezTo>
                  <a:pt x="61" y="184"/>
                  <a:pt x="62" y="184"/>
                  <a:pt x="64" y="185"/>
                </a:cubicBezTo>
                <a:cubicBezTo>
                  <a:pt x="66" y="186"/>
                  <a:pt x="69" y="184"/>
                  <a:pt x="69" y="182"/>
                </a:cubicBezTo>
                <a:cubicBezTo>
                  <a:pt x="70" y="180"/>
                  <a:pt x="70" y="180"/>
                  <a:pt x="70" y="180"/>
                </a:cubicBezTo>
                <a:cubicBezTo>
                  <a:pt x="70" y="176"/>
                  <a:pt x="73" y="174"/>
                  <a:pt x="77" y="174"/>
                </a:cubicBezTo>
                <a:cubicBezTo>
                  <a:pt x="81" y="174"/>
                  <a:pt x="84" y="179"/>
                  <a:pt x="83" y="183"/>
                </a:cubicBezTo>
                <a:cubicBezTo>
                  <a:pt x="82" y="184"/>
                  <a:pt x="82" y="184"/>
                  <a:pt x="82" y="184"/>
                </a:cubicBezTo>
                <a:cubicBezTo>
                  <a:pt x="82" y="187"/>
                  <a:pt x="84" y="189"/>
                  <a:pt x="86" y="190"/>
                </a:cubicBezTo>
                <a:cubicBezTo>
                  <a:pt x="87" y="190"/>
                  <a:pt x="89" y="190"/>
                  <a:pt x="90" y="190"/>
                </a:cubicBezTo>
                <a:cubicBezTo>
                  <a:pt x="93" y="190"/>
                  <a:pt x="95" y="188"/>
                  <a:pt x="94" y="185"/>
                </a:cubicBezTo>
                <a:cubicBezTo>
                  <a:pt x="94" y="183"/>
                  <a:pt x="94" y="183"/>
                  <a:pt x="94" y="183"/>
                </a:cubicBezTo>
                <a:cubicBezTo>
                  <a:pt x="94" y="179"/>
                  <a:pt x="97" y="176"/>
                  <a:pt x="101" y="176"/>
                </a:cubicBezTo>
                <a:cubicBezTo>
                  <a:pt x="104" y="174"/>
                  <a:pt x="108" y="176"/>
                  <a:pt x="108" y="180"/>
                </a:cubicBezTo>
                <a:cubicBezTo>
                  <a:pt x="108" y="184"/>
                  <a:pt x="108" y="184"/>
                  <a:pt x="108" y="184"/>
                </a:cubicBezTo>
                <a:cubicBezTo>
                  <a:pt x="108" y="187"/>
                  <a:pt x="111" y="189"/>
                  <a:pt x="113" y="188"/>
                </a:cubicBezTo>
                <a:cubicBezTo>
                  <a:pt x="114" y="188"/>
                  <a:pt x="116" y="188"/>
                  <a:pt x="117" y="187"/>
                </a:cubicBezTo>
                <a:cubicBezTo>
                  <a:pt x="119" y="187"/>
                  <a:pt x="121" y="184"/>
                  <a:pt x="120" y="182"/>
                </a:cubicBezTo>
                <a:cubicBezTo>
                  <a:pt x="119" y="180"/>
                  <a:pt x="119" y="180"/>
                  <a:pt x="119" y="180"/>
                </a:cubicBezTo>
                <a:cubicBezTo>
                  <a:pt x="118" y="176"/>
                  <a:pt x="120" y="171"/>
                  <a:pt x="124" y="171"/>
                </a:cubicBezTo>
                <a:cubicBezTo>
                  <a:pt x="128" y="170"/>
                  <a:pt x="131" y="172"/>
                  <a:pt x="132" y="175"/>
                </a:cubicBezTo>
                <a:cubicBezTo>
                  <a:pt x="133" y="177"/>
                  <a:pt x="133" y="177"/>
                  <a:pt x="133" y="177"/>
                </a:cubicBezTo>
                <a:cubicBezTo>
                  <a:pt x="133" y="179"/>
                  <a:pt x="136" y="180"/>
                  <a:pt x="139" y="179"/>
                </a:cubicBezTo>
                <a:cubicBezTo>
                  <a:pt x="139" y="179"/>
                  <a:pt x="139" y="179"/>
                  <a:pt x="139" y="179"/>
                </a:cubicBezTo>
                <a:cubicBezTo>
                  <a:pt x="140" y="178"/>
                  <a:pt x="141" y="178"/>
                  <a:pt x="142" y="177"/>
                </a:cubicBezTo>
                <a:cubicBezTo>
                  <a:pt x="144" y="176"/>
                  <a:pt x="145" y="173"/>
                  <a:pt x="143" y="171"/>
                </a:cubicBezTo>
                <a:close/>
                <a:moveTo>
                  <a:pt x="78" y="74"/>
                </a:moveTo>
                <a:cubicBezTo>
                  <a:pt x="76" y="71"/>
                  <a:pt x="77" y="68"/>
                  <a:pt x="80" y="66"/>
                </a:cubicBezTo>
                <a:cubicBezTo>
                  <a:pt x="83" y="65"/>
                  <a:pt x="87" y="66"/>
                  <a:pt x="88" y="69"/>
                </a:cubicBezTo>
                <a:cubicBezTo>
                  <a:pt x="89" y="72"/>
                  <a:pt x="88" y="75"/>
                  <a:pt x="86" y="77"/>
                </a:cubicBezTo>
                <a:cubicBezTo>
                  <a:pt x="83" y="78"/>
                  <a:pt x="79" y="77"/>
                  <a:pt x="78" y="74"/>
                </a:cubicBezTo>
                <a:close/>
                <a:moveTo>
                  <a:pt x="123" y="80"/>
                </a:moveTo>
                <a:cubicBezTo>
                  <a:pt x="125" y="83"/>
                  <a:pt x="124" y="86"/>
                  <a:pt x="121" y="88"/>
                </a:cubicBezTo>
                <a:cubicBezTo>
                  <a:pt x="118" y="89"/>
                  <a:pt x="115" y="88"/>
                  <a:pt x="113" y="85"/>
                </a:cubicBezTo>
                <a:cubicBezTo>
                  <a:pt x="112" y="83"/>
                  <a:pt x="113" y="79"/>
                  <a:pt x="116" y="78"/>
                </a:cubicBezTo>
                <a:cubicBezTo>
                  <a:pt x="118" y="76"/>
                  <a:pt x="122" y="77"/>
                  <a:pt x="123" y="80"/>
                </a:cubicBezTo>
                <a:close/>
                <a:moveTo>
                  <a:pt x="66" y="109"/>
                </a:moveTo>
                <a:cubicBezTo>
                  <a:pt x="65" y="107"/>
                  <a:pt x="66" y="103"/>
                  <a:pt x="69" y="102"/>
                </a:cubicBezTo>
                <a:cubicBezTo>
                  <a:pt x="72" y="100"/>
                  <a:pt x="75" y="101"/>
                  <a:pt x="77" y="104"/>
                </a:cubicBezTo>
                <a:cubicBezTo>
                  <a:pt x="78" y="107"/>
                  <a:pt x="77" y="110"/>
                  <a:pt x="74" y="112"/>
                </a:cubicBezTo>
                <a:cubicBezTo>
                  <a:pt x="71" y="113"/>
                  <a:pt x="68" y="112"/>
                  <a:pt x="66" y="109"/>
                </a:cubicBezTo>
                <a:close/>
                <a:moveTo>
                  <a:pt x="81" y="102"/>
                </a:moveTo>
                <a:cubicBezTo>
                  <a:pt x="77" y="95"/>
                  <a:pt x="80" y="86"/>
                  <a:pt x="88" y="82"/>
                </a:cubicBezTo>
                <a:cubicBezTo>
                  <a:pt x="95" y="78"/>
                  <a:pt x="104" y="81"/>
                  <a:pt x="108" y="88"/>
                </a:cubicBezTo>
                <a:cubicBezTo>
                  <a:pt x="112" y="96"/>
                  <a:pt x="109" y="105"/>
                  <a:pt x="101" y="108"/>
                </a:cubicBezTo>
                <a:cubicBezTo>
                  <a:pt x="94" y="112"/>
                  <a:pt x="85" y="110"/>
                  <a:pt x="81" y="102"/>
                </a:cubicBezTo>
                <a:close/>
                <a:moveTo>
                  <a:pt x="102" y="121"/>
                </a:moveTo>
                <a:cubicBezTo>
                  <a:pt x="100" y="118"/>
                  <a:pt x="101" y="115"/>
                  <a:pt x="104" y="113"/>
                </a:cubicBezTo>
                <a:cubicBezTo>
                  <a:pt x="107" y="112"/>
                  <a:pt x="111" y="113"/>
                  <a:pt x="112" y="115"/>
                </a:cubicBezTo>
                <a:cubicBezTo>
                  <a:pt x="113" y="118"/>
                  <a:pt x="112" y="122"/>
                  <a:pt x="110" y="123"/>
                </a:cubicBezTo>
                <a:cubicBezTo>
                  <a:pt x="107" y="125"/>
                  <a:pt x="103" y="124"/>
                  <a:pt x="102" y="121"/>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065" name="Freeform 88"/>
          <p:cNvSpPr>
            <a:spLocks noEditPoints="1"/>
          </p:cNvSpPr>
          <p:nvPr/>
        </p:nvSpPr>
        <p:spPr bwMode="auto">
          <a:xfrm>
            <a:off x="8907463" y="2697163"/>
            <a:ext cx="379412" cy="379412"/>
          </a:xfrm>
          <a:custGeom>
            <a:avLst/>
            <a:gdLst>
              <a:gd name="T0" fmla="*/ 138 w 160"/>
              <a:gd name="T1" fmla="*/ 106 h 159"/>
              <a:gd name="T2" fmla="*/ 141 w 160"/>
              <a:gd name="T3" fmla="*/ 96 h 159"/>
              <a:gd name="T4" fmla="*/ 159 w 160"/>
              <a:gd name="T5" fmla="*/ 83 h 159"/>
              <a:gd name="T6" fmla="*/ 155 w 160"/>
              <a:gd name="T7" fmla="*/ 63 h 159"/>
              <a:gd name="T8" fmla="*/ 135 w 160"/>
              <a:gd name="T9" fmla="*/ 55 h 159"/>
              <a:gd name="T10" fmla="*/ 136 w 160"/>
              <a:gd name="T11" fmla="*/ 44 h 159"/>
              <a:gd name="T12" fmla="*/ 137 w 160"/>
              <a:gd name="T13" fmla="*/ 26 h 159"/>
              <a:gd name="T14" fmla="*/ 119 w 160"/>
              <a:gd name="T15" fmla="*/ 15 h 159"/>
              <a:gd name="T16" fmla="*/ 98 w 160"/>
              <a:gd name="T17" fmla="*/ 22 h 159"/>
              <a:gd name="T18" fmla="*/ 87 w 160"/>
              <a:gd name="T19" fmla="*/ 4 h 159"/>
              <a:gd name="T20" fmla="*/ 67 w 160"/>
              <a:gd name="T21" fmla="*/ 1 h 159"/>
              <a:gd name="T22" fmla="*/ 56 w 160"/>
              <a:gd name="T23" fmla="*/ 20 h 159"/>
              <a:gd name="T24" fmla="*/ 48 w 160"/>
              <a:gd name="T25" fmla="*/ 26 h 159"/>
              <a:gd name="T26" fmla="*/ 30 w 160"/>
              <a:gd name="T27" fmla="*/ 20 h 159"/>
              <a:gd name="T28" fmla="*/ 15 w 160"/>
              <a:gd name="T29" fmla="*/ 32 h 159"/>
              <a:gd name="T30" fmla="*/ 22 w 160"/>
              <a:gd name="T31" fmla="*/ 55 h 159"/>
              <a:gd name="T32" fmla="*/ 18 w 160"/>
              <a:gd name="T33" fmla="*/ 64 h 159"/>
              <a:gd name="T34" fmla="*/ 0 w 160"/>
              <a:gd name="T35" fmla="*/ 77 h 159"/>
              <a:gd name="T36" fmla="*/ 5 w 160"/>
              <a:gd name="T37" fmla="*/ 97 h 159"/>
              <a:gd name="T38" fmla="*/ 24 w 160"/>
              <a:gd name="T39" fmla="*/ 104 h 159"/>
              <a:gd name="T40" fmla="*/ 20 w 160"/>
              <a:gd name="T41" fmla="*/ 128 h 159"/>
              <a:gd name="T42" fmla="*/ 33 w 160"/>
              <a:gd name="T43" fmla="*/ 144 h 159"/>
              <a:gd name="T44" fmla="*/ 53 w 160"/>
              <a:gd name="T45" fmla="*/ 138 h 159"/>
              <a:gd name="T46" fmla="*/ 64 w 160"/>
              <a:gd name="T47" fmla="*/ 140 h 159"/>
              <a:gd name="T48" fmla="*/ 74 w 160"/>
              <a:gd name="T49" fmla="*/ 158 h 159"/>
              <a:gd name="T50" fmla="*/ 93 w 160"/>
              <a:gd name="T51" fmla="*/ 159 h 159"/>
              <a:gd name="T52" fmla="*/ 103 w 160"/>
              <a:gd name="T53" fmla="*/ 140 h 159"/>
              <a:gd name="T54" fmla="*/ 111 w 160"/>
              <a:gd name="T55" fmla="*/ 134 h 159"/>
              <a:gd name="T56" fmla="*/ 130 w 160"/>
              <a:gd name="T57" fmla="*/ 140 h 159"/>
              <a:gd name="T58" fmla="*/ 144 w 160"/>
              <a:gd name="T59" fmla="*/ 128 h 159"/>
              <a:gd name="T60" fmla="*/ 61 w 160"/>
              <a:gd name="T61" fmla="*/ 101 h 159"/>
              <a:gd name="T62" fmla="*/ 98 w 160"/>
              <a:gd name="T63" fmla="*/ 59 h 159"/>
              <a:gd name="T64" fmla="*/ 61 w 160"/>
              <a:gd name="T65" fmla="*/ 10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59">
                <a:moveTo>
                  <a:pt x="146" y="121"/>
                </a:moveTo>
                <a:cubicBezTo>
                  <a:pt x="143" y="116"/>
                  <a:pt x="141" y="111"/>
                  <a:pt x="138" y="106"/>
                </a:cubicBezTo>
                <a:cubicBezTo>
                  <a:pt x="137" y="104"/>
                  <a:pt x="137" y="102"/>
                  <a:pt x="138" y="100"/>
                </a:cubicBezTo>
                <a:cubicBezTo>
                  <a:pt x="138" y="98"/>
                  <a:pt x="139" y="97"/>
                  <a:pt x="141" y="96"/>
                </a:cubicBezTo>
                <a:cubicBezTo>
                  <a:pt x="146" y="94"/>
                  <a:pt x="151" y="91"/>
                  <a:pt x="157" y="89"/>
                </a:cubicBezTo>
                <a:cubicBezTo>
                  <a:pt x="159" y="87"/>
                  <a:pt x="160" y="86"/>
                  <a:pt x="159" y="83"/>
                </a:cubicBezTo>
                <a:cubicBezTo>
                  <a:pt x="159" y="78"/>
                  <a:pt x="159" y="73"/>
                  <a:pt x="158" y="68"/>
                </a:cubicBezTo>
                <a:cubicBezTo>
                  <a:pt x="158" y="66"/>
                  <a:pt x="157" y="64"/>
                  <a:pt x="155" y="63"/>
                </a:cubicBezTo>
                <a:cubicBezTo>
                  <a:pt x="149" y="61"/>
                  <a:pt x="144" y="59"/>
                  <a:pt x="138" y="57"/>
                </a:cubicBezTo>
                <a:cubicBezTo>
                  <a:pt x="136" y="57"/>
                  <a:pt x="136" y="56"/>
                  <a:pt x="135" y="55"/>
                </a:cubicBezTo>
                <a:cubicBezTo>
                  <a:pt x="133" y="52"/>
                  <a:pt x="133" y="50"/>
                  <a:pt x="134" y="47"/>
                </a:cubicBezTo>
                <a:cubicBezTo>
                  <a:pt x="135" y="46"/>
                  <a:pt x="135" y="45"/>
                  <a:pt x="136" y="44"/>
                </a:cubicBezTo>
                <a:cubicBezTo>
                  <a:pt x="137" y="40"/>
                  <a:pt x="138" y="36"/>
                  <a:pt x="139" y="32"/>
                </a:cubicBezTo>
                <a:cubicBezTo>
                  <a:pt x="140" y="30"/>
                  <a:pt x="139" y="28"/>
                  <a:pt x="137" y="26"/>
                </a:cubicBezTo>
                <a:cubicBezTo>
                  <a:pt x="133" y="23"/>
                  <a:pt x="130" y="20"/>
                  <a:pt x="127" y="16"/>
                </a:cubicBezTo>
                <a:cubicBezTo>
                  <a:pt x="124" y="14"/>
                  <a:pt x="122" y="14"/>
                  <a:pt x="119" y="15"/>
                </a:cubicBezTo>
                <a:cubicBezTo>
                  <a:pt x="115" y="17"/>
                  <a:pt x="110" y="19"/>
                  <a:pt x="106" y="22"/>
                </a:cubicBezTo>
                <a:cubicBezTo>
                  <a:pt x="103" y="23"/>
                  <a:pt x="101" y="24"/>
                  <a:pt x="98" y="22"/>
                </a:cubicBezTo>
                <a:cubicBezTo>
                  <a:pt x="97" y="22"/>
                  <a:pt x="96" y="21"/>
                  <a:pt x="95" y="20"/>
                </a:cubicBezTo>
                <a:cubicBezTo>
                  <a:pt x="93" y="14"/>
                  <a:pt x="90" y="9"/>
                  <a:pt x="87" y="4"/>
                </a:cubicBezTo>
                <a:cubicBezTo>
                  <a:pt x="86" y="1"/>
                  <a:pt x="84" y="0"/>
                  <a:pt x="81" y="1"/>
                </a:cubicBezTo>
                <a:cubicBezTo>
                  <a:pt x="76" y="1"/>
                  <a:pt x="72" y="1"/>
                  <a:pt x="67" y="1"/>
                </a:cubicBezTo>
                <a:cubicBezTo>
                  <a:pt x="64" y="1"/>
                  <a:pt x="62" y="3"/>
                  <a:pt x="61" y="5"/>
                </a:cubicBezTo>
                <a:cubicBezTo>
                  <a:pt x="60" y="10"/>
                  <a:pt x="58" y="15"/>
                  <a:pt x="56" y="20"/>
                </a:cubicBezTo>
                <a:cubicBezTo>
                  <a:pt x="56" y="23"/>
                  <a:pt x="54" y="24"/>
                  <a:pt x="51" y="25"/>
                </a:cubicBezTo>
                <a:cubicBezTo>
                  <a:pt x="50" y="26"/>
                  <a:pt x="49" y="26"/>
                  <a:pt x="48" y="26"/>
                </a:cubicBezTo>
                <a:cubicBezTo>
                  <a:pt x="45" y="24"/>
                  <a:pt x="41" y="23"/>
                  <a:pt x="38" y="22"/>
                </a:cubicBezTo>
                <a:cubicBezTo>
                  <a:pt x="35" y="21"/>
                  <a:pt x="32" y="20"/>
                  <a:pt x="30" y="20"/>
                </a:cubicBezTo>
                <a:cubicBezTo>
                  <a:pt x="28" y="19"/>
                  <a:pt x="26" y="20"/>
                  <a:pt x="25" y="21"/>
                </a:cubicBezTo>
                <a:cubicBezTo>
                  <a:pt x="22" y="25"/>
                  <a:pt x="19" y="29"/>
                  <a:pt x="15" y="32"/>
                </a:cubicBezTo>
                <a:cubicBezTo>
                  <a:pt x="13" y="34"/>
                  <a:pt x="13" y="37"/>
                  <a:pt x="14" y="40"/>
                </a:cubicBezTo>
                <a:cubicBezTo>
                  <a:pt x="17" y="45"/>
                  <a:pt x="19" y="50"/>
                  <a:pt x="22" y="55"/>
                </a:cubicBezTo>
                <a:cubicBezTo>
                  <a:pt x="22" y="56"/>
                  <a:pt x="23" y="57"/>
                  <a:pt x="23" y="57"/>
                </a:cubicBezTo>
                <a:cubicBezTo>
                  <a:pt x="22" y="59"/>
                  <a:pt x="21" y="62"/>
                  <a:pt x="18" y="64"/>
                </a:cubicBezTo>
                <a:cubicBezTo>
                  <a:pt x="13" y="66"/>
                  <a:pt x="8" y="69"/>
                  <a:pt x="3" y="71"/>
                </a:cubicBezTo>
                <a:cubicBezTo>
                  <a:pt x="1" y="72"/>
                  <a:pt x="0" y="74"/>
                  <a:pt x="0" y="77"/>
                </a:cubicBezTo>
                <a:cubicBezTo>
                  <a:pt x="1" y="82"/>
                  <a:pt x="1" y="87"/>
                  <a:pt x="1" y="91"/>
                </a:cubicBezTo>
                <a:cubicBezTo>
                  <a:pt x="1" y="94"/>
                  <a:pt x="2" y="96"/>
                  <a:pt x="5" y="97"/>
                </a:cubicBezTo>
                <a:cubicBezTo>
                  <a:pt x="11" y="99"/>
                  <a:pt x="16" y="101"/>
                  <a:pt x="22" y="103"/>
                </a:cubicBezTo>
                <a:cubicBezTo>
                  <a:pt x="23" y="103"/>
                  <a:pt x="23" y="103"/>
                  <a:pt x="24" y="104"/>
                </a:cubicBezTo>
                <a:cubicBezTo>
                  <a:pt x="25" y="106"/>
                  <a:pt x="27" y="109"/>
                  <a:pt x="25" y="112"/>
                </a:cubicBezTo>
                <a:cubicBezTo>
                  <a:pt x="23" y="117"/>
                  <a:pt x="22" y="123"/>
                  <a:pt x="20" y="128"/>
                </a:cubicBezTo>
                <a:cubicBezTo>
                  <a:pt x="20" y="130"/>
                  <a:pt x="20" y="132"/>
                  <a:pt x="22" y="134"/>
                </a:cubicBezTo>
                <a:cubicBezTo>
                  <a:pt x="26" y="137"/>
                  <a:pt x="30" y="140"/>
                  <a:pt x="33" y="144"/>
                </a:cubicBezTo>
                <a:cubicBezTo>
                  <a:pt x="35" y="146"/>
                  <a:pt x="38" y="146"/>
                  <a:pt x="40" y="145"/>
                </a:cubicBezTo>
                <a:cubicBezTo>
                  <a:pt x="45" y="143"/>
                  <a:pt x="49" y="141"/>
                  <a:pt x="53" y="138"/>
                </a:cubicBezTo>
                <a:cubicBezTo>
                  <a:pt x="56" y="137"/>
                  <a:pt x="59" y="136"/>
                  <a:pt x="62" y="138"/>
                </a:cubicBezTo>
                <a:cubicBezTo>
                  <a:pt x="63" y="138"/>
                  <a:pt x="64" y="139"/>
                  <a:pt x="64" y="140"/>
                </a:cubicBezTo>
                <a:cubicBezTo>
                  <a:pt x="66" y="145"/>
                  <a:pt x="69" y="149"/>
                  <a:pt x="71" y="154"/>
                </a:cubicBezTo>
                <a:cubicBezTo>
                  <a:pt x="72" y="155"/>
                  <a:pt x="73" y="157"/>
                  <a:pt x="74" y="158"/>
                </a:cubicBezTo>
                <a:cubicBezTo>
                  <a:pt x="75" y="159"/>
                  <a:pt x="77" y="159"/>
                  <a:pt x="78" y="159"/>
                </a:cubicBezTo>
                <a:cubicBezTo>
                  <a:pt x="83" y="159"/>
                  <a:pt x="88" y="159"/>
                  <a:pt x="93" y="159"/>
                </a:cubicBezTo>
                <a:cubicBezTo>
                  <a:pt x="96" y="159"/>
                  <a:pt x="97" y="157"/>
                  <a:pt x="98" y="155"/>
                </a:cubicBezTo>
                <a:cubicBezTo>
                  <a:pt x="100" y="150"/>
                  <a:pt x="102" y="145"/>
                  <a:pt x="103" y="140"/>
                </a:cubicBezTo>
                <a:cubicBezTo>
                  <a:pt x="104" y="137"/>
                  <a:pt x="105" y="135"/>
                  <a:pt x="108" y="134"/>
                </a:cubicBezTo>
                <a:cubicBezTo>
                  <a:pt x="109" y="134"/>
                  <a:pt x="110" y="134"/>
                  <a:pt x="111" y="134"/>
                </a:cubicBezTo>
                <a:cubicBezTo>
                  <a:pt x="115" y="136"/>
                  <a:pt x="118" y="137"/>
                  <a:pt x="122" y="138"/>
                </a:cubicBezTo>
                <a:cubicBezTo>
                  <a:pt x="125" y="139"/>
                  <a:pt x="127" y="140"/>
                  <a:pt x="130" y="140"/>
                </a:cubicBezTo>
                <a:cubicBezTo>
                  <a:pt x="132" y="141"/>
                  <a:pt x="133" y="140"/>
                  <a:pt x="135" y="139"/>
                </a:cubicBezTo>
                <a:cubicBezTo>
                  <a:pt x="138" y="135"/>
                  <a:pt x="141" y="131"/>
                  <a:pt x="144" y="128"/>
                </a:cubicBezTo>
                <a:cubicBezTo>
                  <a:pt x="147" y="126"/>
                  <a:pt x="147" y="123"/>
                  <a:pt x="146" y="121"/>
                </a:cubicBezTo>
                <a:close/>
                <a:moveTo>
                  <a:pt x="61" y="101"/>
                </a:moveTo>
                <a:cubicBezTo>
                  <a:pt x="49" y="90"/>
                  <a:pt x="48" y="72"/>
                  <a:pt x="58" y="61"/>
                </a:cubicBezTo>
                <a:cubicBezTo>
                  <a:pt x="69" y="49"/>
                  <a:pt x="87" y="48"/>
                  <a:pt x="98" y="59"/>
                </a:cubicBezTo>
                <a:cubicBezTo>
                  <a:pt x="110" y="69"/>
                  <a:pt x="111" y="88"/>
                  <a:pt x="101" y="99"/>
                </a:cubicBezTo>
                <a:cubicBezTo>
                  <a:pt x="91" y="111"/>
                  <a:pt x="73" y="111"/>
                  <a:pt x="61" y="1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66" name="Freeform 89"/>
          <p:cNvSpPr>
            <a:spLocks noEditPoints="1"/>
          </p:cNvSpPr>
          <p:nvPr/>
        </p:nvSpPr>
        <p:spPr bwMode="auto">
          <a:xfrm>
            <a:off x="9301163" y="2843213"/>
            <a:ext cx="173037" cy="173037"/>
          </a:xfrm>
          <a:custGeom>
            <a:avLst/>
            <a:gdLst>
              <a:gd name="T0" fmla="*/ 67 w 73"/>
              <a:gd name="T1" fmla="*/ 55 h 73"/>
              <a:gd name="T2" fmla="*/ 63 w 73"/>
              <a:gd name="T3" fmla="*/ 46 h 73"/>
              <a:gd name="T4" fmla="*/ 72 w 73"/>
              <a:gd name="T5" fmla="*/ 41 h 73"/>
              <a:gd name="T6" fmla="*/ 73 w 73"/>
              <a:gd name="T7" fmla="*/ 31 h 73"/>
              <a:gd name="T8" fmla="*/ 63 w 73"/>
              <a:gd name="T9" fmla="*/ 26 h 73"/>
              <a:gd name="T10" fmla="*/ 62 w 73"/>
              <a:gd name="T11" fmla="*/ 22 h 73"/>
              <a:gd name="T12" fmla="*/ 64 w 73"/>
              <a:gd name="T13" fmla="*/ 15 h 73"/>
              <a:gd name="T14" fmla="*/ 58 w 73"/>
              <a:gd name="T15" fmla="*/ 8 h 73"/>
              <a:gd name="T16" fmla="*/ 49 w 73"/>
              <a:gd name="T17" fmla="*/ 10 h 73"/>
              <a:gd name="T18" fmla="*/ 44 w 73"/>
              <a:gd name="T19" fmla="*/ 9 h 73"/>
              <a:gd name="T20" fmla="*/ 37 w 73"/>
              <a:gd name="T21" fmla="*/ 0 h 73"/>
              <a:gd name="T22" fmla="*/ 28 w 73"/>
              <a:gd name="T23" fmla="*/ 3 h 73"/>
              <a:gd name="T24" fmla="*/ 24 w 73"/>
              <a:gd name="T25" fmla="*/ 12 h 73"/>
              <a:gd name="T26" fmla="*/ 18 w 73"/>
              <a:gd name="T27" fmla="*/ 10 h 73"/>
              <a:gd name="T28" fmla="*/ 12 w 73"/>
              <a:gd name="T29" fmla="*/ 10 h 73"/>
              <a:gd name="T30" fmla="*/ 7 w 73"/>
              <a:gd name="T31" fmla="*/ 18 h 73"/>
              <a:gd name="T32" fmla="*/ 11 w 73"/>
              <a:gd name="T33" fmla="*/ 26 h 73"/>
              <a:gd name="T34" fmla="*/ 2 w 73"/>
              <a:gd name="T35" fmla="*/ 33 h 73"/>
              <a:gd name="T36" fmla="*/ 1 w 73"/>
              <a:gd name="T37" fmla="*/ 42 h 73"/>
              <a:gd name="T38" fmla="*/ 11 w 73"/>
              <a:gd name="T39" fmla="*/ 47 h 73"/>
              <a:gd name="T40" fmla="*/ 12 w 73"/>
              <a:gd name="T41" fmla="*/ 51 h 73"/>
              <a:gd name="T42" fmla="*/ 11 w 73"/>
              <a:gd name="T43" fmla="*/ 61 h 73"/>
              <a:gd name="T44" fmla="*/ 19 w 73"/>
              <a:gd name="T45" fmla="*/ 66 h 73"/>
              <a:gd name="T46" fmla="*/ 29 w 73"/>
              <a:gd name="T47" fmla="*/ 63 h 73"/>
              <a:gd name="T48" fmla="*/ 33 w 73"/>
              <a:gd name="T49" fmla="*/ 70 h 73"/>
              <a:gd name="T50" fmla="*/ 36 w 73"/>
              <a:gd name="T51" fmla="*/ 73 h 73"/>
              <a:gd name="T52" fmla="*/ 45 w 73"/>
              <a:gd name="T53" fmla="*/ 71 h 73"/>
              <a:gd name="T54" fmla="*/ 50 w 73"/>
              <a:gd name="T55" fmla="*/ 62 h 73"/>
              <a:gd name="T56" fmla="*/ 56 w 73"/>
              <a:gd name="T57" fmla="*/ 63 h 73"/>
              <a:gd name="T58" fmla="*/ 62 w 73"/>
              <a:gd name="T59" fmla="*/ 64 h 73"/>
              <a:gd name="T60" fmla="*/ 28 w 73"/>
              <a:gd name="T61" fmla="*/ 46 h 73"/>
              <a:gd name="T62" fmla="*/ 45 w 73"/>
              <a:gd name="T63" fmla="*/ 27 h 73"/>
              <a:gd name="T64" fmla="*/ 28 w 73"/>
              <a:gd name="T6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 h="73">
                <a:moveTo>
                  <a:pt x="66" y="58"/>
                </a:moveTo>
                <a:cubicBezTo>
                  <a:pt x="67" y="57"/>
                  <a:pt x="68" y="56"/>
                  <a:pt x="67" y="55"/>
                </a:cubicBezTo>
                <a:cubicBezTo>
                  <a:pt x="66" y="53"/>
                  <a:pt x="65" y="51"/>
                  <a:pt x="64" y="49"/>
                </a:cubicBezTo>
                <a:cubicBezTo>
                  <a:pt x="63" y="48"/>
                  <a:pt x="63" y="47"/>
                  <a:pt x="63" y="46"/>
                </a:cubicBezTo>
                <a:cubicBezTo>
                  <a:pt x="64" y="45"/>
                  <a:pt x="64" y="45"/>
                  <a:pt x="65" y="44"/>
                </a:cubicBezTo>
                <a:cubicBezTo>
                  <a:pt x="67" y="43"/>
                  <a:pt x="70" y="42"/>
                  <a:pt x="72" y="41"/>
                </a:cubicBezTo>
                <a:cubicBezTo>
                  <a:pt x="73" y="40"/>
                  <a:pt x="73" y="39"/>
                  <a:pt x="73" y="38"/>
                </a:cubicBezTo>
                <a:cubicBezTo>
                  <a:pt x="73" y="36"/>
                  <a:pt x="73" y="34"/>
                  <a:pt x="73" y="31"/>
                </a:cubicBezTo>
                <a:cubicBezTo>
                  <a:pt x="73" y="30"/>
                  <a:pt x="72" y="29"/>
                  <a:pt x="71" y="29"/>
                </a:cubicBezTo>
                <a:cubicBezTo>
                  <a:pt x="69" y="28"/>
                  <a:pt x="66" y="27"/>
                  <a:pt x="63" y="26"/>
                </a:cubicBezTo>
                <a:cubicBezTo>
                  <a:pt x="63" y="26"/>
                  <a:pt x="62" y="26"/>
                  <a:pt x="62" y="25"/>
                </a:cubicBezTo>
                <a:cubicBezTo>
                  <a:pt x="61" y="24"/>
                  <a:pt x="61" y="23"/>
                  <a:pt x="62" y="22"/>
                </a:cubicBezTo>
                <a:cubicBezTo>
                  <a:pt x="62" y="21"/>
                  <a:pt x="62" y="21"/>
                  <a:pt x="62" y="20"/>
                </a:cubicBezTo>
                <a:cubicBezTo>
                  <a:pt x="63" y="18"/>
                  <a:pt x="63" y="17"/>
                  <a:pt x="64" y="15"/>
                </a:cubicBezTo>
                <a:cubicBezTo>
                  <a:pt x="64" y="14"/>
                  <a:pt x="64" y="13"/>
                  <a:pt x="63" y="12"/>
                </a:cubicBezTo>
                <a:cubicBezTo>
                  <a:pt x="61" y="11"/>
                  <a:pt x="60" y="9"/>
                  <a:pt x="58" y="8"/>
                </a:cubicBezTo>
                <a:cubicBezTo>
                  <a:pt x="57" y="7"/>
                  <a:pt x="56" y="6"/>
                  <a:pt x="55" y="7"/>
                </a:cubicBezTo>
                <a:cubicBezTo>
                  <a:pt x="53" y="8"/>
                  <a:pt x="51" y="9"/>
                  <a:pt x="49" y="10"/>
                </a:cubicBezTo>
                <a:cubicBezTo>
                  <a:pt x="48" y="11"/>
                  <a:pt x="46" y="11"/>
                  <a:pt x="45" y="10"/>
                </a:cubicBezTo>
                <a:cubicBezTo>
                  <a:pt x="45" y="10"/>
                  <a:pt x="44" y="10"/>
                  <a:pt x="44" y="9"/>
                </a:cubicBezTo>
                <a:cubicBezTo>
                  <a:pt x="43" y="7"/>
                  <a:pt x="41" y="4"/>
                  <a:pt x="40" y="2"/>
                </a:cubicBezTo>
                <a:cubicBezTo>
                  <a:pt x="40" y="1"/>
                  <a:pt x="39" y="0"/>
                  <a:pt x="37" y="0"/>
                </a:cubicBezTo>
                <a:cubicBezTo>
                  <a:pt x="35" y="1"/>
                  <a:pt x="33" y="1"/>
                  <a:pt x="31" y="1"/>
                </a:cubicBezTo>
                <a:cubicBezTo>
                  <a:pt x="30" y="1"/>
                  <a:pt x="29" y="1"/>
                  <a:pt x="28" y="3"/>
                </a:cubicBezTo>
                <a:cubicBezTo>
                  <a:pt x="28" y="5"/>
                  <a:pt x="27" y="7"/>
                  <a:pt x="26" y="9"/>
                </a:cubicBezTo>
                <a:cubicBezTo>
                  <a:pt x="26" y="10"/>
                  <a:pt x="25" y="11"/>
                  <a:pt x="24" y="12"/>
                </a:cubicBezTo>
                <a:cubicBezTo>
                  <a:pt x="23" y="12"/>
                  <a:pt x="23" y="12"/>
                  <a:pt x="22" y="12"/>
                </a:cubicBezTo>
                <a:cubicBezTo>
                  <a:pt x="21" y="11"/>
                  <a:pt x="19" y="11"/>
                  <a:pt x="18" y="10"/>
                </a:cubicBezTo>
                <a:cubicBezTo>
                  <a:pt x="16" y="10"/>
                  <a:pt x="15" y="9"/>
                  <a:pt x="14" y="9"/>
                </a:cubicBezTo>
                <a:cubicBezTo>
                  <a:pt x="13" y="9"/>
                  <a:pt x="12" y="9"/>
                  <a:pt x="12" y="10"/>
                </a:cubicBezTo>
                <a:cubicBezTo>
                  <a:pt x="10" y="12"/>
                  <a:pt x="9" y="13"/>
                  <a:pt x="7" y="15"/>
                </a:cubicBezTo>
                <a:cubicBezTo>
                  <a:pt x="6" y="16"/>
                  <a:pt x="6" y="17"/>
                  <a:pt x="7" y="18"/>
                </a:cubicBezTo>
                <a:cubicBezTo>
                  <a:pt x="8" y="21"/>
                  <a:pt x="9" y="23"/>
                  <a:pt x="10" y="25"/>
                </a:cubicBezTo>
                <a:cubicBezTo>
                  <a:pt x="11" y="26"/>
                  <a:pt x="11" y="26"/>
                  <a:pt x="11" y="26"/>
                </a:cubicBezTo>
                <a:cubicBezTo>
                  <a:pt x="10" y="27"/>
                  <a:pt x="10" y="29"/>
                  <a:pt x="9" y="29"/>
                </a:cubicBezTo>
                <a:cubicBezTo>
                  <a:pt x="6" y="30"/>
                  <a:pt x="4" y="31"/>
                  <a:pt x="2" y="33"/>
                </a:cubicBezTo>
                <a:cubicBezTo>
                  <a:pt x="1" y="33"/>
                  <a:pt x="0" y="34"/>
                  <a:pt x="1" y="35"/>
                </a:cubicBezTo>
                <a:cubicBezTo>
                  <a:pt x="1" y="38"/>
                  <a:pt x="1" y="40"/>
                  <a:pt x="1" y="42"/>
                </a:cubicBezTo>
                <a:cubicBezTo>
                  <a:pt x="1" y="43"/>
                  <a:pt x="2" y="44"/>
                  <a:pt x="3" y="44"/>
                </a:cubicBezTo>
                <a:cubicBezTo>
                  <a:pt x="5" y="45"/>
                  <a:pt x="8" y="46"/>
                  <a:pt x="11" y="47"/>
                </a:cubicBezTo>
                <a:cubicBezTo>
                  <a:pt x="11" y="48"/>
                  <a:pt x="11" y="48"/>
                  <a:pt x="11" y="48"/>
                </a:cubicBezTo>
                <a:cubicBezTo>
                  <a:pt x="12" y="49"/>
                  <a:pt x="13" y="50"/>
                  <a:pt x="12" y="51"/>
                </a:cubicBezTo>
                <a:cubicBezTo>
                  <a:pt x="11" y="54"/>
                  <a:pt x="11" y="56"/>
                  <a:pt x="10" y="59"/>
                </a:cubicBezTo>
                <a:cubicBezTo>
                  <a:pt x="9" y="60"/>
                  <a:pt x="10" y="61"/>
                  <a:pt x="11" y="61"/>
                </a:cubicBezTo>
                <a:cubicBezTo>
                  <a:pt x="12" y="63"/>
                  <a:pt x="14" y="64"/>
                  <a:pt x="16" y="66"/>
                </a:cubicBezTo>
                <a:cubicBezTo>
                  <a:pt x="17" y="67"/>
                  <a:pt x="18" y="67"/>
                  <a:pt x="19" y="66"/>
                </a:cubicBezTo>
                <a:cubicBezTo>
                  <a:pt x="21" y="65"/>
                  <a:pt x="23" y="64"/>
                  <a:pt x="25" y="63"/>
                </a:cubicBezTo>
                <a:cubicBezTo>
                  <a:pt x="26" y="63"/>
                  <a:pt x="27" y="62"/>
                  <a:pt x="29" y="63"/>
                </a:cubicBezTo>
                <a:cubicBezTo>
                  <a:pt x="29" y="63"/>
                  <a:pt x="29" y="64"/>
                  <a:pt x="30" y="64"/>
                </a:cubicBezTo>
                <a:cubicBezTo>
                  <a:pt x="31" y="66"/>
                  <a:pt x="32" y="68"/>
                  <a:pt x="33" y="70"/>
                </a:cubicBezTo>
                <a:cubicBezTo>
                  <a:pt x="33" y="71"/>
                  <a:pt x="34" y="72"/>
                  <a:pt x="34" y="73"/>
                </a:cubicBezTo>
                <a:cubicBezTo>
                  <a:pt x="35" y="73"/>
                  <a:pt x="35" y="73"/>
                  <a:pt x="36" y="73"/>
                </a:cubicBezTo>
                <a:cubicBezTo>
                  <a:pt x="38" y="73"/>
                  <a:pt x="40" y="73"/>
                  <a:pt x="43" y="73"/>
                </a:cubicBezTo>
                <a:cubicBezTo>
                  <a:pt x="44" y="73"/>
                  <a:pt x="45" y="72"/>
                  <a:pt x="45" y="71"/>
                </a:cubicBezTo>
                <a:cubicBezTo>
                  <a:pt x="46" y="69"/>
                  <a:pt x="47" y="66"/>
                  <a:pt x="48" y="64"/>
                </a:cubicBezTo>
                <a:cubicBezTo>
                  <a:pt x="48" y="63"/>
                  <a:pt x="49" y="62"/>
                  <a:pt x="50" y="62"/>
                </a:cubicBezTo>
                <a:cubicBezTo>
                  <a:pt x="50" y="61"/>
                  <a:pt x="51" y="61"/>
                  <a:pt x="51" y="61"/>
                </a:cubicBezTo>
                <a:cubicBezTo>
                  <a:pt x="53" y="62"/>
                  <a:pt x="54" y="63"/>
                  <a:pt x="56" y="63"/>
                </a:cubicBezTo>
                <a:cubicBezTo>
                  <a:pt x="57" y="64"/>
                  <a:pt x="59" y="64"/>
                  <a:pt x="60" y="64"/>
                </a:cubicBezTo>
                <a:cubicBezTo>
                  <a:pt x="61" y="64"/>
                  <a:pt x="61" y="64"/>
                  <a:pt x="62" y="64"/>
                </a:cubicBezTo>
                <a:cubicBezTo>
                  <a:pt x="63" y="62"/>
                  <a:pt x="65" y="60"/>
                  <a:pt x="66" y="58"/>
                </a:cubicBezTo>
                <a:close/>
                <a:moveTo>
                  <a:pt x="28" y="46"/>
                </a:moveTo>
                <a:cubicBezTo>
                  <a:pt x="23" y="41"/>
                  <a:pt x="22" y="33"/>
                  <a:pt x="27" y="28"/>
                </a:cubicBezTo>
                <a:cubicBezTo>
                  <a:pt x="32" y="23"/>
                  <a:pt x="40" y="22"/>
                  <a:pt x="45" y="27"/>
                </a:cubicBezTo>
                <a:cubicBezTo>
                  <a:pt x="51" y="32"/>
                  <a:pt x="51" y="40"/>
                  <a:pt x="47" y="45"/>
                </a:cubicBezTo>
                <a:cubicBezTo>
                  <a:pt x="42" y="51"/>
                  <a:pt x="34" y="51"/>
                  <a:pt x="28" y="4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67" name="Freeform 90"/>
          <p:cNvSpPr>
            <a:spLocks noEditPoints="1"/>
          </p:cNvSpPr>
          <p:nvPr/>
        </p:nvSpPr>
        <p:spPr bwMode="auto">
          <a:xfrm>
            <a:off x="5064125" y="4530725"/>
            <a:ext cx="382588" cy="376238"/>
          </a:xfrm>
          <a:custGeom>
            <a:avLst/>
            <a:gdLst>
              <a:gd name="T0" fmla="*/ 21 w 161"/>
              <a:gd name="T1" fmla="*/ 102 h 158"/>
              <a:gd name="T2" fmla="*/ 25 w 161"/>
              <a:gd name="T3" fmla="*/ 111 h 158"/>
              <a:gd name="T4" fmla="*/ 22 w 161"/>
              <a:gd name="T5" fmla="*/ 133 h 158"/>
              <a:gd name="T6" fmla="*/ 39 w 161"/>
              <a:gd name="T7" fmla="*/ 144 h 158"/>
              <a:gd name="T8" fmla="*/ 59 w 161"/>
              <a:gd name="T9" fmla="*/ 136 h 158"/>
              <a:gd name="T10" fmla="*/ 66 w 161"/>
              <a:gd name="T11" fmla="*/ 144 h 158"/>
              <a:gd name="T12" fmla="*/ 78 w 161"/>
              <a:gd name="T13" fmla="*/ 157 h 158"/>
              <a:gd name="T14" fmla="*/ 98 w 161"/>
              <a:gd name="T15" fmla="*/ 153 h 158"/>
              <a:gd name="T16" fmla="*/ 108 w 161"/>
              <a:gd name="T17" fmla="*/ 132 h 158"/>
              <a:gd name="T18" fmla="*/ 129 w 161"/>
              <a:gd name="T19" fmla="*/ 138 h 158"/>
              <a:gd name="T20" fmla="*/ 145 w 161"/>
              <a:gd name="T21" fmla="*/ 125 h 158"/>
              <a:gd name="T22" fmla="*/ 140 w 161"/>
              <a:gd name="T23" fmla="*/ 105 h 158"/>
              <a:gd name="T24" fmla="*/ 141 w 161"/>
              <a:gd name="T25" fmla="*/ 95 h 158"/>
              <a:gd name="T26" fmla="*/ 158 w 161"/>
              <a:gd name="T27" fmla="*/ 86 h 158"/>
              <a:gd name="T28" fmla="*/ 160 w 161"/>
              <a:gd name="T29" fmla="*/ 67 h 158"/>
              <a:gd name="T30" fmla="*/ 139 w 161"/>
              <a:gd name="T31" fmla="*/ 55 h 158"/>
              <a:gd name="T32" fmla="*/ 135 w 161"/>
              <a:gd name="T33" fmla="*/ 47 h 158"/>
              <a:gd name="T34" fmla="*/ 138 w 161"/>
              <a:gd name="T35" fmla="*/ 24 h 158"/>
              <a:gd name="T36" fmla="*/ 121 w 161"/>
              <a:gd name="T37" fmla="*/ 14 h 158"/>
              <a:gd name="T38" fmla="*/ 103 w 161"/>
              <a:gd name="T39" fmla="*/ 22 h 158"/>
              <a:gd name="T40" fmla="*/ 88 w 161"/>
              <a:gd name="T41" fmla="*/ 3 h 158"/>
              <a:gd name="T42" fmla="*/ 68 w 161"/>
              <a:gd name="T43" fmla="*/ 1 h 158"/>
              <a:gd name="T44" fmla="*/ 58 w 161"/>
              <a:gd name="T45" fmla="*/ 19 h 158"/>
              <a:gd name="T46" fmla="*/ 49 w 161"/>
              <a:gd name="T47" fmla="*/ 25 h 158"/>
              <a:gd name="T48" fmla="*/ 29 w 161"/>
              <a:gd name="T49" fmla="*/ 19 h 158"/>
              <a:gd name="T50" fmla="*/ 16 w 161"/>
              <a:gd name="T51" fmla="*/ 32 h 158"/>
              <a:gd name="T52" fmla="*/ 21 w 161"/>
              <a:gd name="T53" fmla="*/ 52 h 158"/>
              <a:gd name="T54" fmla="*/ 19 w 161"/>
              <a:gd name="T55" fmla="*/ 63 h 158"/>
              <a:gd name="T56" fmla="*/ 2 w 161"/>
              <a:gd name="T57" fmla="*/ 72 h 158"/>
              <a:gd name="T58" fmla="*/ 1 w 161"/>
              <a:gd name="T59" fmla="*/ 91 h 158"/>
              <a:gd name="T60" fmla="*/ 79 w 161"/>
              <a:gd name="T61" fmla="*/ 51 h 158"/>
              <a:gd name="T62" fmla="*/ 82 w 161"/>
              <a:gd name="T63" fmla="*/ 107 h 158"/>
              <a:gd name="T64" fmla="*/ 79 w 161"/>
              <a:gd name="T65" fmla="*/ 5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158">
                <a:moveTo>
                  <a:pt x="5" y="96"/>
                </a:moveTo>
                <a:cubicBezTo>
                  <a:pt x="10" y="98"/>
                  <a:pt x="15" y="100"/>
                  <a:pt x="21" y="102"/>
                </a:cubicBezTo>
                <a:cubicBezTo>
                  <a:pt x="23" y="102"/>
                  <a:pt x="24" y="103"/>
                  <a:pt x="25" y="105"/>
                </a:cubicBezTo>
                <a:cubicBezTo>
                  <a:pt x="26" y="107"/>
                  <a:pt x="26" y="109"/>
                  <a:pt x="25" y="111"/>
                </a:cubicBezTo>
                <a:cubicBezTo>
                  <a:pt x="23" y="116"/>
                  <a:pt x="22" y="121"/>
                  <a:pt x="20" y="127"/>
                </a:cubicBezTo>
                <a:cubicBezTo>
                  <a:pt x="19" y="129"/>
                  <a:pt x="20" y="131"/>
                  <a:pt x="22" y="133"/>
                </a:cubicBezTo>
                <a:cubicBezTo>
                  <a:pt x="26" y="136"/>
                  <a:pt x="29" y="139"/>
                  <a:pt x="33" y="143"/>
                </a:cubicBezTo>
                <a:cubicBezTo>
                  <a:pt x="35" y="144"/>
                  <a:pt x="37" y="145"/>
                  <a:pt x="39" y="144"/>
                </a:cubicBezTo>
                <a:cubicBezTo>
                  <a:pt x="44" y="141"/>
                  <a:pt x="50" y="139"/>
                  <a:pt x="55" y="136"/>
                </a:cubicBezTo>
                <a:cubicBezTo>
                  <a:pt x="57" y="135"/>
                  <a:pt x="58" y="135"/>
                  <a:pt x="59" y="136"/>
                </a:cubicBezTo>
                <a:cubicBezTo>
                  <a:pt x="62" y="136"/>
                  <a:pt x="64" y="138"/>
                  <a:pt x="65" y="141"/>
                </a:cubicBezTo>
                <a:cubicBezTo>
                  <a:pt x="65" y="142"/>
                  <a:pt x="66" y="143"/>
                  <a:pt x="66" y="144"/>
                </a:cubicBezTo>
                <a:cubicBezTo>
                  <a:pt x="68" y="147"/>
                  <a:pt x="70" y="151"/>
                  <a:pt x="72" y="154"/>
                </a:cubicBezTo>
                <a:cubicBezTo>
                  <a:pt x="73" y="157"/>
                  <a:pt x="75" y="158"/>
                  <a:pt x="78" y="157"/>
                </a:cubicBezTo>
                <a:cubicBezTo>
                  <a:pt x="83" y="157"/>
                  <a:pt x="87" y="157"/>
                  <a:pt x="92" y="157"/>
                </a:cubicBezTo>
                <a:cubicBezTo>
                  <a:pt x="95" y="157"/>
                  <a:pt x="97" y="155"/>
                  <a:pt x="98" y="153"/>
                </a:cubicBezTo>
                <a:cubicBezTo>
                  <a:pt x="100" y="148"/>
                  <a:pt x="102" y="143"/>
                  <a:pt x="103" y="139"/>
                </a:cubicBezTo>
                <a:cubicBezTo>
                  <a:pt x="104" y="135"/>
                  <a:pt x="105" y="133"/>
                  <a:pt x="108" y="132"/>
                </a:cubicBezTo>
                <a:cubicBezTo>
                  <a:pt x="110" y="132"/>
                  <a:pt x="111" y="132"/>
                  <a:pt x="112" y="132"/>
                </a:cubicBezTo>
                <a:cubicBezTo>
                  <a:pt x="118" y="134"/>
                  <a:pt x="123" y="136"/>
                  <a:pt x="129" y="138"/>
                </a:cubicBezTo>
                <a:cubicBezTo>
                  <a:pt x="132" y="139"/>
                  <a:pt x="134" y="138"/>
                  <a:pt x="136" y="136"/>
                </a:cubicBezTo>
                <a:cubicBezTo>
                  <a:pt x="139" y="132"/>
                  <a:pt x="142" y="129"/>
                  <a:pt x="145" y="125"/>
                </a:cubicBezTo>
                <a:cubicBezTo>
                  <a:pt x="147" y="123"/>
                  <a:pt x="148" y="121"/>
                  <a:pt x="146" y="118"/>
                </a:cubicBezTo>
                <a:cubicBezTo>
                  <a:pt x="144" y="114"/>
                  <a:pt x="142" y="109"/>
                  <a:pt x="140" y="105"/>
                </a:cubicBezTo>
                <a:cubicBezTo>
                  <a:pt x="138" y="102"/>
                  <a:pt x="138" y="100"/>
                  <a:pt x="139" y="97"/>
                </a:cubicBezTo>
                <a:cubicBezTo>
                  <a:pt x="140" y="96"/>
                  <a:pt x="140" y="95"/>
                  <a:pt x="141" y="95"/>
                </a:cubicBezTo>
                <a:cubicBezTo>
                  <a:pt x="144" y="93"/>
                  <a:pt x="148" y="92"/>
                  <a:pt x="151" y="90"/>
                </a:cubicBezTo>
                <a:cubicBezTo>
                  <a:pt x="154" y="89"/>
                  <a:pt x="156" y="87"/>
                  <a:pt x="158" y="86"/>
                </a:cubicBezTo>
                <a:cubicBezTo>
                  <a:pt x="160" y="85"/>
                  <a:pt x="161" y="83"/>
                  <a:pt x="161" y="81"/>
                </a:cubicBezTo>
                <a:cubicBezTo>
                  <a:pt x="160" y="77"/>
                  <a:pt x="160" y="72"/>
                  <a:pt x="160" y="67"/>
                </a:cubicBezTo>
                <a:cubicBezTo>
                  <a:pt x="160" y="64"/>
                  <a:pt x="158" y="62"/>
                  <a:pt x="155" y="61"/>
                </a:cubicBezTo>
                <a:cubicBezTo>
                  <a:pt x="150" y="59"/>
                  <a:pt x="144" y="57"/>
                  <a:pt x="139" y="55"/>
                </a:cubicBezTo>
                <a:cubicBezTo>
                  <a:pt x="138" y="55"/>
                  <a:pt x="137" y="55"/>
                  <a:pt x="137" y="55"/>
                </a:cubicBezTo>
                <a:cubicBezTo>
                  <a:pt x="136" y="52"/>
                  <a:pt x="134" y="50"/>
                  <a:pt x="135" y="47"/>
                </a:cubicBezTo>
                <a:cubicBezTo>
                  <a:pt x="138" y="42"/>
                  <a:pt x="139" y="36"/>
                  <a:pt x="141" y="31"/>
                </a:cubicBezTo>
                <a:cubicBezTo>
                  <a:pt x="142" y="28"/>
                  <a:pt x="141" y="26"/>
                  <a:pt x="138" y="24"/>
                </a:cubicBezTo>
                <a:cubicBezTo>
                  <a:pt x="135" y="21"/>
                  <a:pt x="131" y="18"/>
                  <a:pt x="128" y="15"/>
                </a:cubicBezTo>
                <a:cubicBezTo>
                  <a:pt x="126" y="13"/>
                  <a:pt x="124" y="13"/>
                  <a:pt x="121" y="14"/>
                </a:cubicBezTo>
                <a:cubicBezTo>
                  <a:pt x="116" y="16"/>
                  <a:pt x="110" y="19"/>
                  <a:pt x="105" y="22"/>
                </a:cubicBezTo>
                <a:cubicBezTo>
                  <a:pt x="104" y="22"/>
                  <a:pt x="104" y="22"/>
                  <a:pt x="103" y="22"/>
                </a:cubicBezTo>
                <a:cubicBezTo>
                  <a:pt x="100" y="21"/>
                  <a:pt x="97" y="21"/>
                  <a:pt x="96" y="18"/>
                </a:cubicBezTo>
                <a:cubicBezTo>
                  <a:pt x="94" y="12"/>
                  <a:pt x="91" y="8"/>
                  <a:pt x="88" y="3"/>
                </a:cubicBezTo>
                <a:cubicBezTo>
                  <a:pt x="87" y="1"/>
                  <a:pt x="85" y="0"/>
                  <a:pt x="83" y="0"/>
                </a:cubicBezTo>
                <a:cubicBezTo>
                  <a:pt x="78" y="0"/>
                  <a:pt x="73" y="1"/>
                  <a:pt x="68" y="1"/>
                </a:cubicBezTo>
                <a:cubicBezTo>
                  <a:pt x="65" y="1"/>
                  <a:pt x="63" y="2"/>
                  <a:pt x="62" y="5"/>
                </a:cubicBezTo>
                <a:cubicBezTo>
                  <a:pt x="61" y="9"/>
                  <a:pt x="59" y="14"/>
                  <a:pt x="58" y="19"/>
                </a:cubicBezTo>
                <a:cubicBezTo>
                  <a:pt x="57" y="22"/>
                  <a:pt x="55" y="24"/>
                  <a:pt x="52" y="25"/>
                </a:cubicBezTo>
                <a:cubicBezTo>
                  <a:pt x="51" y="25"/>
                  <a:pt x="50" y="26"/>
                  <a:pt x="49" y="25"/>
                </a:cubicBezTo>
                <a:cubicBezTo>
                  <a:pt x="44" y="23"/>
                  <a:pt x="39" y="22"/>
                  <a:pt x="34" y="20"/>
                </a:cubicBezTo>
                <a:cubicBezTo>
                  <a:pt x="32" y="20"/>
                  <a:pt x="31" y="20"/>
                  <a:pt x="29" y="19"/>
                </a:cubicBezTo>
                <a:cubicBezTo>
                  <a:pt x="28" y="20"/>
                  <a:pt x="26" y="20"/>
                  <a:pt x="25" y="21"/>
                </a:cubicBezTo>
                <a:cubicBezTo>
                  <a:pt x="22" y="25"/>
                  <a:pt x="19" y="29"/>
                  <a:pt x="16" y="32"/>
                </a:cubicBezTo>
                <a:cubicBezTo>
                  <a:pt x="13" y="34"/>
                  <a:pt x="13" y="36"/>
                  <a:pt x="14" y="39"/>
                </a:cubicBezTo>
                <a:cubicBezTo>
                  <a:pt x="16" y="44"/>
                  <a:pt x="19" y="48"/>
                  <a:pt x="21" y="52"/>
                </a:cubicBezTo>
                <a:cubicBezTo>
                  <a:pt x="23" y="55"/>
                  <a:pt x="23" y="58"/>
                  <a:pt x="22" y="60"/>
                </a:cubicBezTo>
                <a:cubicBezTo>
                  <a:pt x="21" y="61"/>
                  <a:pt x="21" y="62"/>
                  <a:pt x="19" y="63"/>
                </a:cubicBezTo>
                <a:cubicBezTo>
                  <a:pt x="16" y="64"/>
                  <a:pt x="13" y="66"/>
                  <a:pt x="9" y="67"/>
                </a:cubicBezTo>
                <a:cubicBezTo>
                  <a:pt x="7" y="69"/>
                  <a:pt x="4" y="70"/>
                  <a:pt x="2" y="72"/>
                </a:cubicBezTo>
                <a:cubicBezTo>
                  <a:pt x="0" y="73"/>
                  <a:pt x="0" y="74"/>
                  <a:pt x="0" y="76"/>
                </a:cubicBezTo>
                <a:cubicBezTo>
                  <a:pt x="0" y="81"/>
                  <a:pt x="1" y="86"/>
                  <a:pt x="1" y="91"/>
                </a:cubicBezTo>
                <a:cubicBezTo>
                  <a:pt x="1" y="94"/>
                  <a:pt x="2" y="96"/>
                  <a:pt x="5" y="96"/>
                </a:cubicBezTo>
                <a:close/>
                <a:moveTo>
                  <a:pt x="79" y="51"/>
                </a:moveTo>
                <a:cubicBezTo>
                  <a:pt x="94" y="50"/>
                  <a:pt x="108" y="62"/>
                  <a:pt x="109" y="77"/>
                </a:cubicBezTo>
                <a:cubicBezTo>
                  <a:pt x="110" y="92"/>
                  <a:pt x="98" y="106"/>
                  <a:pt x="82" y="107"/>
                </a:cubicBezTo>
                <a:cubicBezTo>
                  <a:pt x="66" y="108"/>
                  <a:pt x="53" y="96"/>
                  <a:pt x="52" y="80"/>
                </a:cubicBezTo>
                <a:cubicBezTo>
                  <a:pt x="51" y="65"/>
                  <a:pt x="63" y="52"/>
                  <a:pt x="79" y="5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68" name="Freeform 91"/>
          <p:cNvSpPr>
            <a:spLocks noEditPoints="1"/>
          </p:cNvSpPr>
          <p:nvPr/>
        </p:nvSpPr>
        <p:spPr bwMode="auto">
          <a:xfrm>
            <a:off x="4930775" y="4808538"/>
            <a:ext cx="173038" cy="173037"/>
          </a:xfrm>
          <a:custGeom>
            <a:avLst/>
            <a:gdLst>
              <a:gd name="T0" fmla="*/ 2 w 73"/>
              <a:gd name="T1" fmla="*/ 44 h 72"/>
              <a:gd name="T2" fmla="*/ 11 w 73"/>
              <a:gd name="T3" fmla="*/ 48 h 72"/>
              <a:gd name="T4" fmla="*/ 9 w 73"/>
              <a:gd name="T5" fmla="*/ 58 h 72"/>
              <a:gd name="T6" fmla="*/ 15 w 73"/>
              <a:gd name="T7" fmla="*/ 65 h 72"/>
              <a:gd name="T8" fmla="*/ 25 w 73"/>
              <a:gd name="T9" fmla="*/ 62 h 72"/>
              <a:gd name="T10" fmla="*/ 30 w 73"/>
              <a:gd name="T11" fmla="*/ 64 h 72"/>
              <a:gd name="T12" fmla="*/ 33 w 73"/>
              <a:gd name="T13" fmla="*/ 71 h 72"/>
              <a:gd name="T14" fmla="*/ 42 w 73"/>
              <a:gd name="T15" fmla="*/ 72 h 72"/>
              <a:gd name="T16" fmla="*/ 47 w 73"/>
              <a:gd name="T17" fmla="*/ 64 h 72"/>
              <a:gd name="T18" fmla="*/ 51 w 73"/>
              <a:gd name="T19" fmla="*/ 61 h 72"/>
              <a:gd name="T20" fmla="*/ 62 w 73"/>
              <a:gd name="T21" fmla="*/ 62 h 72"/>
              <a:gd name="T22" fmla="*/ 67 w 73"/>
              <a:gd name="T23" fmla="*/ 54 h 72"/>
              <a:gd name="T24" fmla="*/ 64 w 73"/>
              <a:gd name="T25" fmla="*/ 45 h 72"/>
              <a:gd name="T26" fmla="*/ 69 w 73"/>
              <a:gd name="T27" fmla="*/ 41 h 72"/>
              <a:gd name="T28" fmla="*/ 73 w 73"/>
              <a:gd name="T29" fmla="*/ 37 h 72"/>
              <a:gd name="T30" fmla="*/ 71 w 73"/>
              <a:gd name="T31" fmla="*/ 28 h 72"/>
              <a:gd name="T32" fmla="*/ 63 w 73"/>
              <a:gd name="T33" fmla="*/ 25 h 72"/>
              <a:gd name="T34" fmla="*/ 64 w 73"/>
              <a:gd name="T35" fmla="*/ 14 h 72"/>
              <a:gd name="T36" fmla="*/ 58 w 73"/>
              <a:gd name="T37" fmla="*/ 7 h 72"/>
              <a:gd name="T38" fmla="*/ 48 w 73"/>
              <a:gd name="T39" fmla="*/ 10 h 72"/>
              <a:gd name="T40" fmla="*/ 44 w 73"/>
              <a:gd name="T41" fmla="*/ 8 h 72"/>
              <a:gd name="T42" fmla="*/ 38 w 73"/>
              <a:gd name="T43" fmla="*/ 0 h 72"/>
              <a:gd name="T44" fmla="*/ 29 w 73"/>
              <a:gd name="T45" fmla="*/ 2 h 72"/>
              <a:gd name="T46" fmla="*/ 24 w 73"/>
              <a:gd name="T47" fmla="*/ 12 h 72"/>
              <a:gd name="T48" fmla="*/ 16 w 73"/>
              <a:gd name="T49" fmla="*/ 10 h 72"/>
              <a:gd name="T50" fmla="*/ 12 w 73"/>
              <a:gd name="T51" fmla="*/ 10 h 72"/>
              <a:gd name="T52" fmla="*/ 7 w 73"/>
              <a:gd name="T53" fmla="*/ 18 h 72"/>
              <a:gd name="T54" fmla="*/ 10 w 73"/>
              <a:gd name="T55" fmla="*/ 28 h 72"/>
              <a:gd name="T56" fmla="*/ 4 w 73"/>
              <a:gd name="T57" fmla="*/ 31 h 72"/>
              <a:gd name="T58" fmla="*/ 0 w 73"/>
              <a:gd name="T59" fmla="*/ 35 h 72"/>
              <a:gd name="T60" fmla="*/ 36 w 73"/>
              <a:gd name="T61" fmla="*/ 23 h 72"/>
              <a:gd name="T62" fmla="*/ 37 w 73"/>
              <a:gd name="T63" fmla="*/ 49 h 72"/>
              <a:gd name="T64" fmla="*/ 36 w 73"/>
              <a:gd name="T65" fmla="*/ 2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 h="72">
                <a:moveTo>
                  <a:pt x="0" y="42"/>
                </a:moveTo>
                <a:cubicBezTo>
                  <a:pt x="0" y="43"/>
                  <a:pt x="1" y="44"/>
                  <a:pt x="2" y="44"/>
                </a:cubicBezTo>
                <a:cubicBezTo>
                  <a:pt x="5" y="45"/>
                  <a:pt x="7" y="46"/>
                  <a:pt x="9" y="47"/>
                </a:cubicBezTo>
                <a:cubicBezTo>
                  <a:pt x="10" y="47"/>
                  <a:pt x="11" y="47"/>
                  <a:pt x="11" y="48"/>
                </a:cubicBezTo>
                <a:cubicBezTo>
                  <a:pt x="12" y="49"/>
                  <a:pt x="12" y="50"/>
                  <a:pt x="12" y="51"/>
                </a:cubicBezTo>
                <a:cubicBezTo>
                  <a:pt x="11" y="53"/>
                  <a:pt x="10" y="56"/>
                  <a:pt x="9" y="58"/>
                </a:cubicBezTo>
                <a:cubicBezTo>
                  <a:pt x="9" y="59"/>
                  <a:pt x="9" y="60"/>
                  <a:pt x="10" y="61"/>
                </a:cubicBezTo>
                <a:cubicBezTo>
                  <a:pt x="12" y="62"/>
                  <a:pt x="13" y="64"/>
                  <a:pt x="15" y="65"/>
                </a:cubicBezTo>
                <a:cubicBezTo>
                  <a:pt x="16" y="66"/>
                  <a:pt x="17" y="66"/>
                  <a:pt x="18" y="66"/>
                </a:cubicBezTo>
                <a:cubicBezTo>
                  <a:pt x="20" y="65"/>
                  <a:pt x="23" y="64"/>
                  <a:pt x="25" y="62"/>
                </a:cubicBezTo>
                <a:cubicBezTo>
                  <a:pt x="26" y="62"/>
                  <a:pt x="26" y="62"/>
                  <a:pt x="27" y="62"/>
                </a:cubicBezTo>
                <a:cubicBezTo>
                  <a:pt x="28" y="62"/>
                  <a:pt x="29" y="63"/>
                  <a:pt x="30" y="64"/>
                </a:cubicBezTo>
                <a:cubicBezTo>
                  <a:pt x="30" y="65"/>
                  <a:pt x="30" y="65"/>
                  <a:pt x="30" y="66"/>
                </a:cubicBezTo>
                <a:cubicBezTo>
                  <a:pt x="31" y="68"/>
                  <a:pt x="32" y="69"/>
                  <a:pt x="33" y="71"/>
                </a:cubicBezTo>
                <a:cubicBezTo>
                  <a:pt x="34" y="72"/>
                  <a:pt x="34" y="72"/>
                  <a:pt x="36" y="72"/>
                </a:cubicBezTo>
                <a:cubicBezTo>
                  <a:pt x="38" y="72"/>
                  <a:pt x="40" y="72"/>
                  <a:pt x="42" y="72"/>
                </a:cubicBezTo>
                <a:cubicBezTo>
                  <a:pt x="44" y="72"/>
                  <a:pt x="44" y="71"/>
                  <a:pt x="45" y="70"/>
                </a:cubicBezTo>
                <a:cubicBezTo>
                  <a:pt x="46" y="68"/>
                  <a:pt x="47" y="66"/>
                  <a:pt x="47" y="64"/>
                </a:cubicBezTo>
                <a:cubicBezTo>
                  <a:pt x="48" y="62"/>
                  <a:pt x="48" y="61"/>
                  <a:pt x="50" y="61"/>
                </a:cubicBezTo>
                <a:cubicBezTo>
                  <a:pt x="50" y="61"/>
                  <a:pt x="51" y="61"/>
                  <a:pt x="51" y="61"/>
                </a:cubicBezTo>
                <a:cubicBezTo>
                  <a:pt x="54" y="62"/>
                  <a:pt x="56" y="62"/>
                  <a:pt x="59" y="63"/>
                </a:cubicBezTo>
                <a:cubicBezTo>
                  <a:pt x="60" y="64"/>
                  <a:pt x="61" y="63"/>
                  <a:pt x="62" y="62"/>
                </a:cubicBezTo>
                <a:cubicBezTo>
                  <a:pt x="63" y="61"/>
                  <a:pt x="65" y="59"/>
                  <a:pt x="66" y="58"/>
                </a:cubicBezTo>
                <a:cubicBezTo>
                  <a:pt x="67" y="57"/>
                  <a:pt x="67" y="56"/>
                  <a:pt x="67" y="54"/>
                </a:cubicBezTo>
                <a:cubicBezTo>
                  <a:pt x="66" y="52"/>
                  <a:pt x="65" y="50"/>
                  <a:pt x="64" y="48"/>
                </a:cubicBezTo>
                <a:cubicBezTo>
                  <a:pt x="63" y="47"/>
                  <a:pt x="63" y="46"/>
                  <a:pt x="64" y="45"/>
                </a:cubicBezTo>
                <a:cubicBezTo>
                  <a:pt x="64" y="44"/>
                  <a:pt x="64" y="44"/>
                  <a:pt x="65" y="44"/>
                </a:cubicBezTo>
                <a:cubicBezTo>
                  <a:pt x="66" y="43"/>
                  <a:pt x="68" y="42"/>
                  <a:pt x="69" y="41"/>
                </a:cubicBezTo>
                <a:cubicBezTo>
                  <a:pt x="70" y="41"/>
                  <a:pt x="71" y="40"/>
                  <a:pt x="72" y="40"/>
                </a:cubicBezTo>
                <a:cubicBezTo>
                  <a:pt x="73" y="39"/>
                  <a:pt x="73" y="38"/>
                  <a:pt x="73" y="37"/>
                </a:cubicBezTo>
                <a:cubicBezTo>
                  <a:pt x="73" y="35"/>
                  <a:pt x="73" y="33"/>
                  <a:pt x="73" y="31"/>
                </a:cubicBezTo>
                <a:cubicBezTo>
                  <a:pt x="73" y="29"/>
                  <a:pt x="72" y="28"/>
                  <a:pt x="71" y="28"/>
                </a:cubicBezTo>
                <a:cubicBezTo>
                  <a:pt x="68" y="27"/>
                  <a:pt x="66" y="26"/>
                  <a:pt x="63" y="25"/>
                </a:cubicBezTo>
                <a:cubicBezTo>
                  <a:pt x="63" y="25"/>
                  <a:pt x="63" y="25"/>
                  <a:pt x="63" y="25"/>
                </a:cubicBezTo>
                <a:cubicBezTo>
                  <a:pt x="62" y="24"/>
                  <a:pt x="61" y="23"/>
                  <a:pt x="62" y="22"/>
                </a:cubicBezTo>
                <a:cubicBezTo>
                  <a:pt x="63" y="19"/>
                  <a:pt x="64" y="17"/>
                  <a:pt x="64" y="14"/>
                </a:cubicBezTo>
                <a:cubicBezTo>
                  <a:pt x="65" y="13"/>
                  <a:pt x="64" y="12"/>
                  <a:pt x="63" y="11"/>
                </a:cubicBezTo>
                <a:cubicBezTo>
                  <a:pt x="62" y="10"/>
                  <a:pt x="60" y="9"/>
                  <a:pt x="58" y="7"/>
                </a:cubicBezTo>
                <a:cubicBezTo>
                  <a:pt x="58" y="6"/>
                  <a:pt x="57" y="6"/>
                  <a:pt x="56" y="7"/>
                </a:cubicBezTo>
                <a:cubicBezTo>
                  <a:pt x="53" y="8"/>
                  <a:pt x="50" y="9"/>
                  <a:pt x="48" y="10"/>
                </a:cubicBezTo>
                <a:cubicBezTo>
                  <a:pt x="47" y="10"/>
                  <a:pt x="47" y="10"/>
                  <a:pt x="47" y="10"/>
                </a:cubicBezTo>
                <a:cubicBezTo>
                  <a:pt x="46" y="10"/>
                  <a:pt x="45" y="10"/>
                  <a:pt x="44" y="8"/>
                </a:cubicBezTo>
                <a:cubicBezTo>
                  <a:pt x="43" y="6"/>
                  <a:pt x="42" y="4"/>
                  <a:pt x="40" y="2"/>
                </a:cubicBezTo>
                <a:cubicBezTo>
                  <a:pt x="40" y="1"/>
                  <a:pt x="39" y="0"/>
                  <a:pt x="38" y="0"/>
                </a:cubicBezTo>
                <a:cubicBezTo>
                  <a:pt x="36" y="0"/>
                  <a:pt x="33" y="1"/>
                  <a:pt x="31" y="1"/>
                </a:cubicBezTo>
                <a:cubicBezTo>
                  <a:pt x="30" y="1"/>
                  <a:pt x="29" y="1"/>
                  <a:pt x="29" y="2"/>
                </a:cubicBezTo>
                <a:cubicBezTo>
                  <a:pt x="28" y="5"/>
                  <a:pt x="27" y="7"/>
                  <a:pt x="26" y="9"/>
                </a:cubicBezTo>
                <a:cubicBezTo>
                  <a:pt x="26" y="10"/>
                  <a:pt x="25" y="11"/>
                  <a:pt x="24" y="12"/>
                </a:cubicBezTo>
                <a:cubicBezTo>
                  <a:pt x="23" y="12"/>
                  <a:pt x="23" y="12"/>
                  <a:pt x="22" y="12"/>
                </a:cubicBezTo>
                <a:cubicBezTo>
                  <a:pt x="20" y="11"/>
                  <a:pt x="18" y="10"/>
                  <a:pt x="16" y="10"/>
                </a:cubicBezTo>
                <a:cubicBezTo>
                  <a:pt x="15" y="9"/>
                  <a:pt x="14" y="9"/>
                  <a:pt x="13" y="9"/>
                </a:cubicBezTo>
                <a:cubicBezTo>
                  <a:pt x="13" y="9"/>
                  <a:pt x="12" y="10"/>
                  <a:pt x="12" y="10"/>
                </a:cubicBezTo>
                <a:cubicBezTo>
                  <a:pt x="10" y="12"/>
                  <a:pt x="9" y="13"/>
                  <a:pt x="7" y="15"/>
                </a:cubicBezTo>
                <a:cubicBezTo>
                  <a:pt x="6" y="16"/>
                  <a:pt x="6" y="17"/>
                  <a:pt x="7" y="18"/>
                </a:cubicBezTo>
                <a:cubicBezTo>
                  <a:pt x="8" y="20"/>
                  <a:pt x="9" y="22"/>
                  <a:pt x="10" y="24"/>
                </a:cubicBezTo>
                <a:cubicBezTo>
                  <a:pt x="10" y="25"/>
                  <a:pt x="11" y="27"/>
                  <a:pt x="10" y="28"/>
                </a:cubicBezTo>
                <a:cubicBezTo>
                  <a:pt x="10" y="28"/>
                  <a:pt x="9" y="29"/>
                  <a:pt x="9" y="29"/>
                </a:cubicBezTo>
                <a:cubicBezTo>
                  <a:pt x="7" y="30"/>
                  <a:pt x="6" y="30"/>
                  <a:pt x="4" y="31"/>
                </a:cubicBezTo>
                <a:cubicBezTo>
                  <a:pt x="3" y="32"/>
                  <a:pt x="2" y="32"/>
                  <a:pt x="1" y="33"/>
                </a:cubicBezTo>
                <a:cubicBezTo>
                  <a:pt x="0" y="33"/>
                  <a:pt x="0" y="34"/>
                  <a:pt x="0" y="35"/>
                </a:cubicBezTo>
                <a:cubicBezTo>
                  <a:pt x="0" y="37"/>
                  <a:pt x="0" y="39"/>
                  <a:pt x="0" y="42"/>
                </a:cubicBezTo>
                <a:close/>
                <a:moveTo>
                  <a:pt x="36" y="23"/>
                </a:moveTo>
                <a:cubicBezTo>
                  <a:pt x="43" y="23"/>
                  <a:pt x="49" y="28"/>
                  <a:pt x="50" y="35"/>
                </a:cubicBezTo>
                <a:cubicBezTo>
                  <a:pt x="50" y="42"/>
                  <a:pt x="45" y="49"/>
                  <a:pt x="37" y="49"/>
                </a:cubicBezTo>
                <a:cubicBezTo>
                  <a:pt x="30" y="49"/>
                  <a:pt x="24" y="44"/>
                  <a:pt x="24" y="37"/>
                </a:cubicBezTo>
                <a:cubicBezTo>
                  <a:pt x="23" y="30"/>
                  <a:pt x="29" y="24"/>
                  <a:pt x="36" y="2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69" name="Freeform 92"/>
          <p:cNvSpPr>
            <a:spLocks noEditPoints="1"/>
          </p:cNvSpPr>
          <p:nvPr/>
        </p:nvSpPr>
        <p:spPr bwMode="auto">
          <a:xfrm>
            <a:off x="5732463" y="3549650"/>
            <a:ext cx="257175" cy="490538"/>
          </a:xfrm>
          <a:custGeom>
            <a:avLst/>
            <a:gdLst>
              <a:gd name="T0" fmla="*/ 54 w 108"/>
              <a:gd name="T1" fmla="*/ 199 h 206"/>
              <a:gd name="T2" fmla="*/ 43 w 108"/>
              <a:gd name="T3" fmla="*/ 188 h 206"/>
              <a:gd name="T4" fmla="*/ 54 w 108"/>
              <a:gd name="T5" fmla="*/ 177 h 206"/>
              <a:gd name="T6" fmla="*/ 65 w 108"/>
              <a:gd name="T7" fmla="*/ 188 h 206"/>
              <a:gd name="T8" fmla="*/ 54 w 108"/>
              <a:gd name="T9" fmla="*/ 199 h 206"/>
              <a:gd name="T10" fmla="*/ 12 w 108"/>
              <a:gd name="T11" fmla="*/ 167 h 206"/>
              <a:gd name="T12" fmla="*/ 12 w 108"/>
              <a:gd name="T13" fmla="*/ 40 h 206"/>
              <a:gd name="T14" fmla="*/ 96 w 108"/>
              <a:gd name="T15" fmla="*/ 40 h 206"/>
              <a:gd name="T16" fmla="*/ 96 w 108"/>
              <a:gd name="T17" fmla="*/ 167 h 206"/>
              <a:gd name="T18" fmla="*/ 12 w 108"/>
              <a:gd name="T19" fmla="*/ 167 h 206"/>
              <a:gd name="T20" fmla="*/ 41 w 108"/>
              <a:gd name="T21" fmla="*/ 25 h 206"/>
              <a:gd name="T22" fmla="*/ 37 w 108"/>
              <a:gd name="T23" fmla="*/ 21 h 206"/>
              <a:gd name="T24" fmla="*/ 41 w 108"/>
              <a:gd name="T25" fmla="*/ 17 h 206"/>
              <a:gd name="T26" fmla="*/ 68 w 108"/>
              <a:gd name="T27" fmla="*/ 17 h 206"/>
              <a:gd name="T28" fmla="*/ 72 w 108"/>
              <a:gd name="T29" fmla="*/ 21 h 206"/>
              <a:gd name="T30" fmla="*/ 68 w 108"/>
              <a:gd name="T31" fmla="*/ 25 h 206"/>
              <a:gd name="T32" fmla="*/ 41 w 108"/>
              <a:gd name="T33" fmla="*/ 25 h 206"/>
              <a:gd name="T34" fmla="*/ 94 w 108"/>
              <a:gd name="T35" fmla="*/ 0 h 206"/>
              <a:gd name="T36" fmla="*/ 14 w 108"/>
              <a:gd name="T37" fmla="*/ 0 h 206"/>
              <a:gd name="T38" fmla="*/ 0 w 108"/>
              <a:gd name="T39" fmla="*/ 15 h 206"/>
              <a:gd name="T40" fmla="*/ 0 w 108"/>
              <a:gd name="T41" fmla="*/ 192 h 206"/>
              <a:gd name="T42" fmla="*/ 14 w 108"/>
              <a:gd name="T43" fmla="*/ 206 h 206"/>
              <a:gd name="T44" fmla="*/ 94 w 108"/>
              <a:gd name="T45" fmla="*/ 206 h 206"/>
              <a:gd name="T46" fmla="*/ 108 w 108"/>
              <a:gd name="T47" fmla="*/ 192 h 206"/>
              <a:gd name="T48" fmla="*/ 108 w 108"/>
              <a:gd name="T49" fmla="*/ 15 h 206"/>
              <a:gd name="T50" fmla="*/ 94 w 108"/>
              <a:gd name="T51"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206">
                <a:moveTo>
                  <a:pt x="54" y="199"/>
                </a:moveTo>
                <a:cubicBezTo>
                  <a:pt x="48" y="199"/>
                  <a:pt x="43" y="194"/>
                  <a:pt x="43" y="188"/>
                </a:cubicBezTo>
                <a:cubicBezTo>
                  <a:pt x="43" y="182"/>
                  <a:pt x="48" y="177"/>
                  <a:pt x="54" y="177"/>
                </a:cubicBezTo>
                <a:cubicBezTo>
                  <a:pt x="60" y="177"/>
                  <a:pt x="65" y="182"/>
                  <a:pt x="65" y="188"/>
                </a:cubicBezTo>
                <a:cubicBezTo>
                  <a:pt x="65" y="194"/>
                  <a:pt x="60" y="199"/>
                  <a:pt x="54" y="199"/>
                </a:cubicBezTo>
                <a:moveTo>
                  <a:pt x="12" y="167"/>
                </a:moveTo>
                <a:cubicBezTo>
                  <a:pt x="12" y="40"/>
                  <a:pt x="12" y="40"/>
                  <a:pt x="12" y="40"/>
                </a:cubicBezTo>
                <a:cubicBezTo>
                  <a:pt x="96" y="40"/>
                  <a:pt x="96" y="40"/>
                  <a:pt x="96" y="40"/>
                </a:cubicBezTo>
                <a:cubicBezTo>
                  <a:pt x="96" y="167"/>
                  <a:pt x="96" y="167"/>
                  <a:pt x="96" y="167"/>
                </a:cubicBezTo>
                <a:cubicBezTo>
                  <a:pt x="12" y="167"/>
                  <a:pt x="12" y="167"/>
                  <a:pt x="12" y="167"/>
                </a:cubicBezTo>
                <a:moveTo>
                  <a:pt x="41" y="25"/>
                </a:moveTo>
                <a:cubicBezTo>
                  <a:pt x="39" y="25"/>
                  <a:pt x="37" y="23"/>
                  <a:pt x="37" y="21"/>
                </a:cubicBezTo>
                <a:cubicBezTo>
                  <a:pt x="37" y="19"/>
                  <a:pt x="39" y="17"/>
                  <a:pt x="41" y="17"/>
                </a:cubicBezTo>
                <a:cubicBezTo>
                  <a:pt x="68" y="17"/>
                  <a:pt x="68" y="17"/>
                  <a:pt x="68" y="17"/>
                </a:cubicBezTo>
                <a:cubicBezTo>
                  <a:pt x="70" y="17"/>
                  <a:pt x="72" y="19"/>
                  <a:pt x="72" y="21"/>
                </a:cubicBezTo>
                <a:cubicBezTo>
                  <a:pt x="72" y="23"/>
                  <a:pt x="70" y="25"/>
                  <a:pt x="68" y="25"/>
                </a:cubicBezTo>
                <a:cubicBezTo>
                  <a:pt x="41" y="25"/>
                  <a:pt x="41" y="25"/>
                  <a:pt x="41" y="25"/>
                </a:cubicBezTo>
                <a:moveTo>
                  <a:pt x="94" y="0"/>
                </a:moveTo>
                <a:cubicBezTo>
                  <a:pt x="14" y="0"/>
                  <a:pt x="14" y="0"/>
                  <a:pt x="14" y="0"/>
                </a:cubicBezTo>
                <a:cubicBezTo>
                  <a:pt x="6" y="0"/>
                  <a:pt x="0" y="7"/>
                  <a:pt x="0" y="15"/>
                </a:cubicBezTo>
                <a:cubicBezTo>
                  <a:pt x="0" y="192"/>
                  <a:pt x="0" y="192"/>
                  <a:pt x="0" y="192"/>
                </a:cubicBezTo>
                <a:cubicBezTo>
                  <a:pt x="0" y="200"/>
                  <a:pt x="6" y="206"/>
                  <a:pt x="14" y="206"/>
                </a:cubicBezTo>
                <a:cubicBezTo>
                  <a:pt x="94" y="206"/>
                  <a:pt x="94" y="206"/>
                  <a:pt x="94" y="206"/>
                </a:cubicBezTo>
                <a:cubicBezTo>
                  <a:pt x="102" y="206"/>
                  <a:pt x="108" y="200"/>
                  <a:pt x="108" y="192"/>
                </a:cubicBezTo>
                <a:cubicBezTo>
                  <a:pt x="108" y="15"/>
                  <a:pt x="108" y="15"/>
                  <a:pt x="108" y="15"/>
                </a:cubicBezTo>
                <a:cubicBezTo>
                  <a:pt x="108" y="7"/>
                  <a:pt x="102" y="0"/>
                  <a:pt x="94"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0" name="Freeform 93"/>
          <p:cNvSpPr>
            <a:spLocks noEditPoints="1"/>
          </p:cNvSpPr>
          <p:nvPr/>
        </p:nvSpPr>
        <p:spPr bwMode="auto">
          <a:xfrm>
            <a:off x="8110538" y="3313113"/>
            <a:ext cx="307975" cy="296862"/>
          </a:xfrm>
          <a:custGeom>
            <a:avLst/>
            <a:gdLst>
              <a:gd name="T0" fmla="*/ 86 w 130"/>
              <a:gd name="T1" fmla="*/ 74 h 124"/>
              <a:gd name="T2" fmla="*/ 55 w 130"/>
              <a:gd name="T3" fmla="*/ 44 h 124"/>
              <a:gd name="T4" fmla="*/ 86 w 130"/>
              <a:gd name="T5" fmla="*/ 13 h 124"/>
              <a:gd name="T6" fmla="*/ 116 w 130"/>
              <a:gd name="T7" fmla="*/ 44 h 124"/>
              <a:gd name="T8" fmla="*/ 86 w 130"/>
              <a:gd name="T9" fmla="*/ 74 h 124"/>
              <a:gd name="T10" fmla="*/ 86 w 130"/>
              <a:gd name="T11" fmla="*/ 0 h 124"/>
              <a:gd name="T12" fmla="*/ 42 w 130"/>
              <a:gd name="T13" fmla="*/ 44 h 124"/>
              <a:gd name="T14" fmla="*/ 46 w 130"/>
              <a:gd name="T15" fmla="*/ 62 h 124"/>
              <a:gd name="T16" fmla="*/ 3 w 130"/>
              <a:gd name="T17" fmla="*/ 104 h 124"/>
              <a:gd name="T18" fmla="*/ 3 w 130"/>
              <a:gd name="T19" fmla="*/ 116 h 124"/>
              <a:gd name="T20" fmla="*/ 8 w 130"/>
              <a:gd name="T21" fmla="*/ 121 h 124"/>
              <a:gd name="T22" fmla="*/ 14 w 130"/>
              <a:gd name="T23" fmla="*/ 124 h 124"/>
              <a:gd name="T24" fmla="*/ 20 w 130"/>
              <a:gd name="T25" fmla="*/ 121 h 124"/>
              <a:gd name="T26" fmla="*/ 61 w 130"/>
              <a:gd name="T27" fmla="*/ 80 h 124"/>
              <a:gd name="T28" fmla="*/ 86 w 130"/>
              <a:gd name="T29" fmla="*/ 88 h 124"/>
              <a:gd name="T30" fmla="*/ 130 w 130"/>
              <a:gd name="T31" fmla="*/ 44 h 124"/>
              <a:gd name="T32" fmla="*/ 86 w 130"/>
              <a:gd name="T33"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24">
                <a:moveTo>
                  <a:pt x="86" y="74"/>
                </a:moveTo>
                <a:cubicBezTo>
                  <a:pt x="69" y="74"/>
                  <a:pt x="55" y="61"/>
                  <a:pt x="55" y="44"/>
                </a:cubicBezTo>
                <a:cubicBezTo>
                  <a:pt x="55" y="27"/>
                  <a:pt x="69" y="13"/>
                  <a:pt x="86" y="13"/>
                </a:cubicBezTo>
                <a:cubicBezTo>
                  <a:pt x="103" y="13"/>
                  <a:pt x="116" y="27"/>
                  <a:pt x="116" y="44"/>
                </a:cubicBezTo>
                <a:cubicBezTo>
                  <a:pt x="116" y="61"/>
                  <a:pt x="103" y="74"/>
                  <a:pt x="86" y="74"/>
                </a:cubicBezTo>
                <a:moveTo>
                  <a:pt x="86" y="0"/>
                </a:moveTo>
                <a:cubicBezTo>
                  <a:pt x="62" y="0"/>
                  <a:pt x="42" y="19"/>
                  <a:pt x="42" y="44"/>
                </a:cubicBezTo>
                <a:cubicBezTo>
                  <a:pt x="42" y="50"/>
                  <a:pt x="43" y="56"/>
                  <a:pt x="46" y="62"/>
                </a:cubicBezTo>
                <a:cubicBezTo>
                  <a:pt x="3" y="104"/>
                  <a:pt x="3" y="104"/>
                  <a:pt x="3" y="104"/>
                </a:cubicBezTo>
                <a:cubicBezTo>
                  <a:pt x="0" y="108"/>
                  <a:pt x="0" y="113"/>
                  <a:pt x="3" y="116"/>
                </a:cubicBezTo>
                <a:cubicBezTo>
                  <a:pt x="8" y="121"/>
                  <a:pt x="8" y="121"/>
                  <a:pt x="8" y="121"/>
                </a:cubicBezTo>
                <a:cubicBezTo>
                  <a:pt x="10" y="123"/>
                  <a:pt x="12" y="124"/>
                  <a:pt x="14" y="124"/>
                </a:cubicBezTo>
                <a:cubicBezTo>
                  <a:pt x="16" y="124"/>
                  <a:pt x="19" y="123"/>
                  <a:pt x="20" y="121"/>
                </a:cubicBezTo>
                <a:cubicBezTo>
                  <a:pt x="61" y="80"/>
                  <a:pt x="61" y="80"/>
                  <a:pt x="61" y="80"/>
                </a:cubicBezTo>
                <a:cubicBezTo>
                  <a:pt x="68" y="85"/>
                  <a:pt x="77" y="88"/>
                  <a:pt x="86" y="88"/>
                </a:cubicBezTo>
                <a:cubicBezTo>
                  <a:pt x="110" y="88"/>
                  <a:pt x="130" y="68"/>
                  <a:pt x="130" y="44"/>
                </a:cubicBezTo>
                <a:cubicBezTo>
                  <a:pt x="130" y="19"/>
                  <a:pt x="110" y="0"/>
                  <a:pt x="8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1" name="Freeform 94"/>
          <p:cNvSpPr>
            <a:spLocks/>
          </p:cNvSpPr>
          <p:nvPr/>
        </p:nvSpPr>
        <p:spPr bwMode="auto">
          <a:xfrm>
            <a:off x="5856288" y="5164138"/>
            <a:ext cx="66675" cy="73025"/>
          </a:xfrm>
          <a:custGeom>
            <a:avLst/>
            <a:gdLst>
              <a:gd name="T0" fmla="*/ 1 w 28"/>
              <a:gd name="T1" fmla="*/ 0 h 31"/>
              <a:gd name="T2" fmla="*/ 0 w 28"/>
              <a:gd name="T3" fmla="*/ 8 h 31"/>
              <a:gd name="T4" fmla="*/ 21 w 28"/>
              <a:gd name="T5" fmla="*/ 31 h 31"/>
              <a:gd name="T6" fmla="*/ 21 w 28"/>
              <a:gd name="T7" fmla="*/ 31 h 31"/>
              <a:gd name="T8" fmla="*/ 28 w 28"/>
              <a:gd name="T9" fmla="*/ 21 h 31"/>
              <a:gd name="T10" fmla="*/ 9 w 28"/>
              <a:gd name="T11" fmla="*/ 1 h 31"/>
              <a:gd name="T12" fmla="*/ 1 w 28"/>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8" h="31">
                <a:moveTo>
                  <a:pt x="1" y="0"/>
                </a:moveTo>
                <a:cubicBezTo>
                  <a:pt x="0" y="8"/>
                  <a:pt x="0" y="8"/>
                  <a:pt x="0" y="8"/>
                </a:cubicBezTo>
                <a:cubicBezTo>
                  <a:pt x="21" y="31"/>
                  <a:pt x="21" y="31"/>
                  <a:pt x="21" y="31"/>
                </a:cubicBezTo>
                <a:cubicBezTo>
                  <a:pt x="21" y="31"/>
                  <a:pt x="21" y="31"/>
                  <a:pt x="21" y="31"/>
                </a:cubicBezTo>
                <a:cubicBezTo>
                  <a:pt x="21" y="26"/>
                  <a:pt x="24" y="23"/>
                  <a:pt x="28" y="21"/>
                </a:cubicBezTo>
                <a:cubicBezTo>
                  <a:pt x="9" y="1"/>
                  <a:pt x="9" y="1"/>
                  <a:pt x="9" y="1"/>
                </a:cubicBezTo>
                <a:cubicBezTo>
                  <a:pt x="1" y="0"/>
                  <a:pt x="1" y="0"/>
                  <a:pt x="1"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2" name="Freeform 95"/>
          <p:cNvSpPr>
            <a:spLocks/>
          </p:cNvSpPr>
          <p:nvPr/>
        </p:nvSpPr>
        <p:spPr bwMode="auto">
          <a:xfrm>
            <a:off x="5948363" y="5194300"/>
            <a:ext cx="87312" cy="50800"/>
          </a:xfrm>
          <a:custGeom>
            <a:avLst/>
            <a:gdLst>
              <a:gd name="T0" fmla="*/ 30 w 37"/>
              <a:gd name="T1" fmla="*/ 0 h 21"/>
              <a:gd name="T2" fmla="*/ 0 w 37"/>
              <a:gd name="T3" fmla="*/ 10 h 21"/>
              <a:gd name="T4" fmla="*/ 3 w 37"/>
              <a:gd name="T5" fmla="*/ 18 h 21"/>
              <a:gd name="T6" fmla="*/ 3 w 37"/>
              <a:gd name="T7" fmla="*/ 21 h 21"/>
              <a:gd name="T8" fmla="*/ 34 w 37"/>
              <a:gd name="T9" fmla="*/ 10 h 21"/>
              <a:gd name="T10" fmla="*/ 37 w 37"/>
              <a:gd name="T11" fmla="*/ 3 h 21"/>
              <a:gd name="T12" fmla="*/ 30 w 3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7" h="21">
                <a:moveTo>
                  <a:pt x="30" y="0"/>
                </a:moveTo>
                <a:cubicBezTo>
                  <a:pt x="0" y="10"/>
                  <a:pt x="0" y="10"/>
                  <a:pt x="0" y="10"/>
                </a:cubicBezTo>
                <a:cubicBezTo>
                  <a:pt x="2" y="12"/>
                  <a:pt x="3" y="15"/>
                  <a:pt x="3" y="18"/>
                </a:cubicBezTo>
                <a:cubicBezTo>
                  <a:pt x="3" y="19"/>
                  <a:pt x="3" y="20"/>
                  <a:pt x="3" y="21"/>
                </a:cubicBezTo>
                <a:cubicBezTo>
                  <a:pt x="34" y="10"/>
                  <a:pt x="34" y="10"/>
                  <a:pt x="34" y="10"/>
                </a:cubicBezTo>
                <a:cubicBezTo>
                  <a:pt x="37" y="3"/>
                  <a:pt x="37" y="3"/>
                  <a:pt x="37" y="3"/>
                </a:cubicBezTo>
                <a:cubicBezTo>
                  <a:pt x="30" y="0"/>
                  <a:pt x="30" y="0"/>
                  <a:pt x="30"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3" name="Freeform 96"/>
          <p:cNvSpPr>
            <a:spLocks noEditPoints="1"/>
          </p:cNvSpPr>
          <p:nvPr/>
        </p:nvSpPr>
        <p:spPr bwMode="auto">
          <a:xfrm>
            <a:off x="5753100" y="5070475"/>
            <a:ext cx="355600" cy="331788"/>
          </a:xfrm>
          <a:custGeom>
            <a:avLst/>
            <a:gdLst>
              <a:gd name="T0" fmla="*/ 70 w 149"/>
              <a:gd name="T1" fmla="*/ 15 h 139"/>
              <a:gd name="T2" fmla="*/ 70 w 149"/>
              <a:gd name="T3" fmla="*/ 6 h 139"/>
              <a:gd name="T4" fmla="*/ 75 w 149"/>
              <a:gd name="T5" fmla="*/ 2 h 139"/>
              <a:gd name="T6" fmla="*/ 79 w 149"/>
              <a:gd name="T7" fmla="*/ 6 h 139"/>
              <a:gd name="T8" fmla="*/ 79 w 149"/>
              <a:gd name="T9" fmla="*/ 15 h 139"/>
              <a:gd name="T10" fmla="*/ 133 w 149"/>
              <a:gd name="T11" fmla="*/ 66 h 139"/>
              <a:gd name="T12" fmla="*/ 142 w 149"/>
              <a:gd name="T13" fmla="*/ 66 h 139"/>
              <a:gd name="T14" fmla="*/ 147 w 149"/>
              <a:gd name="T15" fmla="*/ 70 h 139"/>
              <a:gd name="T16" fmla="*/ 142 w 149"/>
              <a:gd name="T17" fmla="*/ 74 h 139"/>
              <a:gd name="T18" fmla="*/ 133 w 149"/>
              <a:gd name="T19" fmla="*/ 74 h 139"/>
              <a:gd name="T20" fmla="*/ 79 w 149"/>
              <a:gd name="T21" fmla="*/ 124 h 139"/>
              <a:gd name="T22" fmla="*/ 79 w 149"/>
              <a:gd name="T23" fmla="*/ 133 h 139"/>
              <a:gd name="T24" fmla="*/ 75 w 149"/>
              <a:gd name="T25" fmla="*/ 137 h 139"/>
              <a:gd name="T26" fmla="*/ 70 w 149"/>
              <a:gd name="T27" fmla="*/ 133 h 139"/>
              <a:gd name="T28" fmla="*/ 70 w 149"/>
              <a:gd name="T29" fmla="*/ 124 h 139"/>
              <a:gd name="T30" fmla="*/ 16 w 149"/>
              <a:gd name="T31" fmla="*/ 74 h 139"/>
              <a:gd name="T32" fmla="*/ 7 w 149"/>
              <a:gd name="T33" fmla="*/ 74 h 139"/>
              <a:gd name="T34" fmla="*/ 2 w 149"/>
              <a:gd name="T35" fmla="*/ 70 h 139"/>
              <a:gd name="T36" fmla="*/ 7 w 149"/>
              <a:gd name="T37" fmla="*/ 66 h 139"/>
              <a:gd name="T38" fmla="*/ 16 w 149"/>
              <a:gd name="T39" fmla="*/ 66 h 139"/>
              <a:gd name="T40" fmla="*/ 70 w 149"/>
              <a:gd name="T41" fmla="*/ 15 h 139"/>
              <a:gd name="T42" fmla="*/ 75 w 149"/>
              <a:gd name="T43" fmla="*/ 0 h 139"/>
              <a:gd name="T44" fmla="*/ 0 w 149"/>
              <a:gd name="T45" fmla="*/ 70 h 139"/>
              <a:gd name="T46" fmla="*/ 75 w 149"/>
              <a:gd name="T47" fmla="*/ 139 h 139"/>
              <a:gd name="T48" fmla="*/ 149 w 149"/>
              <a:gd name="T49" fmla="*/ 70 h 139"/>
              <a:gd name="T50" fmla="*/ 75 w 149"/>
              <a:gd name="T5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39">
                <a:moveTo>
                  <a:pt x="70" y="15"/>
                </a:moveTo>
                <a:cubicBezTo>
                  <a:pt x="70" y="6"/>
                  <a:pt x="70" y="6"/>
                  <a:pt x="70" y="6"/>
                </a:cubicBezTo>
                <a:cubicBezTo>
                  <a:pt x="70" y="4"/>
                  <a:pt x="72" y="2"/>
                  <a:pt x="75" y="2"/>
                </a:cubicBezTo>
                <a:cubicBezTo>
                  <a:pt x="77" y="2"/>
                  <a:pt x="79" y="4"/>
                  <a:pt x="79" y="6"/>
                </a:cubicBezTo>
                <a:cubicBezTo>
                  <a:pt x="79" y="15"/>
                  <a:pt x="79" y="15"/>
                  <a:pt x="79" y="15"/>
                </a:cubicBezTo>
                <a:cubicBezTo>
                  <a:pt x="108" y="17"/>
                  <a:pt x="131" y="39"/>
                  <a:pt x="133" y="66"/>
                </a:cubicBezTo>
                <a:cubicBezTo>
                  <a:pt x="142" y="66"/>
                  <a:pt x="142" y="66"/>
                  <a:pt x="142" y="66"/>
                </a:cubicBezTo>
                <a:cubicBezTo>
                  <a:pt x="145" y="66"/>
                  <a:pt x="147" y="67"/>
                  <a:pt x="147" y="70"/>
                </a:cubicBezTo>
                <a:cubicBezTo>
                  <a:pt x="147" y="72"/>
                  <a:pt x="145" y="74"/>
                  <a:pt x="142" y="74"/>
                </a:cubicBezTo>
                <a:cubicBezTo>
                  <a:pt x="133" y="74"/>
                  <a:pt x="133" y="74"/>
                  <a:pt x="133" y="74"/>
                </a:cubicBezTo>
                <a:cubicBezTo>
                  <a:pt x="131" y="101"/>
                  <a:pt x="108" y="122"/>
                  <a:pt x="79" y="124"/>
                </a:cubicBezTo>
                <a:cubicBezTo>
                  <a:pt x="79" y="133"/>
                  <a:pt x="79" y="133"/>
                  <a:pt x="79" y="133"/>
                </a:cubicBezTo>
                <a:cubicBezTo>
                  <a:pt x="79" y="135"/>
                  <a:pt x="77" y="137"/>
                  <a:pt x="75" y="137"/>
                </a:cubicBezTo>
                <a:cubicBezTo>
                  <a:pt x="72" y="137"/>
                  <a:pt x="70" y="135"/>
                  <a:pt x="70" y="133"/>
                </a:cubicBezTo>
                <a:cubicBezTo>
                  <a:pt x="70" y="124"/>
                  <a:pt x="70" y="124"/>
                  <a:pt x="70" y="124"/>
                </a:cubicBezTo>
                <a:cubicBezTo>
                  <a:pt x="41" y="122"/>
                  <a:pt x="18" y="101"/>
                  <a:pt x="16" y="74"/>
                </a:cubicBezTo>
                <a:cubicBezTo>
                  <a:pt x="7" y="74"/>
                  <a:pt x="7" y="74"/>
                  <a:pt x="7" y="74"/>
                </a:cubicBezTo>
                <a:cubicBezTo>
                  <a:pt x="4" y="74"/>
                  <a:pt x="2" y="72"/>
                  <a:pt x="2" y="70"/>
                </a:cubicBezTo>
                <a:cubicBezTo>
                  <a:pt x="2" y="67"/>
                  <a:pt x="4" y="66"/>
                  <a:pt x="7" y="66"/>
                </a:cubicBezTo>
                <a:cubicBezTo>
                  <a:pt x="16" y="66"/>
                  <a:pt x="16" y="66"/>
                  <a:pt x="16" y="66"/>
                </a:cubicBezTo>
                <a:cubicBezTo>
                  <a:pt x="18" y="39"/>
                  <a:pt x="41" y="17"/>
                  <a:pt x="70" y="15"/>
                </a:cubicBezTo>
                <a:moveTo>
                  <a:pt x="75" y="0"/>
                </a:moveTo>
                <a:cubicBezTo>
                  <a:pt x="34" y="0"/>
                  <a:pt x="0" y="31"/>
                  <a:pt x="0" y="70"/>
                </a:cubicBezTo>
                <a:cubicBezTo>
                  <a:pt x="0" y="108"/>
                  <a:pt x="34" y="139"/>
                  <a:pt x="75" y="139"/>
                </a:cubicBezTo>
                <a:cubicBezTo>
                  <a:pt x="116" y="139"/>
                  <a:pt x="149" y="108"/>
                  <a:pt x="149" y="70"/>
                </a:cubicBezTo>
                <a:cubicBezTo>
                  <a:pt x="149" y="31"/>
                  <a:pt x="116" y="0"/>
                  <a:pt x="7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5" name="Freeform 97"/>
          <p:cNvSpPr>
            <a:spLocks/>
          </p:cNvSpPr>
          <p:nvPr/>
        </p:nvSpPr>
        <p:spPr bwMode="auto">
          <a:xfrm>
            <a:off x="5905500" y="5213350"/>
            <a:ext cx="49213" cy="47625"/>
          </a:xfrm>
          <a:custGeom>
            <a:avLst/>
            <a:gdLst>
              <a:gd name="T0" fmla="*/ 11 w 21"/>
              <a:gd name="T1" fmla="*/ 0 h 20"/>
              <a:gd name="T2" fmla="*/ 7 w 21"/>
              <a:gd name="T3" fmla="*/ 0 h 20"/>
              <a:gd name="T4" fmla="*/ 0 w 21"/>
              <a:gd name="T5" fmla="*/ 10 h 20"/>
              <a:gd name="T6" fmla="*/ 0 w 21"/>
              <a:gd name="T7" fmla="*/ 10 h 20"/>
              <a:gd name="T8" fmla="*/ 11 w 21"/>
              <a:gd name="T9" fmla="*/ 20 h 20"/>
              <a:gd name="T10" fmla="*/ 21 w 21"/>
              <a:gd name="T11" fmla="*/ 13 h 20"/>
              <a:gd name="T12" fmla="*/ 21 w 21"/>
              <a:gd name="T13" fmla="*/ 10 h 20"/>
              <a:gd name="T14" fmla="*/ 18 w 21"/>
              <a:gd name="T15" fmla="*/ 2 h 20"/>
              <a:gd name="T16" fmla="*/ 11 w 21"/>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0">
                <a:moveTo>
                  <a:pt x="11" y="0"/>
                </a:moveTo>
                <a:cubicBezTo>
                  <a:pt x="9" y="0"/>
                  <a:pt x="8" y="0"/>
                  <a:pt x="7" y="0"/>
                </a:cubicBezTo>
                <a:cubicBezTo>
                  <a:pt x="3" y="2"/>
                  <a:pt x="0" y="5"/>
                  <a:pt x="0" y="10"/>
                </a:cubicBezTo>
                <a:cubicBezTo>
                  <a:pt x="0" y="10"/>
                  <a:pt x="0" y="10"/>
                  <a:pt x="0" y="10"/>
                </a:cubicBezTo>
                <a:cubicBezTo>
                  <a:pt x="0" y="15"/>
                  <a:pt x="5" y="20"/>
                  <a:pt x="11" y="20"/>
                </a:cubicBezTo>
                <a:cubicBezTo>
                  <a:pt x="15" y="20"/>
                  <a:pt x="19" y="17"/>
                  <a:pt x="21" y="13"/>
                </a:cubicBezTo>
                <a:cubicBezTo>
                  <a:pt x="21" y="12"/>
                  <a:pt x="21" y="11"/>
                  <a:pt x="21" y="10"/>
                </a:cubicBezTo>
                <a:cubicBezTo>
                  <a:pt x="21" y="7"/>
                  <a:pt x="20" y="4"/>
                  <a:pt x="18" y="2"/>
                </a:cubicBezTo>
                <a:cubicBezTo>
                  <a:pt x="16" y="1"/>
                  <a:pt x="13" y="0"/>
                  <a:pt x="11"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6" name="Freeform 98"/>
          <p:cNvSpPr>
            <a:spLocks/>
          </p:cNvSpPr>
          <p:nvPr/>
        </p:nvSpPr>
        <p:spPr bwMode="auto">
          <a:xfrm>
            <a:off x="5921375" y="5332413"/>
            <a:ext cx="19050" cy="63500"/>
          </a:xfrm>
          <a:custGeom>
            <a:avLst/>
            <a:gdLst>
              <a:gd name="T0" fmla="*/ 5 w 9"/>
              <a:gd name="T1" fmla="*/ 0 h 27"/>
              <a:gd name="T2" fmla="*/ 0 w 9"/>
              <a:gd name="T3" fmla="*/ 4 h 27"/>
              <a:gd name="T4" fmla="*/ 0 w 9"/>
              <a:gd name="T5" fmla="*/ 14 h 27"/>
              <a:gd name="T6" fmla="*/ 0 w 9"/>
              <a:gd name="T7" fmla="*/ 23 h 27"/>
              <a:gd name="T8" fmla="*/ 5 w 9"/>
              <a:gd name="T9" fmla="*/ 27 h 27"/>
              <a:gd name="T10" fmla="*/ 9 w 9"/>
              <a:gd name="T11" fmla="*/ 23 h 27"/>
              <a:gd name="T12" fmla="*/ 9 w 9"/>
              <a:gd name="T13" fmla="*/ 14 h 27"/>
              <a:gd name="T14" fmla="*/ 9 w 9"/>
              <a:gd name="T15" fmla="*/ 4 h 27"/>
              <a:gd name="T16" fmla="*/ 5 w 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7">
                <a:moveTo>
                  <a:pt x="5" y="0"/>
                </a:moveTo>
                <a:cubicBezTo>
                  <a:pt x="2" y="0"/>
                  <a:pt x="0" y="1"/>
                  <a:pt x="0" y="4"/>
                </a:cubicBezTo>
                <a:cubicBezTo>
                  <a:pt x="0" y="14"/>
                  <a:pt x="0" y="14"/>
                  <a:pt x="0" y="14"/>
                </a:cubicBezTo>
                <a:cubicBezTo>
                  <a:pt x="0" y="23"/>
                  <a:pt x="0" y="23"/>
                  <a:pt x="0" y="23"/>
                </a:cubicBezTo>
                <a:cubicBezTo>
                  <a:pt x="0" y="25"/>
                  <a:pt x="2" y="27"/>
                  <a:pt x="5" y="27"/>
                </a:cubicBezTo>
                <a:cubicBezTo>
                  <a:pt x="7" y="27"/>
                  <a:pt x="9" y="25"/>
                  <a:pt x="9" y="23"/>
                </a:cubicBezTo>
                <a:cubicBezTo>
                  <a:pt x="9" y="14"/>
                  <a:pt x="9" y="14"/>
                  <a:pt x="9" y="14"/>
                </a:cubicBezTo>
                <a:cubicBezTo>
                  <a:pt x="9" y="4"/>
                  <a:pt x="9" y="4"/>
                  <a:pt x="9" y="4"/>
                </a:cubicBezTo>
                <a:cubicBezTo>
                  <a:pt x="9" y="1"/>
                  <a:pt x="7" y="0"/>
                  <a:pt x="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7" name="Freeform 99"/>
          <p:cNvSpPr>
            <a:spLocks/>
          </p:cNvSpPr>
          <p:nvPr/>
        </p:nvSpPr>
        <p:spPr bwMode="auto">
          <a:xfrm>
            <a:off x="5921375" y="5076825"/>
            <a:ext cx="19050" cy="66675"/>
          </a:xfrm>
          <a:custGeom>
            <a:avLst/>
            <a:gdLst>
              <a:gd name="T0" fmla="*/ 5 w 9"/>
              <a:gd name="T1" fmla="*/ 0 h 28"/>
              <a:gd name="T2" fmla="*/ 0 w 9"/>
              <a:gd name="T3" fmla="*/ 4 h 28"/>
              <a:gd name="T4" fmla="*/ 0 w 9"/>
              <a:gd name="T5" fmla="*/ 13 h 28"/>
              <a:gd name="T6" fmla="*/ 0 w 9"/>
              <a:gd name="T7" fmla="*/ 24 h 28"/>
              <a:gd name="T8" fmla="*/ 5 w 9"/>
              <a:gd name="T9" fmla="*/ 28 h 28"/>
              <a:gd name="T10" fmla="*/ 9 w 9"/>
              <a:gd name="T11" fmla="*/ 24 h 28"/>
              <a:gd name="T12" fmla="*/ 9 w 9"/>
              <a:gd name="T13" fmla="*/ 13 h 28"/>
              <a:gd name="T14" fmla="*/ 9 w 9"/>
              <a:gd name="T15" fmla="*/ 4 h 28"/>
              <a:gd name="T16" fmla="*/ 5 w 9"/>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8">
                <a:moveTo>
                  <a:pt x="5" y="0"/>
                </a:moveTo>
                <a:cubicBezTo>
                  <a:pt x="2" y="0"/>
                  <a:pt x="0" y="2"/>
                  <a:pt x="0" y="4"/>
                </a:cubicBezTo>
                <a:cubicBezTo>
                  <a:pt x="0" y="13"/>
                  <a:pt x="0" y="13"/>
                  <a:pt x="0" y="13"/>
                </a:cubicBezTo>
                <a:cubicBezTo>
                  <a:pt x="0" y="24"/>
                  <a:pt x="0" y="24"/>
                  <a:pt x="0" y="24"/>
                </a:cubicBezTo>
                <a:cubicBezTo>
                  <a:pt x="0" y="26"/>
                  <a:pt x="2" y="28"/>
                  <a:pt x="5" y="28"/>
                </a:cubicBezTo>
                <a:cubicBezTo>
                  <a:pt x="7" y="28"/>
                  <a:pt x="9" y="26"/>
                  <a:pt x="9" y="24"/>
                </a:cubicBezTo>
                <a:cubicBezTo>
                  <a:pt x="9" y="13"/>
                  <a:pt x="9" y="13"/>
                  <a:pt x="9" y="13"/>
                </a:cubicBezTo>
                <a:cubicBezTo>
                  <a:pt x="9" y="4"/>
                  <a:pt x="9" y="4"/>
                  <a:pt x="9" y="4"/>
                </a:cubicBezTo>
                <a:cubicBezTo>
                  <a:pt x="9" y="2"/>
                  <a:pt x="7" y="0"/>
                  <a:pt x="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8" name="Freeform 100"/>
          <p:cNvSpPr>
            <a:spLocks/>
          </p:cNvSpPr>
          <p:nvPr/>
        </p:nvSpPr>
        <p:spPr bwMode="auto">
          <a:xfrm>
            <a:off x="6030913" y="5227638"/>
            <a:ext cx="73025" cy="19050"/>
          </a:xfrm>
          <a:custGeom>
            <a:avLst/>
            <a:gdLst>
              <a:gd name="T0" fmla="*/ 25 w 30"/>
              <a:gd name="T1" fmla="*/ 0 h 8"/>
              <a:gd name="T2" fmla="*/ 16 w 30"/>
              <a:gd name="T3" fmla="*/ 0 h 8"/>
              <a:gd name="T4" fmla="*/ 5 w 30"/>
              <a:gd name="T5" fmla="*/ 0 h 8"/>
              <a:gd name="T6" fmla="*/ 0 w 30"/>
              <a:gd name="T7" fmla="*/ 4 h 8"/>
              <a:gd name="T8" fmla="*/ 5 w 30"/>
              <a:gd name="T9" fmla="*/ 8 h 8"/>
              <a:gd name="T10" fmla="*/ 16 w 30"/>
              <a:gd name="T11" fmla="*/ 8 h 8"/>
              <a:gd name="T12" fmla="*/ 25 w 30"/>
              <a:gd name="T13" fmla="*/ 8 h 8"/>
              <a:gd name="T14" fmla="*/ 30 w 30"/>
              <a:gd name="T15" fmla="*/ 4 h 8"/>
              <a:gd name="T16" fmla="*/ 25 w 3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8">
                <a:moveTo>
                  <a:pt x="25" y="0"/>
                </a:moveTo>
                <a:cubicBezTo>
                  <a:pt x="16" y="0"/>
                  <a:pt x="16" y="0"/>
                  <a:pt x="16" y="0"/>
                </a:cubicBezTo>
                <a:cubicBezTo>
                  <a:pt x="5" y="0"/>
                  <a:pt x="5" y="0"/>
                  <a:pt x="5" y="0"/>
                </a:cubicBezTo>
                <a:cubicBezTo>
                  <a:pt x="2" y="0"/>
                  <a:pt x="0" y="1"/>
                  <a:pt x="0" y="4"/>
                </a:cubicBezTo>
                <a:cubicBezTo>
                  <a:pt x="0" y="6"/>
                  <a:pt x="2" y="8"/>
                  <a:pt x="5" y="8"/>
                </a:cubicBezTo>
                <a:cubicBezTo>
                  <a:pt x="16" y="8"/>
                  <a:pt x="16" y="8"/>
                  <a:pt x="16" y="8"/>
                </a:cubicBezTo>
                <a:cubicBezTo>
                  <a:pt x="25" y="8"/>
                  <a:pt x="25" y="8"/>
                  <a:pt x="25" y="8"/>
                </a:cubicBezTo>
                <a:cubicBezTo>
                  <a:pt x="28" y="8"/>
                  <a:pt x="30" y="6"/>
                  <a:pt x="30" y="4"/>
                </a:cubicBezTo>
                <a:cubicBezTo>
                  <a:pt x="30" y="1"/>
                  <a:pt x="28" y="0"/>
                  <a:pt x="2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079" name="Freeform 101"/>
          <p:cNvSpPr>
            <a:spLocks/>
          </p:cNvSpPr>
          <p:nvPr/>
        </p:nvSpPr>
        <p:spPr bwMode="auto">
          <a:xfrm>
            <a:off x="5757863" y="5227638"/>
            <a:ext cx="73025" cy="19050"/>
          </a:xfrm>
          <a:custGeom>
            <a:avLst/>
            <a:gdLst>
              <a:gd name="T0" fmla="*/ 25 w 30"/>
              <a:gd name="T1" fmla="*/ 0 h 8"/>
              <a:gd name="T2" fmla="*/ 14 w 30"/>
              <a:gd name="T3" fmla="*/ 0 h 8"/>
              <a:gd name="T4" fmla="*/ 5 w 30"/>
              <a:gd name="T5" fmla="*/ 0 h 8"/>
              <a:gd name="T6" fmla="*/ 0 w 30"/>
              <a:gd name="T7" fmla="*/ 4 h 8"/>
              <a:gd name="T8" fmla="*/ 5 w 30"/>
              <a:gd name="T9" fmla="*/ 8 h 8"/>
              <a:gd name="T10" fmla="*/ 14 w 30"/>
              <a:gd name="T11" fmla="*/ 8 h 8"/>
              <a:gd name="T12" fmla="*/ 25 w 30"/>
              <a:gd name="T13" fmla="*/ 8 h 8"/>
              <a:gd name="T14" fmla="*/ 30 w 30"/>
              <a:gd name="T15" fmla="*/ 4 h 8"/>
              <a:gd name="T16" fmla="*/ 25 w 3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8">
                <a:moveTo>
                  <a:pt x="25" y="0"/>
                </a:moveTo>
                <a:cubicBezTo>
                  <a:pt x="14" y="0"/>
                  <a:pt x="14" y="0"/>
                  <a:pt x="14" y="0"/>
                </a:cubicBezTo>
                <a:cubicBezTo>
                  <a:pt x="5" y="0"/>
                  <a:pt x="5" y="0"/>
                  <a:pt x="5" y="0"/>
                </a:cubicBezTo>
                <a:cubicBezTo>
                  <a:pt x="2" y="0"/>
                  <a:pt x="0" y="1"/>
                  <a:pt x="0" y="4"/>
                </a:cubicBezTo>
                <a:cubicBezTo>
                  <a:pt x="0" y="6"/>
                  <a:pt x="2" y="8"/>
                  <a:pt x="5" y="8"/>
                </a:cubicBezTo>
                <a:cubicBezTo>
                  <a:pt x="14" y="8"/>
                  <a:pt x="14" y="8"/>
                  <a:pt x="14" y="8"/>
                </a:cubicBezTo>
                <a:cubicBezTo>
                  <a:pt x="25" y="8"/>
                  <a:pt x="25" y="8"/>
                  <a:pt x="25" y="8"/>
                </a:cubicBezTo>
                <a:cubicBezTo>
                  <a:pt x="28" y="8"/>
                  <a:pt x="30" y="6"/>
                  <a:pt x="30" y="4"/>
                </a:cubicBezTo>
                <a:cubicBezTo>
                  <a:pt x="30" y="1"/>
                  <a:pt x="28" y="0"/>
                  <a:pt x="25"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4" name="Freeform 102"/>
          <p:cNvSpPr>
            <a:spLocks noEditPoints="1"/>
          </p:cNvSpPr>
          <p:nvPr/>
        </p:nvSpPr>
        <p:spPr bwMode="auto">
          <a:xfrm>
            <a:off x="6778625" y="2019300"/>
            <a:ext cx="420688" cy="403225"/>
          </a:xfrm>
          <a:custGeom>
            <a:avLst/>
            <a:gdLst>
              <a:gd name="T0" fmla="*/ 89 w 177"/>
              <a:gd name="T1" fmla="*/ 14 h 169"/>
              <a:gd name="T2" fmla="*/ 163 w 177"/>
              <a:gd name="T3" fmla="*/ 66 h 169"/>
              <a:gd name="T4" fmla="*/ 129 w 177"/>
              <a:gd name="T5" fmla="*/ 110 h 169"/>
              <a:gd name="T6" fmla="*/ 120 w 177"/>
              <a:gd name="T7" fmla="*/ 114 h 169"/>
              <a:gd name="T8" fmla="*/ 121 w 177"/>
              <a:gd name="T9" fmla="*/ 123 h 169"/>
              <a:gd name="T10" fmla="*/ 120 w 177"/>
              <a:gd name="T11" fmla="*/ 132 h 169"/>
              <a:gd name="T12" fmla="*/ 117 w 177"/>
              <a:gd name="T13" fmla="*/ 126 h 169"/>
              <a:gd name="T14" fmla="*/ 113 w 177"/>
              <a:gd name="T15" fmla="*/ 116 h 169"/>
              <a:gd name="T16" fmla="*/ 103 w 177"/>
              <a:gd name="T17" fmla="*/ 118 h 169"/>
              <a:gd name="T18" fmla="*/ 89 w 177"/>
              <a:gd name="T19" fmla="*/ 118 h 169"/>
              <a:gd name="T20" fmla="*/ 14 w 177"/>
              <a:gd name="T21" fmla="*/ 66 h 169"/>
              <a:gd name="T22" fmla="*/ 89 w 177"/>
              <a:gd name="T23" fmla="*/ 14 h 169"/>
              <a:gd name="T24" fmla="*/ 89 w 177"/>
              <a:gd name="T25" fmla="*/ 0 h 169"/>
              <a:gd name="T26" fmla="*/ 0 w 177"/>
              <a:gd name="T27" fmla="*/ 66 h 169"/>
              <a:gd name="T28" fmla="*/ 89 w 177"/>
              <a:gd name="T29" fmla="*/ 132 h 169"/>
              <a:gd name="T30" fmla="*/ 105 w 177"/>
              <a:gd name="T31" fmla="*/ 131 h 169"/>
              <a:gd name="T32" fmla="*/ 99 w 177"/>
              <a:gd name="T33" fmla="*/ 169 h 169"/>
              <a:gd name="T34" fmla="*/ 134 w 177"/>
              <a:gd name="T35" fmla="*/ 123 h 169"/>
              <a:gd name="T36" fmla="*/ 177 w 177"/>
              <a:gd name="T37" fmla="*/ 66 h 169"/>
              <a:gd name="T38" fmla="*/ 89 w 177"/>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7" h="169">
                <a:moveTo>
                  <a:pt x="89" y="14"/>
                </a:moveTo>
                <a:cubicBezTo>
                  <a:pt x="130" y="14"/>
                  <a:pt x="163" y="38"/>
                  <a:pt x="163" y="66"/>
                </a:cubicBezTo>
                <a:cubicBezTo>
                  <a:pt x="163" y="84"/>
                  <a:pt x="150" y="100"/>
                  <a:pt x="129" y="110"/>
                </a:cubicBezTo>
                <a:cubicBezTo>
                  <a:pt x="120" y="114"/>
                  <a:pt x="120" y="114"/>
                  <a:pt x="120" y="114"/>
                </a:cubicBezTo>
                <a:cubicBezTo>
                  <a:pt x="121" y="123"/>
                  <a:pt x="121" y="123"/>
                  <a:pt x="121" y="123"/>
                </a:cubicBezTo>
                <a:cubicBezTo>
                  <a:pt x="121" y="126"/>
                  <a:pt x="120" y="129"/>
                  <a:pt x="120" y="132"/>
                </a:cubicBezTo>
                <a:cubicBezTo>
                  <a:pt x="119" y="130"/>
                  <a:pt x="118" y="128"/>
                  <a:pt x="117" y="126"/>
                </a:cubicBezTo>
                <a:cubicBezTo>
                  <a:pt x="113" y="116"/>
                  <a:pt x="113" y="116"/>
                  <a:pt x="113" y="116"/>
                </a:cubicBezTo>
                <a:cubicBezTo>
                  <a:pt x="103" y="118"/>
                  <a:pt x="103" y="118"/>
                  <a:pt x="103" y="118"/>
                </a:cubicBezTo>
                <a:cubicBezTo>
                  <a:pt x="98" y="118"/>
                  <a:pt x="93" y="118"/>
                  <a:pt x="89" y="118"/>
                </a:cubicBezTo>
                <a:cubicBezTo>
                  <a:pt x="47" y="118"/>
                  <a:pt x="14" y="95"/>
                  <a:pt x="14" y="66"/>
                </a:cubicBezTo>
                <a:cubicBezTo>
                  <a:pt x="14" y="38"/>
                  <a:pt x="47" y="14"/>
                  <a:pt x="89" y="14"/>
                </a:cubicBezTo>
                <a:moveTo>
                  <a:pt x="89" y="0"/>
                </a:moveTo>
                <a:cubicBezTo>
                  <a:pt x="40" y="0"/>
                  <a:pt x="0" y="30"/>
                  <a:pt x="0" y="66"/>
                </a:cubicBezTo>
                <a:cubicBezTo>
                  <a:pt x="0" y="103"/>
                  <a:pt x="40" y="132"/>
                  <a:pt x="89" y="132"/>
                </a:cubicBezTo>
                <a:cubicBezTo>
                  <a:pt x="94" y="132"/>
                  <a:pt x="99" y="132"/>
                  <a:pt x="105" y="131"/>
                </a:cubicBezTo>
                <a:cubicBezTo>
                  <a:pt x="112" y="148"/>
                  <a:pt x="99" y="169"/>
                  <a:pt x="99" y="169"/>
                </a:cubicBezTo>
                <a:cubicBezTo>
                  <a:pt x="132" y="159"/>
                  <a:pt x="135" y="134"/>
                  <a:pt x="134" y="123"/>
                </a:cubicBezTo>
                <a:cubicBezTo>
                  <a:pt x="160" y="111"/>
                  <a:pt x="177" y="90"/>
                  <a:pt x="177" y="66"/>
                </a:cubicBezTo>
                <a:cubicBezTo>
                  <a:pt x="177" y="30"/>
                  <a:pt x="138" y="0"/>
                  <a:pt x="89"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5" name="Oval 103"/>
          <p:cNvSpPr>
            <a:spLocks noChangeArrowheads="1"/>
          </p:cNvSpPr>
          <p:nvPr/>
        </p:nvSpPr>
        <p:spPr bwMode="auto">
          <a:xfrm>
            <a:off x="6877050" y="2171700"/>
            <a:ext cx="41275" cy="42863"/>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6" name="Oval 104"/>
          <p:cNvSpPr>
            <a:spLocks noChangeArrowheads="1"/>
          </p:cNvSpPr>
          <p:nvPr/>
        </p:nvSpPr>
        <p:spPr bwMode="auto">
          <a:xfrm>
            <a:off x="6969125" y="2171700"/>
            <a:ext cx="42863" cy="42863"/>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7" name="Oval 105"/>
          <p:cNvSpPr>
            <a:spLocks noChangeArrowheads="1"/>
          </p:cNvSpPr>
          <p:nvPr/>
        </p:nvSpPr>
        <p:spPr bwMode="auto">
          <a:xfrm>
            <a:off x="7059613" y="2171700"/>
            <a:ext cx="42862" cy="42863"/>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8" name="Freeform 106"/>
          <p:cNvSpPr>
            <a:spLocks noEditPoints="1"/>
          </p:cNvSpPr>
          <p:nvPr/>
        </p:nvSpPr>
        <p:spPr bwMode="auto">
          <a:xfrm>
            <a:off x="6589713" y="2171700"/>
            <a:ext cx="365125" cy="350838"/>
          </a:xfrm>
          <a:custGeom>
            <a:avLst/>
            <a:gdLst>
              <a:gd name="T0" fmla="*/ 77 w 154"/>
              <a:gd name="T1" fmla="*/ 0 h 147"/>
              <a:gd name="T2" fmla="*/ 0 w 154"/>
              <a:gd name="T3" fmla="*/ 57 h 147"/>
              <a:gd name="T4" fmla="*/ 37 w 154"/>
              <a:gd name="T5" fmla="*/ 107 h 147"/>
              <a:gd name="T6" fmla="*/ 68 w 154"/>
              <a:gd name="T7" fmla="*/ 147 h 147"/>
              <a:gd name="T8" fmla="*/ 63 w 154"/>
              <a:gd name="T9" fmla="*/ 114 h 147"/>
              <a:gd name="T10" fmla="*/ 77 w 154"/>
              <a:gd name="T11" fmla="*/ 115 h 147"/>
              <a:gd name="T12" fmla="*/ 154 w 154"/>
              <a:gd name="T13" fmla="*/ 57 h 147"/>
              <a:gd name="T14" fmla="*/ 77 w 154"/>
              <a:gd name="T15" fmla="*/ 0 h 147"/>
              <a:gd name="T16" fmla="*/ 39 w 154"/>
              <a:gd name="T17" fmla="*/ 81 h 147"/>
              <a:gd name="T18" fmla="*/ 30 w 154"/>
              <a:gd name="T19" fmla="*/ 72 h 147"/>
              <a:gd name="T20" fmla="*/ 39 w 154"/>
              <a:gd name="T21" fmla="*/ 63 h 147"/>
              <a:gd name="T22" fmla="*/ 48 w 154"/>
              <a:gd name="T23" fmla="*/ 72 h 147"/>
              <a:gd name="T24" fmla="*/ 39 w 154"/>
              <a:gd name="T25" fmla="*/ 81 h 147"/>
              <a:gd name="T26" fmla="*/ 77 w 154"/>
              <a:gd name="T27" fmla="*/ 81 h 147"/>
              <a:gd name="T28" fmla="*/ 68 w 154"/>
              <a:gd name="T29" fmla="*/ 72 h 147"/>
              <a:gd name="T30" fmla="*/ 77 w 154"/>
              <a:gd name="T31" fmla="*/ 63 h 147"/>
              <a:gd name="T32" fmla="*/ 86 w 154"/>
              <a:gd name="T33" fmla="*/ 72 h 147"/>
              <a:gd name="T34" fmla="*/ 77 w 154"/>
              <a:gd name="T35" fmla="*/ 81 h 147"/>
              <a:gd name="T36" fmla="*/ 115 w 154"/>
              <a:gd name="T37" fmla="*/ 81 h 147"/>
              <a:gd name="T38" fmla="*/ 106 w 154"/>
              <a:gd name="T39" fmla="*/ 72 h 147"/>
              <a:gd name="T40" fmla="*/ 115 w 154"/>
              <a:gd name="T41" fmla="*/ 63 h 147"/>
              <a:gd name="T42" fmla="*/ 124 w 154"/>
              <a:gd name="T43" fmla="*/ 72 h 147"/>
              <a:gd name="T44" fmla="*/ 115 w 154"/>
              <a:gd name="T45" fmla="*/ 8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147">
                <a:moveTo>
                  <a:pt x="77" y="0"/>
                </a:moveTo>
                <a:cubicBezTo>
                  <a:pt x="35" y="0"/>
                  <a:pt x="0" y="26"/>
                  <a:pt x="0" y="57"/>
                </a:cubicBezTo>
                <a:cubicBezTo>
                  <a:pt x="0" y="78"/>
                  <a:pt x="15" y="96"/>
                  <a:pt x="37" y="107"/>
                </a:cubicBezTo>
                <a:cubicBezTo>
                  <a:pt x="37" y="116"/>
                  <a:pt x="40" y="138"/>
                  <a:pt x="68" y="147"/>
                </a:cubicBezTo>
                <a:cubicBezTo>
                  <a:pt x="68" y="147"/>
                  <a:pt x="57" y="128"/>
                  <a:pt x="63" y="114"/>
                </a:cubicBezTo>
                <a:cubicBezTo>
                  <a:pt x="68" y="114"/>
                  <a:pt x="72" y="115"/>
                  <a:pt x="77" y="115"/>
                </a:cubicBezTo>
                <a:cubicBezTo>
                  <a:pt x="120" y="115"/>
                  <a:pt x="154" y="89"/>
                  <a:pt x="154" y="57"/>
                </a:cubicBezTo>
                <a:cubicBezTo>
                  <a:pt x="154" y="26"/>
                  <a:pt x="120" y="0"/>
                  <a:pt x="77" y="0"/>
                </a:cubicBezTo>
                <a:close/>
                <a:moveTo>
                  <a:pt x="39" y="81"/>
                </a:moveTo>
                <a:cubicBezTo>
                  <a:pt x="34" y="81"/>
                  <a:pt x="30" y="77"/>
                  <a:pt x="30" y="72"/>
                </a:cubicBezTo>
                <a:cubicBezTo>
                  <a:pt x="30" y="67"/>
                  <a:pt x="34" y="63"/>
                  <a:pt x="39" y="63"/>
                </a:cubicBezTo>
                <a:cubicBezTo>
                  <a:pt x="44" y="63"/>
                  <a:pt x="48" y="67"/>
                  <a:pt x="48" y="72"/>
                </a:cubicBezTo>
                <a:cubicBezTo>
                  <a:pt x="48" y="77"/>
                  <a:pt x="44" y="81"/>
                  <a:pt x="39" y="81"/>
                </a:cubicBezTo>
                <a:close/>
                <a:moveTo>
                  <a:pt x="77" y="81"/>
                </a:moveTo>
                <a:cubicBezTo>
                  <a:pt x="72" y="81"/>
                  <a:pt x="68" y="77"/>
                  <a:pt x="68" y="72"/>
                </a:cubicBezTo>
                <a:cubicBezTo>
                  <a:pt x="68" y="67"/>
                  <a:pt x="72" y="63"/>
                  <a:pt x="77" y="63"/>
                </a:cubicBezTo>
                <a:cubicBezTo>
                  <a:pt x="82" y="63"/>
                  <a:pt x="86" y="67"/>
                  <a:pt x="86" y="72"/>
                </a:cubicBezTo>
                <a:cubicBezTo>
                  <a:pt x="86" y="77"/>
                  <a:pt x="82" y="81"/>
                  <a:pt x="77" y="81"/>
                </a:cubicBezTo>
                <a:close/>
                <a:moveTo>
                  <a:pt x="115" y="81"/>
                </a:moveTo>
                <a:cubicBezTo>
                  <a:pt x="110" y="81"/>
                  <a:pt x="106" y="77"/>
                  <a:pt x="106" y="72"/>
                </a:cubicBezTo>
                <a:cubicBezTo>
                  <a:pt x="106" y="67"/>
                  <a:pt x="110" y="63"/>
                  <a:pt x="115" y="63"/>
                </a:cubicBezTo>
                <a:cubicBezTo>
                  <a:pt x="120" y="63"/>
                  <a:pt x="124" y="67"/>
                  <a:pt x="124" y="72"/>
                </a:cubicBezTo>
                <a:cubicBezTo>
                  <a:pt x="124" y="77"/>
                  <a:pt x="120" y="81"/>
                  <a:pt x="115" y="8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29" name="Freeform 107"/>
          <p:cNvSpPr>
            <a:spLocks noEditPoints="1"/>
          </p:cNvSpPr>
          <p:nvPr/>
        </p:nvSpPr>
        <p:spPr bwMode="auto">
          <a:xfrm>
            <a:off x="7720013" y="933450"/>
            <a:ext cx="331787" cy="482600"/>
          </a:xfrm>
          <a:custGeom>
            <a:avLst/>
            <a:gdLst>
              <a:gd name="T0" fmla="*/ 45 w 140"/>
              <a:gd name="T1" fmla="*/ 199 h 203"/>
              <a:gd name="T2" fmla="*/ 34 w 140"/>
              <a:gd name="T3" fmla="*/ 184 h 203"/>
              <a:gd name="T4" fmla="*/ 25 w 140"/>
              <a:gd name="T5" fmla="*/ 158 h 203"/>
              <a:gd name="T6" fmla="*/ 25 w 140"/>
              <a:gd name="T7" fmla="*/ 142 h 203"/>
              <a:gd name="T8" fmla="*/ 16 w 140"/>
              <a:gd name="T9" fmla="*/ 112 h 203"/>
              <a:gd name="T10" fmla="*/ 3 w 140"/>
              <a:gd name="T11" fmla="*/ 57 h 203"/>
              <a:gd name="T12" fmla="*/ 64 w 140"/>
              <a:gd name="T13" fmla="*/ 0 h 203"/>
              <a:gd name="T14" fmla="*/ 74 w 140"/>
              <a:gd name="T15" fmla="*/ 0 h 203"/>
              <a:gd name="T16" fmla="*/ 118 w 140"/>
              <a:gd name="T17" fmla="*/ 20 h 203"/>
              <a:gd name="T18" fmla="*/ 130 w 140"/>
              <a:gd name="T19" fmla="*/ 101 h 203"/>
              <a:gd name="T20" fmla="*/ 116 w 140"/>
              <a:gd name="T21" fmla="*/ 136 h 203"/>
              <a:gd name="T22" fmla="*/ 116 w 140"/>
              <a:gd name="T23" fmla="*/ 148 h 203"/>
              <a:gd name="T24" fmla="*/ 114 w 140"/>
              <a:gd name="T25" fmla="*/ 161 h 203"/>
              <a:gd name="T26" fmla="*/ 104 w 140"/>
              <a:gd name="T27" fmla="*/ 186 h 203"/>
              <a:gd name="T28" fmla="*/ 83 w 140"/>
              <a:gd name="T29" fmla="*/ 203 h 203"/>
              <a:gd name="T30" fmla="*/ 70 w 140"/>
              <a:gd name="T31" fmla="*/ 140 h 203"/>
              <a:gd name="T32" fmla="*/ 104 w 140"/>
              <a:gd name="T33" fmla="*/ 135 h 203"/>
              <a:gd name="T34" fmla="*/ 108 w 140"/>
              <a:gd name="T35" fmla="*/ 116 h 203"/>
              <a:gd name="T36" fmla="*/ 125 w 140"/>
              <a:gd name="T37" fmla="*/ 59 h 203"/>
              <a:gd name="T38" fmla="*/ 41 w 140"/>
              <a:gd name="T39" fmla="*/ 21 h 203"/>
              <a:gd name="T40" fmla="*/ 24 w 140"/>
              <a:gd name="T41" fmla="*/ 101 h 203"/>
              <a:gd name="T42" fmla="*/ 42 w 140"/>
              <a:gd name="T43" fmla="*/ 140 h 203"/>
              <a:gd name="T44" fmla="*/ 70 w 140"/>
              <a:gd name="T45" fmla="*/ 157 h 203"/>
              <a:gd name="T46" fmla="*/ 103 w 140"/>
              <a:gd name="T47" fmla="*/ 153 h 203"/>
              <a:gd name="T48" fmla="*/ 59 w 140"/>
              <a:gd name="T49" fmla="*/ 146 h 203"/>
              <a:gd name="T50" fmla="*/ 37 w 140"/>
              <a:gd name="T51" fmla="*/ 149 h 203"/>
              <a:gd name="T52" fmla="*/ 70 w 140"/>
              <a:gd name="T53" fmla="*/ 157 h 203"/>
              <a:gd name="T54" fmla="*/ 43 w 140"/>
              <a:gd name="T55" fmla="*/ 162 h 203"/>
              <a:gd name="T56" fmla="*/ 43 w 140"/>
              <a:gd name="T57" fmla="*/ 173 h 203"/>
              <a:gd name="T58" fmla="*/ 97 w 140"/>
              <a:gd name="T59" fmla="*/ 173 h 203"/>
              <a:gd name="T60" fmla="*/ 97 w 140"/>
              <a:gd name="T61" fmla="*/ 162 h 203"/>
              <a:gd name="T62" fmla="*/ 92 w 140"/>
              <a:gd name="T63" fmla="*/ 179 h 203"/>
              <a:gd name="T64" fmla="*/ 58 w 140"/>
              <a:gd name="T65" fmla="*/ 190 h 203"/>
              <a:gd name="T66" fmla="*/ 92 w 140"/>
              <a:gd name="T67" fmla="*/ 17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203">
                <a:moveTo>
                  <a:pt x="56" y="203"/>
                </a:moveTo>
                <a:cubicBezTo>
                  <a:pt x="53" y="202"/>
                  <a:pt x="49" y="201"/>
                  <a:pt x="45" y="199"/>
                </a:cubicBezTo>
                <a:cubicBezTo>
                  <a:pt x="41" y="196"/>
                  <a:pt x="38" y="192"/>
                  <a:pt x="37" y="187"/>
                </a:cubicBezTo>
                <a:cubicBezTo>
                  <a:pt x="36" y="186"/>
                  <a:pt x="35" y="185"/>
                  <a:pt x="34" y="184"/>
                </a:cubicBezTo>
                <a:cubicBezTo>
                  <a:pt x="26" y="180"/>
                  <a:pt x="22" y="170"/>
                  <a:pt x="25" y="161"/>
                </a:cubicBezTo>
                <a:cubicBezTo>
                  <a:pt x="26" y="160"/>
                  <a:pt x="25" y="159"/>
                  <a:pt x="25" y="158"/>
                </a:cubicBezTo>
                <a:cubicBezTo>
                  <a:pt x="24" y="154"/>
                  <a:pt x="23" y="149"/>
                  <a:pt x="25" y="145"/>
                </a:cubicBezTo>
                <a:cubicBezTo>
                  <a:pt x="25" y="144"/>
                  <a:pt x="25" y="143"/>
                  <a:pt x="25" y="142"/>
                </a:cubicBezTo>
                <a:cubicBezTo>
                  <a:pt x="24" y="139"/>
                  <a:pt x="23" y="135"/>
                  <a:pt x="23" y="132"/>
                </a:cubicBezTo>
                <a:cubicBezTo>
                  <a:pt x="22" y="125"/>
                  <a:pt x="19" y="118"/>
                  <a:pt x="16" y="112"/>
                </a:cubicBezTo>
                <a:cubicBezTo>
                  <a:pt x="13" y="106"/>
                  <a:pt x="9" y="100"/>
                  <a:pt x="6" y="93"/>
                </a:cubicBezTo>
                <a:cubicBezTo>
                  <a:pt x="1" y="82"/>
                  <a:pt x="0" y="69"/>
                  <a:pt x="3" y="57"/>
                </a:cubicBezTo>
                <a:cubicBezTo>
                  <a:pt x="7" y="33"/>
                  <a:pt x="21" y="16"/>
                  <a:pt x="43" y="5"/>
                </a:cubicBezTo>
                <a:cubicBezTo>
                  <a:pt x="50" y="2"/>
                  <a:pt x="57" y="1"/>
                  <a:pt x="64" y="0"/>
                </a:cubicBezTo>
                <a:cubicBezTo>
                  <a:pt x="65" y="0"/>
                  <a:pt x="65" y="0"/>
                  <a:pt x="66" y="0"/>
                </a:cubicBezTo>
                <a:cubicBezTo>
                  <a:pt x="69" y="0"/>
                  <a:pt x="71" y="0"/>
                  <a:pt x="74" y="0"/>
                </a:cubicBezTo>
                <a:cubicBezTo>
                  <a:pt x="78" y="1"/>
                  <a:pt x="83" y="1"/>
                  <a:pt x="88" y="2"/>
                </a:cubicBezTo>
                <a:cubicBezTo>
                  <a:pt x="99" y="5"/>
                  <a:pt x="110" y="11"/>
                  <a:pt x="118" y="20"/>
                </a:cubicBezTo>
                <a:cubicBezTo>
                  <a:pt x="127" y="29"/>
                  <a:pt x="133" y="40"/>
                  <a:pt x="136" y="52"/>
                </a:cubicBezTo>
                <a:cubicBezTo>
                  <a:pt x="140" y="69"/>
                  <a:pt x="138" y="86"/>
                  <a:pt x="130" y="101"/>
                </a:cubicBezTo>
                <a:cubicBezTo>
                  <a:pt x="127" y="106"/>
                  <a:pt x="125" y="111"/>
                  <a:pt x="122" y="116"/>
                </a:cubicBezTo>
                <a:cubicBezTo>
                  <a:pt x="119" y="122"/>
                  <a:pt x="117" y="129"/>
                  <a:pt x="116" y="136"/>
                </a:cubicBezTo>
                <a:cubicBezTo>
                  <a:pt x="116" y="137"/>
                  <a:pt x="116" y="138"/>
                  <a:pt x="116" y="139"/>
                </a:cubicBezTo>
                <a:cubicBezTo>
                  <a:pt x="115" y="141"/>
                  <a:pt x="115" y="146"/>
                  <a:pt x="116" y="148"/>
                </a:cubicBezTo>
                <a:cubicBezTo>
                  <a:pt x="116" y="152"/>
                  <a:pt x="116" y="155"/>
                  <a:pt x="114" y="158"/>
                </a:cubicBezTo>
                <a:cubicBezTo>
                  <a:pt x="114" y="159"/>
                  <a:pt x="114" y="160"/>
                  <a:pt x="114" y="161"/>
                </a:cubicBezTo>
                <a:cubicBezTo>
                  <a:pt x="118" y="170"/>
                  <a:pt x="114" y="180"/>
                  <a:pt x="105" y="184"/>
                </a:cubicBezTo>
                <a:cubicBezTo>
                  <a:pt x="105" y="185"/>
                  <a:pt x="104" y="185"/>
                  <a:pt x="104" y="186"/>
                </a:cubicBezTo>
                <a:cubicBezTo>
                  <a:pt x="100" y="196"/>
                  <a:pt x="94" y="201"/>
                  <a:pt x="84" y="203"/>
                </a:cubicBezTo>
                <a:cubicBezTo>
                  <a:pt x="83" y="203"/>
                  <a:pt x="83" y="203"/>
                  <a:pt x="83" y="203"/>
                </a:cubicBezTo>
                <a:cubicBezTo>
                  <a:pt x="74" y="203"/>
                  <a:pt x="65" y="203"/>
                  <a:pt x="56" y="203"/>
                </a:cubicBezTo>
                <a:close/>
                <a:moveTo>
                  <a:pt x="70" y="140"/>
                </a:moveTo>
                <a:cubicBezTo>
                  <a:pt x="79" y="140"/>
                  <a:pt x="88" y="140"/>
                  <a:pt x="98" y="140"/>
                </a:cubicBezTo>
                <a:cubicBezTo>
                  <a:pt x="101" y="140"/>
                  <a:pt x="103" y="138"/>
                  <a:pt x="104" y="135"/>
                </a:cubicBezTo>
                <a:cubicBezTo>
                  <a:pt x="104" y="135"/>
                  <a:pt x="104" y="134"/>
                  <a:pt x="104" y="133"/>
                </a:cubicBezTo>
                <a:cubicBezTo>
                  <a:pt x="105" y="127"/>
                  <a:pt x="106" y="121"/>
                  <a:pt x="108" y="116"/>
                </a:cubicBezTo>
                <a:cubicBezTo>
                  <a:pt x="111" y="109"/>
                  <a:pt x="114" y="103"/>
                  <a:pt x="118" y="97"/>
                </a:cubicBezTo>
                <a:cubicBezTo>
                  <a:pt x="124" y="85"/>
                  <a:pt x="127" y="72"/>
                  <a:pt x="125" y="59"/>
                </a:cubicBezTo>
                <a:cubicBezTo>
                  <a:pt x="122" y="43"/>
                  <a:pt x="114" y="30"/>
                  <a:pt x="101" y="22"/>
                </a:cubicBezTo>
                <a:cubicBezTo>
                  <a:pt x="81" y="9"/>
                  <a:pt x="61" y="9"/>
                  <a:pt x="41" y="21"/>
                </a:cubicBezTo>
                <a:cubicBezTo>
                  <a:pt x="21" y="33"/>
                  <a:pt x="11" y="56"/>
                  <a:pt x="15" y="79"/>
                </a:cubicBezTo>
                <a:cubicBezTo>
                  <a:pt x="17" y="87"/>
                  <a:pt x="20" y="94"/>
                  <a:pt x="24" y="101"/>
                </a:cubicBezTo>
                <a:cubicBezTo>
                  <a:pt x="31" y="112"/>
                  <a:pt x="35" y="122"/>
                  <a:pt x="36" y="135"/>
                </a:cubicBezTo>
                <a:cubicBezTo>
                  <a:pt x="36" y="139"/>
                  <a:pt x="38" y="140"/>
                  <a:pt x="42" y="140"/>
                </a:cubicBezTo>
                <a:cubicBezTo>
                  <a:pt x="52" y="140"/>
                  <a:pt x="61" y="140"/>
                  <a:pt x="70" y="140"/>
                </a:cubicBezTo>
                <a:close/>
                <a:moveTo>
                  <a:pt x="70" y="157"/>
                </a:moveTo>
                <a:cubicBezTo>
                  <a:pt x="79" y="157"/>
                  <a:pt x="88" y="157"/>
                  <a:pt x="97" y="157"/>
                </a:cubicBezTo>
                <a:cubicBezTo>
                  <a:pt x="100" y="157"/>
                  <a:pt x="102" y="156"/>
                  <a:pt x="103" y="153"/>
                </a:cubicBezTo>
                <a:cubicBezTo>
                  <a:pt x="104" y="150"/>
                  <a:pt x="102" y="146"/>
                  <a:pt x="97" y="146"/>
                </a:cubicBezTo>
                <a:cubicBezTo>
                  <a:pt x="84" y="146"/>
                  <a:pt x="71" y="146"/>
                  <a:pt x="59" y="146"/>
                </a:cubicBezTo>
                <a:cubicBezTo>
                  <a:pt x="53" y="146"/>
                  <a:pt x="48" y="146"/>
                  <a:pt x="43" y="146"/>
                </a:cubicBezTo>
                <a:cubicBezTo>
                  <a:pt x="40" y="146"/>
                  <a:pt x="38" y="147"/>
                  <a:pt x="37" y="149"/>
                </a:cubicBezTo>
                <a:cubicBezTo>
                  <a:pt x="35" y="153"/>
                  <a:pt x="38" y="157"/>
                  <a:pt x="43" y="157"/>
                </a:cubicBezTo>
                <a:cubicBezTo>
                  <a:pt x="52" y="157"/>
                  <a:pt x="61" y="157"/>
                  <a:pt x="70" y="157"/>
                </a:cubicBezTo>
                <a:close/>
                <a:moveTo>
                  <a:pt x="70" y="162"/>
                </a:moveTo>
                <a:cubicBezTo>
                  <a:pt x="61" y="162"/>
                  <a:pt x="52" y="162"/>
                  <a:pt x="43" y="162"/>
                </a:cubicBezTo>
                <a:cubicBezTo>
                  <a:pt x="40" y="162"/>
                  <a:pt x="38" y="163"/>
                  <a:pt x="37" y="166"/>
                </a:cubicBezTo>
                <a:cubicBezTo>
                  <a:pt x="35" y="170"/>
                  <a:pt x="38" y="173"/>
                  <a:pt x="43" y="173"/>
                </a:cubicBezTo>
                <a:cubicBezTo>
                  <a:pt x="56" y="173"/>
                  <a:pt x="69" y="173"/>
                  <a:pt x="82" y="173"/>
                </a:cubicBezTo>
                <a:cubicBezTo>
                  <a:pt x="87" y="173"/>
                  <a:pt x="92" y="173"/>
                  <a:pt x="97" y="173"/>
                </a:cubicBezTo>
                <a:cubicBezTo>
                  <a:pt x="100" y="173"/>
                  <a:pt x="102" y="172"/>
                  <a:pt x="103" y="170"/>
                </a:cubicBezTo>
                <a:cubicBezTo>
                  <a:pt x="104" y="166"/>
                  <a:pt x="102" y="162"/>
                  <a:pt x="97" y="162"/>
                </a:cubicBezTo>
                <a:cubicBezTo>
                  <a:pt x="88" y="162"/>
                  <a:pt x="79" y="162"/>
                  <a:pt x="70" y="162"/>
                </a:cubicBezTo>
                <a:close/>
                <a:moveTo>
                  <a:pt x="92" y="179"/>
                </a:moveTo>
                <a:cubicBezTo>
                  <a:pt x="77" y="179"/>
                  <a:pt x="62" y="179"/>
                  <a:pt x="48" y="179"/>
                </a:cubicBezTo>
                <a:cubicBezTo>
                  <a:pt x="48" y="185"/>
                  <a:pt x="52" y="190"/>
                  <a:pt x="58" y="190"/>
                </a:cubicBezTo>
                <a:cubicBezTo>
                  <a:pt x="66" y="190"/>
                  <a:pt x="74" y="190"/>
                  <a:pt x="82" y="190"/>
                </a:cubicBezTo>
                <a:cubicBezTo>
                  <a:pt x="88" y="190"/>
                  <a:pt x="92" y="185"/>
                  <a:pt x="92" y="17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0" name="Freeform 108"/>
          <p:cNvSpPr>
            <a:spLocks noEditPoints="1"/>
          </p:cNvSpPr>
          <p:nvPr/>
        </p:nvSpPr>
        <p:spPr bwMode="auto">
          <a:xfrm>
            <a:off x="3960813" y="6115050"/>
            <a:ext cx="331787" cy="482600"/>
          </a:xfrm>
          <a:custGeom>
            <a:avLst/>
            <a:gdLst>
              <a:gd name="T0" fmla="*/ 45 w 140"/>
              <a:gd name="T1" fmla="*/ 199 h 203"/>
              <a:gd name="T2" fmla="*/ 34 w 140"/>
              <a:gd name="T3" fmla="*/ 185 h 203"/>
              <a:gd name="T4" fmla="*/ 25 w 140"/>
              <a:gd name="T5" fmla="*/ 159 h 203"/>
              <a:gd name="T6" fmla="*/ 25 w 140"/>
              <a:gd name="T7" fmla="*/ 142 h 203"/>
              <a:gd name="T8" fmla="*/ 16 w 140"/>
              <a:gd name="T9" fmla="*/ 112 h 203"/>
              <a:gd name="T10" fmla="*/ 2 w 140"/>
              <a:gd name="T11" fmla="*/ 57 h 203"/>
              <a:gd name="T12" fmla="*/ 64 w 140"/>
              <a:gd name="T13" fmla="*/ 1 h 203"/>
              <a:gd name="T14" fmla="*/ 74 w 140"/>
              <a:gd name="T15" fmla="*/ 0 h 203"/>
              <a:gd name="T16" fmla="*/ 118 w 140"/>
              <a:gd name="T17" fmla="*/ 20 h 203"/>
              <a:gd name="T18" fmla="*/ 130 w 140"/>
              <a:gd name="T19" fmla="*/ 102 h 203"/>
              <a:gd name="T20" fmla="*/ 116 w 140"/>
              <a:gd name="T21" fmla="*/ 137 h 203"/>
              <a:gd name="T22" fmla="*/ 115 w 140"/>
              <a:gd name="T23" fmla="*/ 148 h 203"/>
              <a:gd name="T24" fmla="*/ 114 w 140"/>
              <a:gd name="T25" fmla="*/ 161 h 203"/>
              <a:gd name="T26" fmla="*/ 103 w 140"/>
              <a:gd name="T27" fmla="*/ 186 h 203"/>
              <a:gd name="T28" fmla="*/ 83 w 140"/>
              <a:gd name="T29" fmla="*/ 203 h 203"/>
              <a:gd name="T30" fmla="*/ 70 w 140"/>
              <a:gd name="T31" fmla="*/ 141 h 203"/>
              <a:gd name="T32" fmla="*/ 103 w 140"/>
              <a:gd name="T33" fmla="*/ 136 h 203"/>
              <a:gd name="T34" fmla="*/ 108 w 140"/>
              <a:gd name="T35" fmla="*/ 116 h 203"/>
              <a:gd name="T36" fmla="*/ 124 w 140"/>
              <a:gd name="T37" fmla="*/ 60 h 203"/>
              <a:gd name="T38" fmla="*/ 40 w 140"/>
              <a:gd name="T39" fmla="*/ 21 h 203"/>
              <a:gd name="T40" fmla="*/ 24 w 140"/>
              <a:gd name="T41" fmla="*/ 102 h 203"/>
              <a:gd name="T42" fmla="*/ 42 w 140"/>
              <a:gd name="T43" fmla="*/ 141 h 203"/>
              <a:gd name="T44" fmla="*/ 70 w 140"/>
              <a:gd name="T45" fmla="*/ 157 h 203"/>
              <a:gd name="T46" fmla="*/ 102 w 140"/>
              <a:gd name="T47" fmla="*/ 154 h 203"/>
              <a:gd name="T48" fmla="*/ 58 w 140"/>
              <a:gd name="T49" fmla="*/ 146 h 203"/>
              <a:gd name="T50" fmla="*/ 37 w 140"/>
              <a:gd name="T51" fmla="*/ 150 h 203"/>
              <a:gd name="T52" fmla="*/ 70 w 140"/>
              <a:gd name="T53" fmla="*/ 157 h 203"/>
              <a:gd name="T54" fmla="*/ 42 w 140"/>
              <a:gd name="T55" fmla="*/ 163 h 203"/>
              <a:gd name="T56" fmla="*/ 42 w 140"/>
              <a:gd name="T57" fmla="*/ 174 h 203"/>
              <a:gd name="T58" fmla="*/ 97 w 140"/>
              <a:gd name="T59" fmla="*/ 174 h 203"/>
              <a:gd name="T60" fmla="*/ 97 w 140"/>
              <a:gd name="T61" fmla="*/ 163 h 203"/>
              <a:gd name="T62" fmla="*/ 92 w 140"/>
              <a:gd name="T63" fmla="*/ 180 h 203"/>
              <a:gd name="T64" fmla="*/ 58 w 140"/>
              <a:gd name="T65" fmla="*/ 191 h 203"/>
              <a:gd name="T66" fmla="*/ 92 w 140"/>
              <a:gd name="T67" fmla="*/ 18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203">
                <a:moveTo>
                  <a:pt x="56" y="203"/>
                </a:moveTo>
                <a:cubicBezTo>
                  <a:pt x="52" y="202"/>
                  <a:pt x="48" y="201"/>
                  <a:pt x="45" y="199"/>
                </a:cubicBezTo>
                <a:cubicBezTo>
                  <a:pt x="41" y="196"/>
                  <a:pt x="38" y="192"/>
                  <a:pt x="36" y="188"/>
                </a:cubicBezTo>
                <a:cubicBezTo>
                  <a:pt x="36" y="186"/>
                  <a:pt x="35" y="185"/>
                  <a:pt x="34" y="185"/>
                </a:cubicBezTo>
                <a:cubicBezTo>
                  <a:pt x="25" y="181"/>
                  <a:pt x="21" y="170"/>
                  <a:pt x="25" y="162"/>
                </a:cubicBezTo>
                <a:cubicBezTo>
                  <a:pt x="25" y="161"/>
                  <a:pt x="25" y="159"/>
                  <a:pt x="25" y="159"/>
                </a:cubicBezTo>
                <a:cubicBezTo>
                  <a:pt x="23" y="154"/>
                  <a:pt x="23" y="150"/>
                  <a:pt x="25" y="146"/>
                </a:cubicBezTo>
                <a:cubicBezTo>
                  <a:pt x="25" y="144"/>
                  <a:pt x="25" y="143"/>
                  <a:pt x="25" y="142"/>
                </a:cubicBezTo>
                <a:cubicBezTo>
                  <a:pt x="24" y="139"/>
                  <a:pt x="23" y="136"/>
                  <a:pt x="23" y="133"/>
                </a:cubicBezTo>
                <a:cubicBezTo>
                  <a:pt x="22" y="125"/>
                  <a:pt x="19" y="119"/>
                  <a:pt x="16" y="112"/>
                </a:cubicBezTo>
                <a:cubicBezTo>
                  <a:pt x="12" y="106"/>
                  <a:pt x="9" y="100"/>
                  <a:pt x="6" y="94"/>
                </a:cubicBezTo>
                <a:cubicBezTo>
                  <a:pt x="1" y="82"/>
                  <a:pt x="0" y="70"/>
                  <a:pt x="2" y="57"/>
                </a:cubicBezTo>
                <a:cubicBezTo>
                  <a:pt x="7" y="33"/>
                  <a:pt x="20" y="16"/>
                  <a:pt x="43" y="6"/>
                </a:cubicBezTo>
                <a:cubicBezTo>
                  <a:pt x="49" y="3"/>
                  <a:pt x="57" y="1"/>
                  <a:pt x="64" y="1"/>
                </a:cubicBezTo>
                <a:cubicBezTo>
                  <a:pt x="64" y="1"/>
                  <a:pt x="65" y="0"/>
                  <a:pt x="66" y="0"/>
                </a:cubicBezTo>
                <a:cubicBezTo>
                  <a:pt x="68" y="0"/>
                  <a:pt x="71" y="0"/>
                  <a:pt x="74" y="0"/>
                </a:cubicBezTo>
                <a:cubicBezTo>
                  <a:pt x="78" y="1"/>
                  <a:pt x="83" y="2"/>
                  <a:pt x="87" y="3"/>
                </a:cubicBezTo>
                <a:cubicBezTo>
                  <a:pt x="99" y="6"/>
                  <a:pt x="109" y="12"/>
                  <a:pt x="118" y="20"/>
                </a:cubicBezTo>
                <a:cubicBezTo>
                  <a:pt x="127" y="29"/>
                  <a:pt x="133" y="40"/>
                  <a:pt x="136" y="52"/>
                </a:cubicBezTo>
                <a:cubicBezTo>
                  <a:pt x="140" y="70"/>
                  <a:pt x="138" y="86"/>
                  <a:pt x="130" y="102"/>
                </a:cubicBezTo>
                <a:cubicBezTo>
                  <a:pt x="127" y="107"/>
                  <a:pt x="124" y="111"/>
                  <a:pt x="122" y="116"/>
                </a:cubicBezTo>
                <a:cubicBezTo>
                  <a:pt x="118" y="123"/>
                  <a:pt x="117" y="130"/>
                  <a:pt x="116" y="137"/>
                </a:cubicBezTo>
                <a:cubicBezTo>
                  <a:pt x="116" y="138"/>
                  <a:pt x="116" y="139"/>
                  <a:pt x="116" y="140"/>
                </a:cubicBezTo>
                <a:cubicBezTo>
                  <a:pt x="115" y="142"/>
                  <a:pt x="115" y="147"/>
                  <a:pt x="115" y="148"/>
                </a:cubicBezTo>
                <a:cubicBezTo>
                  <a:pt x="116" y="152"/>
                  <a:pt x="115" y="155"/>
                  <a:pt x="114" y="159"/>
                </a:cubicBezTo>
                <a:cubicBezTo>
                  <a:pt x="114" y="160"/>
                  <a:pt x="114" y="161"/>
                  <a:pt x="114" y="161"/>
                </a:cubicBezTo>
                <a:cubicBezTo>
                  <a:pt x="118" y="171"/>
                  <a:pt x="114" y="181"/>
                  <a:pt x="105" y="185"/>
                </a:cubicBezTo>
                <a:cubicBezTo>
                  <a:pt x="104" y="185"/>
                  <a:pt x="104" y="186"/>
                  <a:pt x="103" y="186"/>
                </a:cubicBezTo>
                <a:cubicBezTo>
                  <a:pt x="100" y="196"/>
                  <a:pt x="93" y="202"/>
                  <a:pt x="83" y="203"/>
                </a:cubicBezTo>
                <a:cubicBezTo>
                  <a:pt x="83" y="203"/>
                  <a:pt x="83" y="203"/>
                  <a:pt x="83" y="203"/>
                </a:cubicBezTo>
                <a:cubicBezTo>
                  <a:pt x="74" y="203"/>
                  <a:pt x="65" y="203"/>
                  <a:pt x="56" y="203"/>
                </a:cubicBezTo>
                <a:close/>
                <a:moveTo>
                  <a:pt x="70" y="141"/>
                </a:moveTo>
                <a:cubicBezTo>
                  <a:pt x="79" y="141"/>
                  <a:pt x="88" y="141"/>
                  <a:pt x="97" y="141"/>
                </a:cubicBezTo>
                <a:cubicBezTo>
                  <a:pt x="101" y="141"/>
                  <a:pt x="103" y="139"/>
                  <a:pt x="103" y="136"/>
                </a:cubicBezTo>
                <a:cubicBezTo>
                  <a:pt x="104" y="135"/>
                  <a:pt x="104" y="134"/>
                  <a:pt x="104" y="134"/>
                </a:cubicBezTo>
                <a:cubicBezTo>
                  <a:pt x="104" y="128"/>
                  <a:pt x="105" y="122"/>
                  <a:pt x="108" y="116"/>
                </a:cubicBezTo>
                <a:cubicBezTo>
                  <a:pt x="111" y="110"/>
                  <a:pt x="114" y="103"/>
                  <a:pt x="118" y="97"/>
                </a:cubicBezTo>
                <a:cubicBezTo>
                  <a:pt x="124" y="85"/>
                  <a:pt x="126" y="73"/>
                  <a:pt x="124" y="60"/>
                </a:cubicBezTo>
                <a:cubicBezTo>
                  <a:pt x="122" y="44"/>
                  <a:pt x="114" y="31"/>
                  <a:pt x="100" y="22"/>
                </a:cubicBezTo>
                <a:cubicBezTo>
                  <a:pt x="81" y="10"/>
                  <a:pt x="60" y="9"/>
                  <a:pt x="40" y="21"/>
                </a:cubicBezTo>
                <a:cubicBezTo>
                  <a:pt x="20" y="33"/>
                  <a:pt x="11" y="56"/>
                  <a:pt x="15" y="80"/>
                </a:cubicBezTo>
                <a:cubicBezTo>
                  <a:pt x="16" y="88"/>
                  <a:pt x="20" y="95"/>
                  <a:pt x="24" y="102"/>
                </a:cubicBezTo>
                <a:cubicBezTo>
                  <a:pt x="30" y="112"/>
                  <a:pt x="34" y="123"/>
                  <a:pt x="36" y="135"/>
                </a:cubicBezTo>
                <a:cubicBezTo>
                  <a:pt x="36" y="139"/>
                  <a:pt x="38" y="141"/>
                  <a:pt x="42" y="141"/>
                </a:cubicBezTo>
                <a:cubicBezTo>
                  <a:pt x="51" y="141"/>
                  <a:pt x="60" y="141"/>
                  <a:pt x="70" y="141"/>
                </a:cubicBezTo>
                <a:close/>
                <a:moveTo>
                  <a:pt x="70" y="157"/>
                </a:moveTo>
                <a:cubicBezTo>
                  <a:pt x="79" y="157"/>
                  <a:pt x="88" y="157"/>
                  <a:pt x="97" y="157"/>
                </a:cubicBezTo>
                <a:cubicBezTo>
                  <a:pt x="99" y="157"/>
                  <a:pt x="101" y="156"/>
                  <a:pt x="102" y="154"/>
                </a:cubicBezTo>
                <a:cubicBezTo>
                  <a:pt x="104" y="150"/>
                  <a:pt x="101" y="146"/>
                  <a:pt x="97" y="146"/>
                </a:cubicBezTo>
                <a:cubicBezTo>
                  <a:pt x="84" y="146"/>
                  <a:pt x="71" y="146"/>
                  <a:pt x="58" y="146"/>
                </a:cubicBezTo>
                <a:cubicBezTo>
                  <a:pt x="53" y="146"/>
                  <a:pt x="48" y="146"/>
                  <a:pt x="42" y="146"/>
                </a:cubicBezTo>
                <a:cubicBezTo>
                  <a:pt x="40" y="146"/>
                  <a:pt x="38" y="147"/>
                  <a:pt x="37" y="150"/>
                </a:cubicBezTo>
                <a:cubicBezTo>
                  <a:pt x="35" y="153"/>
                  <a:pt x="38" y="157"/>
                  <a:pt x="42" y="157"/>
                </a:cubicBezTo>
                <a:cubicBezTo>
                  <a:pt x="51" y="157"/>
                  <a:pt x="60" y="157"/>
                  <a:pt x="70" y="157"/>
                </a:cubicBezTo>
                <a:close/>
                <a:moveTo>
                  <a:pt x="70" y="163"/>
                </a:moveTo>
                <a:cubicBezTo>
                  <a:pt x="61" y="163"/>
                  <a:pt x="51" y="163"/>
                  <a:pt x="42" y="163"/>
                </a:cubicBezTo>
                <a:cubicBezTo>
                  <a:pt x="40" y="163"/>
                  <a:pt x="38" y="164"/>
                  <a:pt x="37" y="166"/>
                </a:cubicBezTo>
                <a:cubicBezTo>
                  <a:pt x="35" y="170"/>
                  <a:pt x="38" y="174"/>
                  <a:pt x="42" y="174"/>
                </a:cubicBezTo>
                <a:cubicBezTo>
                  <a:pt x="56" y="174"/>
                  <a:pt x="69" y="174"/>
                  <a:pt x="82" y="174"/>
                </a:cubicBezTo>
                <a:cubicBezTo>
                  <a:pt x="87" y="174"/>
                  <a:pt x="92" y="174"/>
                  <a:pt x="97" y="174"/>
                </a:cubicBezTo>
                <a:cubicBezTo>
                  <a:pt x="100" y="174"/>
                  <a:pt x="101" y="173"/>
                  <a:pt x="102" y="171"/>
                </a:cubicBezTo>
                <a:cubicBezTo>
                  <a:pt x="104" y="167"/>
                  <a:pt x="101" y="163"/>
                  <a:pt x="97" y="163"/>
                </a:cubicBezTo>
                <a:cubicBezTo>
                  <a:pt x="88" y="163"/>
                  <a:pt x="79" y="163"/>
                  <a:pt x="70" y="163"/>
                </a:cubicBezTo>
                <a:close/>
                <a:moveTo>
                  <a:pt x="92" y="180"/>
                </a:moveTo>
                <a:cubicBezTo>
                  <a:pt x="77" y="180"/>
                  <a:pt x="62" y="180"/>
                  <a:pt x="47" y="180"/>
                </a:cubicBezTo>
                <a:cubicBezTo>
                  <a:pt x="48" y="186"/>
                  <a:pt x="52" y="190"/>
                  <a:pt x="58" y="191"/>
                </a:cubicBezTo>
                <a:cubicBezTo>
                  <a:pt x="66" y="191"/>
                  <a:pt x="74" y="191"/>
                  <a:pt x="81" y="191"/>
                </a:cubicBezTo>
                <a:cubicBezTo>
                  <a:pt x="87" y="190"/>
                  <a:pt x="92" y="186"/>
                  <a:pt x="92" y="18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1" name="Freeform 109"/>
          <p:cNvSpPr>
            <a:spLocks/>
          </p:cNvSpPr>
          <p:nvPr/>
        </p:nvSpPr>
        <p:spPr bwMode="auto">
          <a:xfrm>
            <a:off x="6742113" y="5321300"/>
            <a:ext cx="284162" cy="304800"/>
          </a:xfrm>
          <a:custGeom>
            <a:avLst/>
            <a:gdLst>
              <a:gd name="T0" fmla="*/ 115 w 119"/>
              <a:gd name="T1" fmla="*/ 5 h 128"/>
              <a:gd name="T2" fmla="*/ 117 w 119"/>
              <a:gd name="T3" fmla="*/ 11 h 128"/>
              <a:gd name="T4" fmla="*/ 110 w 119"/>
              <a:gd name="T5" fmla="*/ 64 h 128"/>
              <a:gd name="T6" fmla="*/ 28 w 119"/>
              <a:gd name="T7" fmla="*/ 127 h 128"/>
              <a:gd name="T8" fmla="*/ 11 w 119"/>
              <a:gd name="T9" fmla="*/ 128 h 128"/>
              <a:gd name="T10" fmla="*/ 1 w 119"/>
              <a:gd name="T11" fmla="*/ 118 h 128"/>
              <a:gd name="T12" fmla="*/ 8 w 119"/>
              <a:gd name="T13" fmla="*/ 107 h 128"/>
              <a:gd name="T14" fmla="*/ 14 w 119"/>
              <a:gd name="T15" fmla="*/ 106 h 128"/>
              <a:gd name="T16" fmla="*/ 41 w 119"/>
              <a:gd name="T17" fmla="*/ 102 h 128"/>
              <a:gd name="T18" fmla="*/ 81 w 119"/>
              <a:gd name="T19" fmla="*/ 72 h 128"/>
              <a:gd name="T20" fmla="*/ 94 w 119"/>
              <a:gd name="T21" fmla="*/ 40 h 128"/>
              <a:gd name="T22" fmla="*/ 96 w 119"/>
              <a:gd name="T23" fmla="*/ 20 h 128"/>
              <a:gd name="T24" fmla="*/ 96 w 119"/>
              <a:gd name="T25" fmla="*/ 11 h 128"/>
              <a:gd name="T26" fmla="*/ 102 w 119"/>
              <a:gd name="T27" fmla="*/ 2 h 128"/>
              <a:gd name="T28" fmla="*/ 115 w 119"/>
              <a:gd name="T29" fmla="*/ 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28">
                <a:moveTo>
                  <a:pt x="115" y="5"/>
                </a:moveTo>
                <a:cubicBezTo>
                  <a:pt x="116" y="6"/>
                  <a:pt x="117" y="8"/>
                  <a:pt x="117" y="11"/>
                </a:cubicBezTo>
                <a:cubicBezTo>
                  <a:pt x="119" y="30"/>
                  <a:pt x="117" y="48"/>
                  <a:pt x="110" y="64"/>
                </a:cubicBezTo>
                <a:cubicBezTo>
                  <a:pt x="94" y="100"/>
                  <a:pt x="66" y="121"/>
                  <a:pt x="28" y="127"/>
                </a:cubicBezTo>
                <a:cubicBezTo>
                  <a:pt x="22" y="128"/>
                  <a:pt x="16" y="128"/>
                  <a:pt x="11" y="128"/>
                </a:cubicBezTo>
                <a:cubicBezTo>
                  <a:pt x="5" y="128"/>
                  <a:pt x="1" y="124"/>
                  <a:pt x="1" y="118"/>
                </a:cubicBezTo>
                <a:cubicBezTo>
                  <a:pt x="0" y="113"/>
                  <a:pt x="3" y="108"/>
                  <a:pt x="8" y="107"/>
                </a:cubicBezTo>
                <a:cubicBezTo>
                  <a:pt x="10" y="106"/>
                  <a:pt x="12" y="106"/>
                  <a:pt x="14" y="106"/>
                </a:cubicBezTo>
                <a:cubicBezTo>
                  <a:pt x="23" y="106"/>
                  <a:pt x="32" y="105"/>
                  <a:pt x="41" y="102"/>
                </a:cubicBezTo>
                <a:cubicBezTo>
                  <a:pt x="57" y="96"/>
                  <a:pt x="71" y="86"/>
                  <a:pt x="81" y="72"/>
                </a:cubicBezTo>
                <a:cubicBezTo>
                  <a:pt x="87" y="62"/>
                  <a:pt x="92" y="52"/>
                  <a:pt x="94" y="40"/>
                </a:cubicBezTo>
                <a:cubicBezTo>
                  <a:pt x="96" y="34"/>
                  <a:pt x="96" y="27"/>
                  <a:pt x="96" y="20"/>
                </a:cubicBezTo>
                <a:cubicBezTo>
                  <a:pt x="96" y="17"/>
                  <a:pt x="95" y="14"/>
                  <a:pt x="96" y="11"/>
                </a:cubicBezTo>
                <a:cubicBezTo>
                  <a:pt x="96" y="7"/>
                  <a:pt x="98" y="4"/>
                  <a:pt x="102" y="2"/>
                </a:cubicBezTo>
                <a:cubicBezTo>
                  <a:pt x="106" y="0"/>
                  <a:pt x="111" y="1"/>
                  <a:pt x="115" y="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2" name="Freeform 110"/>
          <p:cNvSpPr>
            <a:spLocks/>
          </p:cNvSpPr>
          <p:nvPr/>
        </p:nvSpPr>
        <p:spPr bwMode="auto">
          <a:xfrm>
            <a:off x="6735763" y="5326063"/>
            <a:ext cx="188912" cy="206375"/>
          </a:xfrm>
          <a:custGeom>
            <a:avLst/>
            <a:gdLst>
              <a:gd name="T0" fmla="*/ 62 w 80"/>
              <a:gd name="T1" fmla="*/ 68 h 87"/>
              <a:gd name="T2" fmla="*/ 18 w 80"/>
              <a:gd name="T3" fmla="*/ 86 h 87"/>
              <a:gd name="T4" fmla="*/ 7 w 80"/>
              <a:gd name="T5" fmla="*/ 85 h 87"/>
              <a:gd name="T6" fmla="*/ 1 w 80"/>
              <a:gd name="T7" fmla="*/ 73 h 87"/>
              <a:gd name="T8" fmla="*/ 11 w 80"/>
              <a:gd name="T9" fmla="*/ 63 h 87"/>
              <a:gd name="T10" fmla="*/ 20 w 80"/>
              <a:gd name="T11" fmla="*/ 62 h 87"/>
              <a:gd name="T12" fmla="*/ 56 w 80"/>
              <a:gd name="T13" fmla="*/ 22 h 87"/>
              <a:gd name="T14" fmla="*/ 56 w 80"/>
              <a:gd name="T15" fmla="*/ 12 h 87"/>
              <a:gd name="T16" fmla="*/ 67 w 80"/>
              <a:gd name="T17" fmla="*/ 1 h 87"/>
              <a:gd name="T18" fmla="*/ 79 w 80"/>
              <a:gd name="T19" fmla="*/ 10 h 87"/>
              <a:gd name="T20" fmla="*/ 80 w 80"/>
              <a:gd name="T21" fmla="*/ 22 h 87"/>
              <a:gd name="T22" fmla="*/ 72 w 80"/>
              <a:gd name="T23" fmla="*/ 55 h 87"/>
              <a:gd name="T24" fmla="*/ 62 w 80"/>
              <a:gd name="T25"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7">
                <a:moveTo>
                  <a:pt x="62" y="68"/>
                </a:moveTo>
                <a:cubicBezTo>
                  <a:pt x="50" y="80"/>
                  <a:pt x="35" y="86"/>
                  <a:pt x="18" y="86"/>
                </a:cubicBezTo>
                <a:cubicBezTo>
                  <a:pt x="14" y="87"/>
                  <a:pt x="11" y="87"/>
                  <a:pt x="7" y="85"/>
                </a:cubicBezTo>
                <a:cubicBezTo>
                  <a:pt x="3" y="83"/>
                  <a:pt x="0" y="78"/>
                  <a:pt x="1" y="73"/>
                </a:cubicBezTo>
                <a:cubicBezTo>
                  <a:pt x="2" y="68"/>
                  <a:pt x="6" y="63"/>
                  <a:pt x="11" y="63"/>
                </a:cubicBezTo>
                <a:cubicBezTo>
                  <a:pt x="14" y="63"/>
                  <a:pt x="17" y="63"/>
                  <a:pt x="20" y="62"/>
                </a:cubicBezTo>
                <a:cubicBezTo>
                  <a:pt x="41" y="61"/>
                  <a:pt x="56" y="44"/>
                  <a:pt x="56" y="22"/>
                </a:cubicBezTo>
                <a:cubicBezTo>
                  <a:pt x="56" y="19"/>
                  <a:pt x="56" y="15"/>
                  <a:pt x="56" y="12"/>
                </a:cubicBezTo>
                <a:cubicBezTo>
                  <a:pt x="56" y="6"/>
                  <a:pt x="61" y="1"/>
                  <a:pt x="67" y="1"/>
                </a:cubicBezTo>
                <a:cubicBezTo>
                  <a:pt x="72" y="0"/>
                  <a:pt x="78" y="4"/>
                  <a:pt x="79" y="10"/>
                </a:cubicBezTo>
                <a:cubicBezTo>
                  <a:pt x="80" y="14"/>
                  <a:pt x="80" y="18"/>
                  <a:pt x="80" y="22"/>
                </a:cubicBezTo>
                <a:cubicBezTo>
                  <a:pt x="80" y="33"/>
                  <a:pt x="78" y="45"/>
                  <a:pt x="72" y="55"/>
                </a:cubicBezTo>
                <a:cubicBezTo>
                  <a:pt x="69" y="59"/>
                  <a:pt x="66" y="64"/>
                  <a:pt x="62" y="6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3" name="Freeform 111"/>
          <p:cNvSpPr>
            <a:spLocks/>
          </p:cNvSpPr>
          <p:nvPr/>
        </p:nvSpPr>
        <p:spPr bwMode="auto">
          <a:xfrm>
            <a:off x="6726238" y="5326063"/>
            <a:ext cx="100012" cy="103187"/>
          </a:xfrm>
          <a:custGeom>
            <a:avLst/>
            <a:gdLst>
              <a:gd name="T0" fmla="*/ 34 w 42"/>
              <a:gd name="T1" fmla="*/ 7 h 43"/>
              <a:gd name="T2" fmla="*/ 35 w 42"/>
              <a:gd name="T3" fmla="*/ 34 h 43"/>
              <a:gd name="T4" fmla="*/ 8 w 42"/>
              <a:gd name="T5" fmla="*/ 35 h 43"/>
              <a:gd name="T6" fmla="*/ 7 w 42"/>
              <a:gd name="T7" fmla="*/ 8 h 43"/>
              <a:gd name="T8" fmla="*/ 34 w 42"/>
              <a:gd name="T9" fmla="*/ 7 h 43"/>
            </a:gdLst>
            <a:ahLst/>
            <a:cxnLst>
              <a:cxn ang="0">
                <a:pos x="T0" y="T1"/>
              </a:cxn>
              <a:cxn ang="0">
                <a:pos x="T2" y="T3"/>
              </a:cxn>
              <a:cxn ang="0">
                <a:pos x="T4" y="T5"/>
              </a:cxn>
              <a:cxn ang="0">
                <a:pos x="T6" y="T7"/>
              </a:cxn>
              <a:cxn ang="0">
                <a:pos x="T8" y="T9"/>
              </a:cxn>
            </a:cxnLst>
            <a:rect l="0" t="0" r="r" b="b"/>
            <a:pathLst>
              <a:path w="42" h="43">
                <a:moveTo>
                  <a:pt x="34" y="7"/>
                </a:moveTo>
                <a:cubicBezTo>
                  <a:pt x="42" y="15"/>
                  <a:pt x="42" y="27"/>
                  <a:pt x="35" y="34"/>
                </a:cubicBezTo>
                <a:cubicBezTo>
                  <a:pt x="28" y="42"/>
                  <a:pt x="16" y="43"/>
                  <a:pt x="8" y="35"/>
                </a:cubicBezTo>
                <a:cubicBezTo>
                  <a:pt x="0" y="28"/>
                  <a:pt x="0" y="16"/>
                  <a:pt x="7" y="8"/>
                </a:cubicBezTo>
                <a:cubicBezTo>
                  <a:pt x="14" y="1"/>
                  <a:pt x="26" y="0"/>
                  <a:pt x="34" y="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4" name="Freeform 112"/>
          <p:cNvSpPr>
            <a:spLocks/>
          </p:cNvSpPr>
          <p:nvPr/>
        </p:nvSpPr>
        <p:spPr bwMode="auto">
          <a:xfrm>
            <a:off x="8729663" y="290513"/>
            <a:ext cx="354012" cy="236537"/>
          </a:xfrm>
          <a:custGeom>
            <a:avLst/>
            <a:gdLst>
              <a:gd name="T0" fmla="*/ 1 w 149"/>
              <a:gd name="T1" fmla="*/ 92 h 99"/>
              <a:gd name="T2" fmla="*/ 1 w 149"/>
              <a:gd name="T3" fmla="*/ 85 h 99"/>
              <a:gd name="T4" fmla="*/ 27 w 149"/>
              <a:gd name="T5" fmla="*/ 38 h 99"/>
              <a:gd name="T6" fmla="*/ 125 w 149"/>
              <a:gd name="T7" fmla="*/ 8 h 99"/>
              <a:gd name="T8" fmla="*/ 142 w 149"/>
              <a:gd name="T9" fmla="*/ 13 h 99"/>
              <a:gd name="T10" fmla="*/ 148 w 149"/>
              <a:gd name="T11" fmla="*/ 26 h 99"/>
              <a:gd name="T12" fmla="*/ 136 w 149"/>
              <a:gd name="T13" fmla="*/ 34 h 99"/>
              <a:gd name="T14" fmla="*/ 131 w 149"/>
              <a:gd name="T15" fmla="*/ 32 h 99"/>
              <a:gd name="T16" fmla="*/ 104 w 149"/>
              <a:gd name="T17" fmla="*/ 27 h 99"/>
              <a:gd name="T18" fmla="*/ 56 w 149"/>
              <a:gd name="T19" fmla="*/ 41 h 99"/>
              <a:gd name="T20" fmla="*/ 32 w 149"/>
              <a:gd name="T21" fmla="*/ 66 h 99"/>
              <a:gd name="T22" fmla="*/ 24 w 149"/>
              <a:gd name="T23" fmla="*/ 84 h 99"/>
              <a:gd name="T24" fmla="*/ 21 w 149"/>
              <a:gd name="T25" fmla="*/ 92 h 99"/>
              <a:gd name="T26" fmla="*/ 11 w 149"/>
              <a:gd name="T27" fmla="*/ 99 h 99"/>
              <a:gd name="T28" fmla="*/ 1 w 149"/>
              <a:gd name="T29" fmla="*/ 9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9" h="99">
                <a:moveTo>
                  <a:pt x="1" y="92"/>
                </a:moveTo>
                <a:cubicBezTo>
                  <a:pt x="0" y="90"/>
                  <a:pt x="0" y="87"/>
                  <a:pt x="1" y="85"/>
                </a:cubicBezTo>
                <a:cubicBezTo>
                  <a:pt x="6" y="67"/>
                  <a:pt x="14" y="51"/>
                  <a:pt x="27" y="38"/>
                </a:cubicBezTo>
                <a:cubicBezTo>
                  <a:pt x="54" y="10"/>
                  <a:pt x="87" y="0"/>
                  <a:pt x="125" y="8"/>
                </a:cubicBezTo>
                <a:cubicBezTo>
                  <a:pt x="131" y="9"/>
                  <a:pt x="136" y="11"/>
                  <a:pt x="142" y="13"/>
                </a:cubicBezTo>
                <a:cubicBezTo>
                  <a:pt x="147" y="15"/>
                  <a:pt x="149" y="20"/>
                  <a:pt x="148" y="26"/>
                </a:cubicBezTo>
                <a:cubicBezTo>
                  <a:pt x="146" y="31"/>
                  <a:pt x="141" y="34"/>
                  <a:pt x="136" y="34"/>
                </a:cubicBezTo>
                <a:cubicBezTo>
                  <a:pt x="134" y="33"/>
                  <a:pt x="133" y="33"/>
                  <a:pt x="131" y="32"/>
                </a:cubicBezTo>
                <a:cubicBezTo>
                  <a:pt x="122" y="29"/>
                  <a:pt x="113" y="27"/>
                  <a:pt x="104" y="27"/>
                </a:cubicBezTo>
                <a:cubicBezTo>
                  <a:pt x="86" y="27"/>
                  <a:pt x="71" y="31"/>
                  <a:pt x="56" y="41"/>
                </a:cubicBezTo>
                <a:cubicBezTo>
                  <a:pt x="47" y="48"/>
                  <a:pt x="39" y="56"/>
                  <a:pt x="32" y="66"/>
                </a:cubicBezTo>
                <a:cubicBezTo>
                  <a:pt x="29" y="71"/>
                  <a:pt x="26" y="78"/>
                  <a:pt x="24" y="84"/>
                </a:cubicBezTo>
                <a:cubicBezTo>
                  <a:pt x="23" y="87"/>
                  <a:pt x="22" y="90"/>
                  <a:pt x="21" y="92"/>
                </a:cubicBezTo>
                <a:cubicBezTo>
                  <a:pt x="19" y="96"/>
                  <a:pt x="16" y="98"/>
                  <a:pt x="11" y="99"/>
                </a:cubicBezTo>
                <a:cubicBezTo>
                  <a:pt x="7" y="99"/>
                  <a:pt x="3" y="96"/>
                  <a:pt x="1" y="92"/>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35" name="Freeform 113"/>
          <p:cNvSpPr>
            <a:spLocks/>
          </p:cNvSpPr>
          <p:nvPr/>
        </p:nvSpPr>
        <p:spPr bwMode="auto">
          <a:xfrm>
            <a:off x="8820150" y="393700"/>
            <a:ext cx="236538" cy="166688"/>
          </a:xfrm>
          <a:custGeom>
            <a:avLst/>
            <a:gdLst>
              <a:gd name="T0" fmla="*/ 38 w 99"/>
              <a:gd name="T1" fmla="*/ 7 h 70"/>
              <a:gd name="T2" fmla="*/ 86 w 99"/>
              <a:gd name="T3" fmla="*/ 6 h 70"/>
              <a:gd name="T4" fmla="*/ 95 w 99"/>
              <a:gd name="T5" fmla="*/ 10 h 70"/>
              <a:gd name="T6" fmla="*/ 97 w 99"/>
              <a:gd name="T7" fmla="*/ 24 h 70"/>
              <a:gd name="T8" fmla="*/ 84 w 99"/>
              <a:gd name="T9" fmla="*/ 30 h 70"/>
              <a:gd name="T10" fmla="*/ 76 w 99"/>
              <a:gd name="T11" fmla="*/ 28 h 70"/>
              <a:gd name="T12" fmla="*/ 27 w 99"/>
              <a:gd name="T13" fmla="*/ 52 h 70"/>
              <a:gd name="T14" fmla="*/ 24 w 99"/>
              <a:gd name="T15" fmla="*/ 62 h 70"/>
              <a:gd name="T16" fmla="*/ 10 w 99"/>
              <a:gd name="T17" fmla="*/ 68 h 70"/>
              <a:gd name="T18" fmla="*/ 1 w 99"/>
              <a:gd name="T19" fmla="*/ 56 h 70"/>
              <a:gd name="T20" fmla="*/ 5 w 99"/>
              <a:gd name="T21" fmla="*/ 44 h 70"/>
              <a:gd name="T22" fmla="*/ 24 w 99"/>
              <a:gd name="T23" fmla="*/ 16 h 70"/>
              <a:gd name="T24" fmla="*/ 37 w 99"/>
              <a:gd name="T25" fmla="*/ 7 h 70"/>
              <a:gd name="T26" fmla="*/ 38 w 99"/>
              <a:gd name="T27"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70">
                <a:moveTo>
                  <a:pt x="38" y="7"/>
                </a:moveTo>
                <a:cubicBezTo>
                  <a:pt x="53" y="0"/>
                  <a:pt x="69" y="0"/>
                  <a:pt x="86" y="6"/>
                </a:cubicBezTo>
                <a:cubicBezTo>
                  <a:pt x="89" y="7"/>
                  <a:pt x="93" y="8"/>
                  <a:pt x="95" y="10"/>
                </a:cubicBezTo>
                <a:cubicBezTo>
                  <a:pt x="99" y="14"/>
                  <a:pt x="99" y="20"/>
                  <a:pt x="97" y="24"/>
                </a:cubicBezTo>
                <a:cubicBezTo>
                  <a:pt x="94" y="29"/>
                  <a:pt x="89" y="31"/>
                  <a:pt x="84" y="30"/>
                </a:cubicBezTo>
                <a:cubicBezTo>
                  <a:pt x="81" y="29"/>
                  <a:pt x="78" y="28"/>
                  <a:pt x="76" y="28"/>
                </a:cubicBezTo>
                <a:cubicBezTo>
                  <a:pt x="55" y="21"/>
                  <a:pt x="34" y="32"/>
                  <a:pt x="27" y="52"/>
                </a:cubicBezTo>
                <a:cubicBezTo>
                  <a:pt x="26" y="56"/>
                  <a:pt x="25" y="59"/>
                  <a:pt x="24" y="62"/>
                </a:cubicBezTo>
                <a:cubicBezTo>
                  <a:pt x="22" y="67"/>
                  <a:pt x="16" y="70"/>
                  <a:pt x="10" y="68"/>
                </a:cubicBezTo>
                <a:cubicBezTo>
                  <a:pt x="4" y="67"/>
                  <a:pt x="0" y="61"/>
                  <a:pt x="1" y="56"/>
                </a:cubicBezTo>
                <a:cubicBezTo>
                  <a:pt x="2" y="52"/>
                  <a:pt x="3" y="48"/>
                  <a:pt x="5" y="44"/>
                </a:cubicBezTo>
                <a:cubicBezTo>
                  <a:pt x="9" y="33"/>
                  <a:pt x="15" y="24"/>
                  <a:pt x="24" y="16"/>
                </a:cubicBezTo>
                <a:cubicBezTo>
                  <a:pt x="28" y="13"/>
                  <a:pt x="33" y="10"/>
                  <a:pt x="37" y="7"/>
                </a:cubicBezTo>
                <a:lnTo>
                  <a:pt x="38" y="7"/>
                </a:ln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36" name="Freeform 114"/>
          <p:cNvSpPr>
            <a:spLocks/>
          </p:cNvSpPr>
          <p:nvPr/>
        </p:nvSpPr>
        <p:spPr bwMode="auto">
          <a:xfrm>
            <a:off x="8921750" y="500063"/>
            <a:ext cx="100013" cy="103187"/>
          </a:xfrm>
          <a:custGeom>
            <a:avLst/>
            <a:gdLst>
              <a:gd name="T0" fmla="*/ 4 w 43"/>
              <a:gd name="T1" fmla="*/ 30 h 43"/>
              <a:gd name="T2" fmla="*/ 13 w 43"/>
              <a:gd name="T3" fmla="*/ 5 h 43"/>
              <a:gd name="T4" fmla="*/ 39 w 43"/>
              <a:gd name="T5" fmla="*/ 13 h 43"/>
              <a:gd name="T6" fmla="*/ 30 w 43"/>
              <a:gd name="T7" fmla="*/ 39 h 43"/>
              <a:gd name="T8" fmla="*/ 4 w 43"/>
              <a:gd name="T9" fmla="*/ 30 h 43"/>
            </a:gdLst>
            <a:ahLst/>
            <a:cxnLst>
              <a:cxn ang="0">
                <a:pos x="T0" y="T1"/>
              </a:cxn>
              <a:cxn ang="0">
                <a:pos x="T2" y="T3"/>
              </a:cxn>
              <a:cxn ang="0">
                <a:pos x="T4" y="T5"/>
              </a:cxn>
              <a:cxn ang="0">
                <a:pos x="T6" y="T7"/>
              </a:cxn>
              <a:cxn ang="0">
                <a:pos x="T8" y="T9"/>
              </a:cxn>
            </a:cxnLst>
            <a:rect l="0" t="0" r="r" b="b"/>
            <a:pathLst>
              <a:path w="43" h="43">
                <a:moveTo>
                  <a:pt x="4" y="30"/>
                </a:moveTo>
                <a:cubicBezTo>
                  <a:pt x="0" y="21"/>
                  <a:pt x="4" y="9"/>
                  <a:pt x="13" y="5"/>
                </a:cubicBezTo>
                <a:cubicBezTo>
                  <a:pt x="22" y="0"/>
                  <a:pt x="34" y="4"/>
                  <a:pt x="39" y="13"/>
                </a:cubicBezTo>
                <a:cubicBezTo>
                  <a:pt x="43" y="22"/>
                  <a:pt x="39" y="34"/>
                  <a:pt x="30" y="39"/>
                </a:cubicBezTo>
                <a:cubicBezTo>
                  <a:pt x="21" y="43"/>
                  <a:pt x="9" y="40"/>
                  <a:pt x="4" y="30"/>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37" name="Freeform 115"/>
          <p:cNvSpPr>
            <a:spLocks/>
          </p:cNvSpPr>
          <p:nvPr/>
        </p:nvSpPr>
        <p:spPr bwMode="auto">
          <a:xfrm>
            <a:off x="4683125" y="5678488"/>
            <a:ext cx="347663" cy="214312"/>
          </a:xfrm>
          <a:custGeom>
            <a:avLst/>
            <a:gdLst>
              <a:gd name="T0" fmla="*/ 108 w 146"/>
              <a:gd name="T1" fmla="*/ 0 h 91"/>
              <a:gd name="T2" fmla="*/ 109 w 146"/>
              <a:gd name="T3" fmla="*/ 1 h 91"/>
              <a:gd name="T4" fmla="*/ 145 w 146"/>
              <a:gd name="T5" fmla="*/ 28 h 91"/>
              <a:gd name="T6" fmla="*/ 146 w 146"/>
              <a:gd name="T7" fmla="*/ 29 h 91"/>
              <a:gd name="T8" fmla="*/ 107 w 146"/>
              <a:gd name="T9" fmla="*/ 58 h 91"/>
              <a:gd name="T10" fmla="*/ 107 w 146"/>
              <a:gd name="T11" fmla="*/ 39 h 91"/>
              <a:gd name="T12" fmla="*/ 106 w 146"/>
              <a:gd name="T13" fmla="*/ 39 h 91"/>
              <a:gd name="T14" fmla="*/ 49 w 146"/>
              <a:gd name="T15" fmla="*/ 39 h 91"/>
              <a:gd name="T16" fmla="*/ 20 w 146"/>
              <a:gd name="T17" fmla="*/ 70 h 91"/>
              <a:gd name="T18" fmla="*/ 21 w 146"/>
              <a:gd name="T19" fmla="*/ 77 h 91"/>
              <a:gd name="T20" fmla="*/ 21 w 146"/>
              <a:gd name="T21" fmla="*/ 79 h 91"/>
              <a:gd name="T22" fmla="*/ 6 w 146"/>
              <a:gd name="T23" fmla="*/ 91 h 91"/>
              <a:gd name="T24" fmla="*/ 2 w 146"/>
              <a:gd name="T25" fmla="*/ 82 h 91"/>
              <a:gd name="T26" fmla="*/ 1 w 146"/>
              <a:gd name="T27" fmla="*/ 73 h 91"/>
              <a:gd name="T28" fmla="*/ 0 w 146"/>
              <a:gd name="T29" fmla="*/ 71 h 91"/>
              <a:gd name="T30" fmla="*/ 0 w 146"/>
              <a:gd name="T31" fmla="*/ 65 h 91"/>
              <a:gd name="T32" fmla="*/ 1 w 146"/>
              <a:gd name="T33" fmla="*/ 60 h 91"/>
              <a:gd name="T34" fmla="*/ 18 w 146"/>
              <a:gd name="T35" fmla="*/ 30 h 91"/>
              <a:gd name="T36" fmla="*/ 50 w 146"/>
              <a:gd name="T37" fmla="*/ 19 h 91"/>
              <a:gd name="T38" fmla="*/ 105 w 146"/>
              <a:gd name="T39" fmla="*/ 19 h 91"/>
              <a:gd name="T40" fmla="*/ 107 w 146"/>
              <a:gd name="T41" fmla="*/ 19 h 91"/>
              <a:gd name="T42" fmla="*/ 107 w 146"/>
              <a:gd name="T43" fmla="*/ 0 h 91"/>
              <a:gd name="T44" fmla="*/ 108 w 146"/>
              <a:gd name="T4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91">
                <a:moveTo>
                  <a:pt x="108" y="0"/>
                </a:moveTo>
                <a:cubicBezTo>
                  <a:pt x="108" y="0"/>
                  <a:pt x="108" y="1"/>
                  <a:pt x="109" y="1"/>
                </a:cubicBezTo>
                <a:cubicBezTo>
                  <a:pt x="121" y="10"/>
                  <a:pt x="133" y="19"/>
                  <a:pt x="145" y="28"/>
                </a:cubicBezTo>
                <a:cubicBezTo>
                  <a:pt x="145" y="28"/>
                  <a:pt x="145" y="28"/>
                  <a:pt x="146" y="29"/>
                </a:cubicBezTo>
                <a:cubicBezTo>
                  <a:pt x="133" y="39"/>
                  <a:pt x="120" y="48"/>
                  <a:pt x="107" y="58"/>
                </a:cubicBezTo>
                <a:cubicBezTo>
                  <a:pt x="107" y="52"/>
                  <a:pt x="107" y="45"/>
                  <a:pt x="107" y="39"/>
                </a:cubicBezTo>
                <a:cubicBezTo>
                  <a:pt x="107" y="39"/>
                  <a:pt x="106" y="39"/>
                  <a:pt x="106" y="39"/>
                </a:cubicBezTo>
                <a:cubicBezTo>
                  <a:pt x="87" y="39"/>
                  <a:pt x="68" y="39"/>
                  <a:pt x="49" y="39"/>
                </a:cubicBezTo>
                <a:cubicBezTo>
                  <a:pt x="32" y="39"/>
                  <a:pt x="19" y="53"/>
                  <a:pt x="20" y="70"/>
                </a:cubicBezTo>
                <a:cubicBezTo>
                  <a:pt x="20" y="72"/>
                  <a:pt x="21" y="75"/>
                  <a:pt x="21" y="77"/>
                </a:cubicBezTo>
                <a:cubicBezTo>
                  <a:pt x="21" y="78"/>
                  <a:pt x="21" y="79"/>
                  <a:pt x="21" y="79"/>
                </a:cubicBezTo>
                <a:cubicBezTo>
                  <a:pt x="16" y="83"/>
                  <a:pt x="11" y="87"/>
                  <a:pt x="6" y="91"/>
                </a:cubicBezTo>
                <a:cubicBezTo>
                  <a:pt x="5" y="88"/>
                  <a:pt x="3" y="85"/>
                  <a:pt x="2" y="82"/>
                </a:cubicBezTo>
                <a:cubicBezTo>
                  <a:pt x="2" y="79"/>
                  <a:pt x="1" y="76"/>
                  <a:pt x="1" y="73"/>
                </a:cubicBezTo>
                <a:cubicBezTo>
                  <a:pt x="0" y="71"/>
                  <a:pt x="0" y="71"/>
                  <a:pt x="0" y="71"/>
                </a:cubicBezTo>
                <a:cubicBezTo>
                  <a:pt x="0" y="69"/>
                  <a:pt x="0" y="67"/>
                  <a:pt x="0" y="65"/>
                </a:cubicBezTo>
                <a:cubicBezTo>
                  <a:pt x="0" y="63"/>
                  <a:pt x="1" y="62"/>
                  <a:pt x="1" y="60"/>
                </a:cubicBezTo>
                <a:cubicBezTo>
                  <a:pt x="3" y="48"/>
                  <a:pt x="9" y="38"/>
                  <a:pt x="18" y="30"/>
                </a:cubicBezTo>
                <a:cubicBezTo>
                  <a:pt x="28" y="23"/>
                  <a:pt x="38" y="19"/>
                  <a:pt x="50" y="19"/>
                </a:cubicBezTo>
                <a:cubicBezTo>
                  <a:pt x="68" y="19"/>
                  <a:pt x="87" y="19"/>
                  <a:pt x="105" y="19"/>
                </a:cubicBezTo>
                <a:cubicBezTo>
                  <a:pt x="106" y="19"/>
                  <a:pt x="107" y="19"/>
                  <a:pt x="107" y="19"/>
                </a:cubicBezTo>
                <a:cubicBezTo>
                  <a:pt x="107" y="13"/>
                  <a:pt x="107" y="6"/>
                  <a:pt x="107" y="0"/>
                </a:cubicBezTo>
                <a:lnTo>
                  <a:pt x="10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238" name="Freeform 116"/>
          <p:cNvSpPr>
            <a:spLocks/>
          </p:cNvSpPr>
          <p:nvPr/>
        </p:nvSpPr>
        <p:spPr bwMode="auto">
          <a:xfrm>
            <a:off x="4706938" y="5784850"/>
            <a:ext cx="346075" cy="217488"/>
          </a:xfrm>
          <a:custGeom>
            <a:avLst/>
            <a:gdLst>
              <a:gd name="T0" fmla="*/ 39 w 146"/>
              <a:gd name="T1" fmla="*/ 91 h 91"/>
              <a:gd name="T2" fmla="*/ 38 w 146"/>
              <a:gd name="T3" fmla="*/ 90 h 91"/>
              <a:gd name="T4" fmla="*/ 1 w 146"/>
              <a:gd name="T5" fmla="*/ 63 h 91"/>
              <a:gd name="T6" fmla="*/ 0 w 146"/>
              <a:gd name="T7" fmla="*/ 62 h 91"/>
              <a:gd name="T8" fmla="*/ 39 w 146"/>
              <a:gd name="T9" fmla="*/ 33 h 91"/>
              <a:gd name="T10" fmla="*/ 39 w 146"/>
              <a:gd name="T11" fmla="*/ 52 h 91"/>
              <a:gd name="T12" fmla="*/ 40 w 146"/>
              <a:gd name="T13" fmla="*/ 52 h 91"/>
              <a:gd name="T14" fmla="*/ 97 w 146"/>
              <a:gd name="T15" fmla="*/ 52 h 91"/>
              <a:gd name="T16" fmla="*/ 126 w 146"/>
              <a:gd name="T17" fmla="*/ 21 h 91"/>
              <a:gd name="T18" fmla="*/ 125 w 146"/>
              <a:gd name="T19" fmla="*/ 13 h 91"/>
              <a:gd name="T20" fmla="*/ 125 w 146"/>
              <a:gd name="T21" fmla="*/ 12 h 91"/>
              <a:gd name="T22" fmla="*/ 140 w 146"/>
              <a:gd name="T23" fmla="*/ 0 h 91"/>
              <a:gd name="T24" fmla="*/ 144 w 146"/>
              <a:gd name="T25" fmla="*/ 9 h 91"/>
              <a:gd name="T26" fmla="*/ 146 w 146"/>
              <a:gd name="T27" fmla="*/ 18 h 91"/>
              <a:gd name="T28" fmla="*/ 146 w 146"/>
              <a:gd name="T29" fmla="*/ 19 h 91"/>
              <a:gd name="T30" fmla="*/ 146 w 146"/>
              <a:gd name="T31" fmla="*/ 26 h 91"/>
              <a:gd name="T32" fmla="*/ 145 w 146"/>
              <a:gd name="T33" fmla="*/ 30 h 91"/>
              <a:gd name="T34" fmla="*/ 128 w 146"/>
              <a:gd name="T35" fmla="*/ 61 h 91"/>
              <a:gd name="T36" fmla="*/ 96 w 146"/>
              <a:gd name="T37" fmla="*/ 71 h 91"/>
              <a:gd name="T38" fmla="*/ 41 w 146"/>
              <a:gd name="T39" fmla="*/ 71 h 91"/>
              <a:gd name="T40" fmla="*/ 39 w 146"/>
              <a:gd name="T41" fmla="*/ 71 h 91"/>
              <a:gd name="T42" fmla="*/ 39 w 146"/>
              <a:gd name="T4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91">
                <a:moveTo>
                  <a:pt x="39" y="91"/>
                </a:moveTo>
                <a:cubicBezTo>
                  <a:pt x="38" y="91"/>
                  <a:pt x="38" y="90"/>
                  <a:pt x="38" y="90"/>
                </a:cubicBezTo>
                <a:cubicBezTo>
                  <a:pt x="26" y="81"/>
                  <a:pt x="13" y="72"/>
                  <a:pt x="1" y="63"/>
                </a:cubicBezTo>
                <a:cubicBezTo>
                  <a:pt x="1" y="63"/>
                  <a:pt x="1" y="62"/>
                  <a:pt x="0" y="62"/>
                </a:cubicBezTo>
                <a:cubicBezTo>
                  <a:pt x="13" y="52"/>
                  <a:pt x="26" y="42"/>
                  <a:pt x="39" y="33"/>
                </a:cubicBezTo>
                <a:cubicBezTo>
                  <a:pt x="39" y="39"/>
                  <a:pt x="39" y="45"/>
                  <a:pt x="39" y="52"/>
                </a:cubicBezTo>
                <a:cubicBezTo>
                  <a:pt x="39" y="52"/>
                  <a:pt x="40" y="52"/>
                  <a:pt x="40" y="52"/>
                </a:cubicBezTo>
                <a:cubicBezTo>
                  <a:pt x="59" y="52"/>
                  <a:pt x="78" y="52"/>
                  <a:pt x="97" y="52"/>
                </a:cubicBezTo>
                <a:cubicBezTo>
                  <a:pt x="114" y="52"/>
                  <a:pt x="127" y="38"/>
                  <a:pt x="126" y="21"/>
                </a:cubicBezTo>
                <a:cubicBezTo>
                  <a:pt x="126" y="19"/>
                  <a:pt x="125" y="16"/>
                  <a:pt x="125" y="13"/>
                </a:cubicBezTo>
                <a:cubicBezTo>
                  <a:pt x="125" y="13"/>
                  <a:pt x="125" y="12"/>
                  <a:pt x="125" y="12"/>
                </a:cubicBezTo>
                <a:cubicBezTo>
                  <a:pt x="130" y="8"/>
                  <a:pt x="135" y="4"/>
                  <a:pt x="140" y="0"/>
                </a:cubicBezTo>
                <a:cubicBezTo>
                  <a:pt x="142" y="3"/>
                  <a:pt x="143" y="6"/>
                  <a:pt x="144" y="9"/>
                </a:cubicBezTo>
                <a:cubicBezTo>
                  <a:pt x="145" y="12"/>
                  <a:pt x="145" y="15"/>
                  <a:pt x="146" y="18"/>
                </a:cubicBezTo>
                <a:cubicBezTo>
                  <a:pt x="146" y="19"/>
                  <a:pt x="146" y="19"/>
                  <a:pt x="146" y="19"/>
                </a:cubicBezTo>
                <a:cubicBezTo>
                  <a:pt x="146" y="21"/>
                  <a:pt x="146" y="24"/>
                  <a:pt x="146" y="26"/>
                </a:cubicBezTo>
                <a:cubicBezTo>
                  <a:pt x="146" y="27"/>
                  <a:pt x="145" y="29"/>
                  <a:pt x="145" y="30"/>
                </a:cubicBezTo>
                <a:cubicBezTo>
                  <a:pt x="143" y="43"/>
                  <a:pt x="137" y="53"/>
                  <a:pt x="128" y="61"/>
                </a:cubicBezTo>
                <a:cubicBezTo>
                  <a:pt x="119" y="68"/>
                  <a:pt x="108" y="72"/>
                  <a:pt x="96" y="71"/>
                </a:cubicBezTo>
                <a:cubicBezTo>
                  <a:pt x="78" y="71"/>
                  <a:pt x="59" y="71"/>
                  <a:pt x="41" y="71"/>
                </a:cubicBezTo>
                <a:cubicBezTo>
                  <a:pt x="40" y="71"/>
                  <a:pt x="40" y="71"/>
                  <a:pt x="39" y="71"/>
                </a:cubicBezTo>
                <a:cubicBezTo>
                  <a:pt x="39" y="78"/>
                  <a:pt x="39" y="84"/>
                  <a:pt x="39" y="9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91174" name="Freeform 117"/>
          <p:cNvSpPr>
            <a:spLocks noEditPoints="1"/>
          </p:cNvSpPr>
          <p:nvPr/>
        </p:nvSpPr>
        <p:spPr bwMode="auto">
          <a:xfrm>
            <a:off x="9139238" y="328613"/>
            <a:ext cx="1069975" cy="1071562"/>
          </a:xfrm>
          <a:custGeom>
            <a:avLst/>
            <a:gdLst>
              <a:gd name="T0" fmla="*/ 1063442 w 450"/>
              <a:gd name="T1" fmla="*/ 532910 h 450"/>
              <a:gd name="T2" fmla="*/ 1061063 w 450"/>
              <a:gd name="T3" fmla="*/ 442506 h 450"/>
              <a:gd name="T4" fmla="*/ 1034893 w 450"/>
              <a:gd name="T5" fmla="*/ 390167 h 450"/>
              <a:gd name="T6" fmla="*/ 1011102 w 450"/>
              <a:gd name="T7" fmla="*/ 311657 h 450"/>
              <a:gd name="T8" fmla="*/ 968279 w 450"/>
              <a:gd name="T9" fmla="*/ 237906 h 450"/>
              <a:gd name="T10" fmla="*/ 923077 w 450"/>
              <a:gd name="T11" fmla="*/ 166535 h 450"/>
              <a:gd name="T12" fmla="*/ 835052 w 450"/>
              <a:gd name="T13" fmla="*/ 92784 h 450"/>
              <a:gd name="T14" fmla="*/ 787470 w 450"/>
              <a:gd name="T15" fmla="*/ 64235 h 450"/>
              <a:gd name="T16" fmla="*/ 711340 w 450"/>
              <a:gd name="T17" fmla="*/ 30928 h 450"/>
              <a:gd name="T18" fmla="*/ 599524 w 450"/>
              <a:gd name="T19" fmla="*/ 4758 h 450"/>
              <a:gd name="T20" fmla="*/ 542427 w 450"/>
              <a:gd name="T21" fmla="*/ 4758 h 450"/>
              <a:gd name="T22" fmla="*/ 459159 w 450"/>
              <a:gd name="T23" fmla="*/ 14274 h 450"/>
              <a:gd name="T24" fmla="*/ 432990 w 450"/>
              <a:gd name="T25" fmla="*/ 19033 h 450"/>
              <a:gd name="T26" fmla="*/ 352102 w 450"/>
              <a:gd name="T27" fmla="*/ 33307 h 450"/>
              <a:gd name="T28" fmla="*/ 297383 w 450"/>
              <a:gd name="T29" fmla="*/ 57098 h 450"/>
              <a:gd name="T30" fmla="*/ 273592 w 450"/>
              <a:gd name="T31" fmla="*/ 121332 h 450"/>
              <a:gd name="T32" fmla="*/ 209358 w 450"/>
              <a:gd name="T33" fmla="*/ 121332 h 450"/>
              <a:gd name="T34" fmla="*/ 164155 w 450"/>
              <a:gd name="T35" fmla="*/ 154639 h 450"/>
              <a:gd name="T36" fmla="*/ 157018 w 450"/>
              <a:gd name="T37" fmla="*/ 218874 h 450"/>
              <a:gd name="T38" fmla="*/ 95163 w 450"/>
              <a:gd name="T39" fmla="*/ 237906 h 450"/>
              <a:gd name="T40" fmla="*/ 66614 w 450"/>
              <a:gd name="T41" fmla="*/ 285488 h 450"/>
              <a:gd name="T42" fmla="*/ 76130 w 450"/>
              <a:gd name="T43" fmla="*/ 349722 h 450"/>
              <a:gd name="T44" fmla="*/ 28549 w 450"/>
              <a:gd name="T45" fmla="*/ 390167 h 450"/>
              <a:gd name="T46" fmla="*/ 7137 w 450"/>
              <a:gd name="T47" fmla="*/ 440127 h 450"/>
              <a:gd name="T48" fmla="*/ 40444 w 450"/>
              <a:gd name="T49" fmla="*/ 497224 h 450"/>
              <a:gd name="T50" fmla="*/ 4758 w 450"/>
              <a:gd name="T51" fmla="*/ 549564 h 450"/>
              <a:gd name="T52" fmla="*/ 9516 w 450"/>
              <a:gd name="T53" fmla="*/ 604282 h 450"/>
              <a:gd name="T54" fmla="*/ 16653 w 450"/>
              <a:gd name="T55" fmla="*/ 630452 h 450"/>
              <a:gd name="T56" fmla="*/ 35686 w 450"/>
              <a:gd name="T57" fmla="*/ 711340 h 450"/>
              <a:gd name="T58" fmla="*/ 54718 w 450"/>
              <a:gd name="T59" fmla="*/ 761301 h 450"/>
              <a:gd name="T60" fmla="*/ 97542 w 450"/>
              <a:gd name="T61" fmla="*/ 827914 h 450"/>
              <a:gd name="T62" fmla="*/ 114195 w 450"/>
              <a:gd name="T63" fmla="*/ 851705 h 450"/>
              <a:gd name="T64" fmla="*/ 166535 w 450"/>
              <a:gd name="T65" fmla="*/ 913561 h 450"/>
              <a:gd name="T66" fmla="*/ 226011 w 450"/>
              <a:gd name="T67" fmla="*/ 970658 h 450"/>
              <a:gd name="T68" fmla="*/ 275971 w 450"/>
              <a:gd name="T69" fmla="*/ 994449 h 450"/>
              <a:gd name="T70" fmla="*/ 349722 w 450"/>
              <a:gd name="T71" fmla="*/ 1030135 h 450"/>
              <a:gd name="T72" fmla="*/ 428232 w 450"/>
              <a:gd name="T73" fmla="*/ 1046788 h 450"/>
              <a:gd name="T74" fmla="*/ 454401 w 450"/>
              <a:gd name="T75" fmla="*/ 1053926 h 450"/>
              <a:gd name="T76" fmla="*/ 537669 w 450"/>
              <a:gd name="T77" fmla="*/ 1068200 h 450"/>
              <a:gd name="T78" fmla="*/ 594766 w 450"/>
              <a:gd name="T79" fmla="*/ 1065821 h 450"/>
              <a:gd name="T80" fmla="*/ 701824 w 450"/>
              <a:gd name="T81" fmla="*/ 1042030 h 450"/>
              <a:gd name="T82" fmla="*/ 773196 w 450"/>
              <a:gd name="T83" fmla="*/ 1001586 h 450"/>
              <a:gd name="T84" fmla="*/ 842189 w 450"/>
              <a:gd name="T85" fmla="*/ 913561 h 450"/>
              <a:gd name="T86" fmla="*/ 906424 w 450"/>
              <a:gd name="T87" fmla="*/ 904044 h 450"/>
              <a:gd name="T88" fmla="*/ 965900 w 450"/>
              <a:gd name="T89" fmla="*/ 844568 h 450"/>
              <a:gd name="T90" fmla="*/ 1011102 w 450"/>
              <a:gd name="T91" fmla="*/ 773196 h 450"/>
              <a:gd name="T92" fmla="*/ 1025377 w 450"/>
              <a:gd name="T93" fmla="*/ 723236 h 450"/>
              <a:gd name="T94" fmla="*/ 1001586 w 450"/>
              <a:gd name="T95" fmla="*/ 656622 h 450"/>
              <a:gd name="T96" fmla="*/ 1058684 w 450"/>
              <a:gd name="T97" fmla="*/ 611420 h 450"/>
              <a:gd name="T98" fmla="*/ 758922 w 450"/>
              <a:gd name="T99" fmla="*/ 230769 h 450"/>
              <a:gd name="T100" fmla="*/ 323553 w 450"/>
              <a:gd name="T101" fmla="*/ 666138 h 450"/>
              <a:gd name="T102" fmla="*/ 523394 w 450"/>
              <a:gd name="T103" fmla="*/ 254560 h 450"/>
              <a:gd name="T104" fmla="*/ 157018 w 450"/>
              <a:gd name="T105" fmla="*/ 492466 h 450"/>
              <a:gd name="T106" fmla="*/ 309278 w 450"/>
              <a:gd name="T107" fmla="*/ 839810 h 450"/>
              <a:gd name="T108" fmla="*/ 899286 w 450"/>
              <a:gd name="T109" fmla="*/ 727994 h 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50" h="450">
                <a:moveTo>
                  <a:pt x="447" y="234"/>
                </a:moveTo>
                <a:cubicBezTo>
                  <a:pt x="448" y="234"/>
                  <a:pt x="449" y="234"/>
                  <a:pt x="449" y="234"/>
                </a:cubicBezTo>
                <a:cubicBezTo>
                  <a:pt x="450" y="230"/>
                  <a:pt x="449" y="226"/>
                  <a:pt x="449" y="222"/>
                </a:cubicBezTo>
                <a:cubicBezTo>
                  <a:pt x="449" y="222"/>
                  <a:pt x="448" y="223"/>
                  <a:pt x="447" y="223"/>
                </a:cubicBezTo>
                <a:cubicBezTo>
                  <a:pt x="447" y="223"/>
                  <a:pt x="447" y="224"/>
                  <a:pt x="447" y="224"/>
                </a:cubicBezTo>
                <a:cubicBezTo>
                  <a:pt x="447" y="224"/>
                  <a:pt x="447" y="224"/>
                  <a:pt x="447" y="224"/>
                </a:cubicBezTo>
                <a:cubicBezTo>
                  <a:pt x="435" y="224"/>
                  <a:pt x="427" y="219"/>
                  <a:pt x="427" y="213"/>
                </a:cubicBezTo>
                <a:cubicBezTo>
                  <a:pt x="426" y="206"/>
                  <a:pt x="435" y="200"/>
                  <a:pt x="443" y="199"/>
                </a:cubicBezTo>
                <a:cubicBezTo>
                  <a:pt x="443" y="199"/>
                  <a:pt x="443" y="199"/>
                  <a:pt x="443" y="199"/>
                </a:cubicBezTo>
                <a:cubicBezTo>
                  <a:pt x="444" y="198"/>
                  <a:pt x="444" y="198"/>
                  <a:pt x="444" y="198"/>
                </a:cubicBezTo>
                <a:cubicBezTo>
                  <a:pt x="445" y="198"/>
                  <a:pt x="446" y="198"/>
                  <a:pt x="447" y="198"/>
                </a:cubicBezTo>
                <a:cubicBezTo>
                  <a:pt x="447" y="194"/>
                  <a:pt x="446" y="190"/>
                  <a:pt x="446" y="186"/>
                </a:cubicBezTo>
                <a:cubicBezTo>
                  <a:pt x="445" y="187"/>
                  <a:pt x="444" y="187"/>
                  <a:pt x="443" y="187"/>
                </a:cubicBezTo>
                <a:cubicBezTo>
                  <a:pt x="442" y="188"/>
                  <a:pt x="442" y="188"/>
                  <a:pt x="442" y="188"/>
                </a:cubicBezTo>
                <a:cubicBezTo>
                  <a:pt x="442" y="188"/>
                  <a:pt x="442" y="188"/>
                  <a:pt x="442" y="188"/>
                </a:cubicBezTo>
                <a:cubicBezTo>
                  <a:pt x="432" y="188"/>
                  <a:pt x="422" y="187"/>
                  <a:pt x="421" y="180"/>
                </a:cubicBezTo>
                <a:cubicBezTo>
                  <a:pt x="419" y="174"/>
                  <a:pt x="427" y="166"/>
                  <a:pt x="435" y="164"/>
                </a:cubicBezTo>
                <a:cubicBezTo>
                  <a:pt x="435" y="164"/>
                  <a:pt x="435" y="164"/>
                  <a:pt x="435" y="164"/>
                </a:cubicBezTo>
                <a:cubicBezTo>
                  <a:pt x="436" y="164"/>
                  <a:pt x="436" y="164"/>
                  <a:pt x="436" y="164"/>
                </a:cubicBezTo>
                <a:cubicBezTo>
                  <a:pt x="438" y="163"/>
                  <a:pt x="439" y="163"/>
                  <a:pt x="440" y="163"/>
                </a:cubicBezTo>
                <a:cubicBezTo>
                  <a:pt x="439" y="159"/>
                  <a:pt x="438" y="155"/>
                  <a:pt x="437" y="151"/>
                </a:cubicBezTo>
                <a:cubicBezTo>
                  <a:pt x="436" y="152"/>
                  <a:pt x="435" y="152"/>
                  <a:pt x="434" y="153"/>
                </a:cubicBezTo>
                <a:cubicBezTo>
                  <a:pt x="424" y="157"/>
                  <a:pt x="414" y="155"/>
                  <a:pt x="412" y="149"/>
                </a:cubicBezTo>
                <a:cubicBezTo>
                  <a:pt x="409" y="143"/>
                  <a:pt x="415" y="135"/>
                  <a:pt x="425" y="131"/>
                </a:cubicBezTo>
                <a:cubicBezTo>
                  <a:pt x="426" y="130"/>
                  <a:pt x="427" y="130"/>
                  <a:pt x="428" y="130"/>
                </a:cubicBezTo>
                <a:cubicBezTo>
                  <a:pt x="426" y="126"/>
                  <a:pt x="424" y="122"/>
                  <a:pt x="423" y="119"/>
                </a:cubicBezTo>
                <a:cubicBezTo>
                  <a:pt x="422" y="119"/>
                  <a:pt x="421" y="120"/>
                  <a:pt x="420" y="120"/>
                </a:cubicBezTo>
                <a:cubicBezTo>
                  <a:pt x="419" y="121"/>
                  <a:pt x="419" y="121"/>
                  <a:pt x="419" y="121"/>
                </a:cubicBezTo>
                <a:cubicBezTo>
                  <a:pt x="410" y="126"/>
                  <a:pt x="401" y="126"/>
                  <a:pt x="397" y="121"/>
                </a:cubicBezTo>
                <a:cubicBezTo>
                  <a:pt x="394" y="115"/>
                  <a:pt x="398" y="106"/>
                  <a:pt x="407" y="100"/>
                </a:cubicBezTo>
                <a:cubicBezTo>
                  <a:pt x="408" y="99"/>
                  <a:pt x="409" y="99"/>
                  <a:pt x="410" y="98"/>
                </a:cubicBezTo>
                <a:cubicBezTo>
                  <a:pt x="408" y="95"/>
                  <a:pt x="406" y="92"/>
                  <a:pt x="403" y="89"/>
                </a:cubicBezTo>
                <a:cubicBezTo>
                  <a:pt x="402" y="89"/>
                  <a:pt x="402" y="90"/>
                  <a:pt x="401" y="91"/>
                </a:cubicBezTo>
                <a:cubicBezTo>
                  <a:pt x="393" y="98"/>
                  <a:pt x="383" y="99"/>
                  <a:pt x="379" y="94"/>
                </a:cubicBezTo>
                <a:cubicBezTo>
                  <a:pt x="374" y="89"/>
                  <a:pt x="377" y="80"/>
                  <a:pt x="385" y="73"/>
                </a:cubicBezTo>
                <a:cubicBezTo>
                  <a:pt x="386" y="72"/>
                  <a:pt x="387" y="71"/>
                  <a:pt x="388" y="70"/>
                </a:cubicBezTo>
                <a:cubicBezTo>
                  <a:pt x="385" y="68"/>
                  <a:pt x="382" y="65"/>
                  <a:pt x="379" y="62"/>
                </a:cubicBezTo>
                <a:cubicBezTo>
                  <a:pt x="379" y="63"/>
                  <a:pt x="378" y="63"/>
                  <a:pt x="377" y="64"/>
                </a:cubicBezTo>
                <a:cubicBezTo>
                  <a:pt x="371" y="72"/>
                  <a:pt x="361" y="76"/>
                  <a:pt x="356" y="71"/>
                </a:cubicBezTo>
                <a:cubicBezTo>
                  <a:pt x="351" y="67"/>
                  <a:pt x="352" y="57"/>
                  <a:pt x="359" y="49"/>
                </a:cubicBezTo>
                <a:cubicBezTo>
                  <a:pt x="360" y="48"/>
                  <a:pt x="361" y="47"/>
                  <a:pt x="361" y="46"/>
                </a:cubicBezTo>
                <a:cubicBezTo>
                  <a:pt x="358" y="44"/>
                  <a:pt x="355" y="42"/>
                  <a:pt x="351" y="39"/>
                </a:cubicBezTo>
                <a:cubicBezTo>
                  <a:pt x="351" y="40"/>
                  <a:pt x="351" y="41"/>
                  <a:pt x="350" y="42"/>
                </a:cubicBezTo>
                <a:cubicBezTo>
                  <a:pt x="345" y="51"/>
                  <a:pt x="336" y="56"/>
                  <a:pt x="330" y="52"/>
                </a:cubicBezTo>
                <a:cubicBezTo>
                  <a:pt x="324" y="49"/>
                  <a:pt x="324" y="39"/>
                  <a:pt x="329" y="30"/>
                </a:cubicBezTo>
                <a:cubicBezTo>
                  <a:pt x="329" y="30"/>
                  <a:pt x="329" y="30"/>
                  <a:pt x="329" y="30"/>
                </a:cubicBezTo>
                <a:cubicBezTo>
                  <a:pt x="330" y="30"/>
                  <a:pt x="330" y="30"/>
                  <a:pt x="330" y="30"/>
                </a:cubicBezTo>
                <a:cubicBezTo>
                  <a:pt x="330" y="29"/>
                  <a:pt x="331" y="28"/>
                  <a:pt x="331" y="27"/>
                </a:cubicBezTo>
                <a:cubicBezTo>
                  <a:pt x="328" y="25"/>
                  <a:pt x="324" y="23"/>
                  <a:pt x="321" y="22"/>
                </a:cubicBezTo>
                <a:cubicBezTo>
                  <a:pt x="320" y="22"/>
                  <a:pt x="320" y="23"/>
                  <a:pt x="320" y="24"/>
                </a:cubicBezTo>
                <a:cubicBezTo>
                  <a:pt x="316" y="34"/>
                  <a:pt x="307" y="40"/>
                  <a:pt x="301" y="37"/>
                </a:cubicBezTo>
                <a:cubicBezTo>
                  <a:pt x="295" y="35"/>
                  <a:pt x="294" y="26"/>
                  <a:pt x="297" y="16"/>
                </a:cubicBezTo>
                <a:cubicBezTo>
                  <a:pt x="297" y="16"/>
                  <a:pt x="297" y="15"/>
                  <a:pt x="297" y="15"/>
                </a:cubicBezTo>
                <a:cubicBezTo>
                  <a:pt x="298" y="14"/>
                  <a:pt x="298" y="13"/>
                  <a:pt x="299" y="13"/>
                </a:cubicBezTo>
                <a:cubicBezTo>
                  <a:pt x="295" y="11"/>
                  <a:pt x="291" y="10"/>
                  <a:pt x="287" y="9"/>
                </a:cubicBezTo>
                <a:cubicBezTo>
                  <a:pt x="287" y="10"/>
                  <a:pt x="287" y="10"/>
                  <a:pt x="287" y="11"/>
                </a:cubicBezTo>
                <a:cubicBezTo>
                  <a:pt x="284" y="21"/>
                  <a:pt x="277" y="29"/>
                  <a:pt x="271" y="27"/>
                </a:cubicBezTo>
                <a:cubicBezTo>
                  <a:pt x="264" y="26"/>
                  <a:pt x="261" y="16"/>
                  <a:pt x="263" y="6"/>
                </a:cubicBezTo>
                <a:cubicBezTo>
                  <a:pt x="264" y="5"/>
                  <a:pt x="264" y="4"/>
                  <a:pt x="264" y="4"/>
                </a:cubicBezTo>
                <a:cubicBezTo>
                  <a:pt x="260" y="3"/>
                  <a:pt x="256" y="2"/>
                  <a:pt x="252" y="2"/>
                </a:cubicBezTo>
                <a:cubicBezTo>
                  <a:pt x="252" y="2"/>
                  <a:pt x="252" y="3"/>
                  <a:pt x="252" y="4"/>
                </a:cubicBezTo>
                <a:cubicBezTo>
                  <a:pt x="252" y="4"/>
                  <a:pt x="252" y="5"/>
                  <a:pt x="252" y="6"/>
                </a:cubicBezTo>
                <a:cubicBezTo>
                  <a:pt x="251" y="15"/>
                  <a:pt x="245" y="22"/>
                  <a:pt x="239" y="22"/>
                </a:cubicBezTo>
                <a:cubicBezTo>
                  <a:pt x="233" y="21"/>
                  <a:pt x="228" y="13"/>
                  <a:pt x="228" y="4"/>
                </a:cubicBezTo>
                <a:cubicBezTo>
                  <a:pt x="228" y="4"/>
                  <a:pt x="228" y="4"/>
                  <a:pt x="228" y="4"/>
                </a:cubicBezTo>
                <a:cubicBezTo>
                  <a:pt x="228" y="4"/>
                  <a:pt x="228" y="2"/>
                  <a:pt x="228" y="2"/>
                </a:cubicBezTo>
                <a:cubicBezTo>
                  <a:pt x="228" y="1"/>
                  <a:pt x="228" y="1"/>
                  <a:pt x="228" y="0"/>
                </a:cubicBezTo>
                <a:cubicBezTo>
                  <a:pt x="225" y="0"/>
                  <a:pt x="221" y="0"/>
                  <a:pt x="217" y="0"/>
                </a:cubicBezTo>
                <a:cubicBezTo>
                  <a:pt x="217" y="1"/>
                  <a:pt x="217" y="1"/>
                  <a:pt x="217" y="1"/>
                </a:cubicBezTo>
                <a:cubicBezTo>
                  <a:pt x="217" y="2"/>
                  <a:pt x="217" y="3"/>
                  <a:pt x="217" y="4"/>
                </a:cubicBezTo>
                <a:cubicBezTo>
                  <a:pt x="217" y="14"/>
                  <a:pt x="213" y="21"/>
                  <a:pt x="207" y="22"/>
                </a:cubicBezTo>
                <a:cubicBezTo>
                  <a:pt x="201" y="22"/>
                  <a:pt x="195" y="16"/>
                  <a:pt x="193" y="6"/>
                </a:cubicBezTo>
                <a:cubicBezTo>
                  <a:pt x="193" y="6"/>
                  <a:pt x="193" y="6"/>
                  <a:pt x="193" y="6"/>
                </a:cubicBezTo>
                <a:cubicBezTo>
                  <a:pt x="193" y="6"/>
                  <a:pt x="193" y="4"/>
                  <a:pt x="193" y="4"/>
                </a:cubicBezTo>
                <a:cubicBezTo>
                  <a:pt x="193" y="3"/>
                  <a:pt x="193" y="3"/>
                  <a:pt x="193" y="2"/>
                </a:cubicBezTo>
                <a:cubicBezTo>
                  <a:pt x="189" y="3"/>
                  <a:pt x="185" y="3"/>
                  <a:pt x="182" y="4"/>
                </a:cubicBezTo>
                <a:cubicBezTo>
                  <a:pt x="182" y="5"/>
                  <a:pt x="182" y="5"/>
                  <a:pt x="182" y="5"/>
                </a:cubicBezTo>
                <a:cubicBezTo>
                  <a:pt x="182" y="6"/>
                  <a:pt x="182" y="7"/>
                  <a:pt x="182" y="8"/>
                </a:cubicBezTo>
                <a:cubicBezTo>
                  <a:pt x="184" y="17"/>
                  <a:pt x="181" y="25"/>
                  <a:pt x="175" y="27"/>
                </a:cubicBezTo>
                <a:cubicBezTo>
                  <a:pt x="169" y="28"/>
                  <a:pt x="163" y="22"/>
                  <a:pt x="159" y="14"/>
                </a:cubicBezTo>
                <a:cubicBezTo>
                  <a:pt x="159" y="13"/>
                  <a:pt x="159" y="12"/>
                  <a:pt x="158" y="11"/>
                </a:cubicBezTo>
                <a:cubicBezTo>
                  <a:pt x="158" y="10"/>
                  <a:pt x="158" y="10"/>
                  <a:pt x="158" y="10"/>
                </a:cubicBezTo>
                <a:cubicBezTo>
                  <a:pt x="155" y="11"/>
                  <a:pt x="151" y="12"/>
                  <a:pt x="147" y="14"/>
                </a:cubicBezTo>
                <a:cubicBezTo>
                  <a:pt x="148" y="14"/>
                  <a:pt x="148" y="14"/>
                  <a:pt x="148" y="14"/>
                </a:cubicBezTo>
                <a:cubicBezTo>
                  <a:pt x="148" y="14"/>
                  <a:pt x="148" y="15"/>
                  <a:pt x="148" y="16"/>
                </a:cubicBezTo>
                <a:cubicBezTo>
                  <a:pt x="148" y="16"/>
                  <a:pt x="149" y="17"/>
                  <a:pt x="149" y="17"/>
                </a:cubicBezTo>
                <a:cubicBezTo>
                  <a:pt x="151" y="26"/>
                  <a:pt x="149" y="34"/>
                  <a:pt x="144" y="37"/>
                </a:cubicBezTo>
                <a:cubicBezTo>
                  <a:pt x="139" y="39"/>
                  <a:pt x="132" y="35"/>
                  <a:pt x="127" y="27"/>
                </a:cubicBezTo>
                <a:cubicBezTo>
                  <a:pt x="127" y="27"/>
                  <a:pt x="127" y="27"/>
                  <a:pt x="127" y="27"/>
                </a:cubicBezTo>
                <a:cubicBezTo>
                  <a:pt x="127" y="25"/>
                  <a:pt x="126" y="25"/>
                  <a:pt x="125" y="24"/>
                </a:cubicBezTo>
                <a:cubicBezTo>
                  <a:pt x="125" y="23"/>
                  <a:pt x="125" y="23"/>
                  <a:pt x="125" y="23"/>
                </a:cubicBezTo>
                <a:cubicBezTo>
                  <a:pt x="122" y="25"/>
                  <a:pt x="119" y="27"/>
                  <a:pt x="115" y="28"/>
                </a:cubicBezTo>
                <a:cubicBezTo>
                  <a:pt x="116" y="29"/>
                  <a:pt x="116" y="30"/>
                  <a:pt x="116" y="30"/>
                </a:cubicBezTo>
                <a:cubicBezTo>
                  <a:pt x="116" y="30"/>
                  <a:pt x="116" y="30"/>
                  <a:pt x="116" y="30"/>
                </a:cubicBezTo>
                <a:cubicBezTo>
                  <a:pt x="117" y="31"/>
                  <a:pt x="117" y="31"/>
                  <a:pt x="117" y="32"/>
                </a:cubicBezTo>
                <a:cubicBezTo>
                  <a:pt x="121" y="40"/>
                  <a:pt x="120" y="48"/>
                  <a:pt x="115" y="51"/>
                </a:cubicBezTo>
                <a:cubicBezTo>
                  <a:pt x="110" y="54"/>
                  <a:pt x="103" y="51"/>
                  <a:pt x="97" y="44"/>
                </a:cubicBezTo>
                <a:cubicBezTo>
                  <a:pt x="97" y="43"/>
                  <a:pt x="96" y="42"/>
                  <a:pt x="95" y="41"/>
                </a:cubicBezTo>
                <a:cubicBezTo>
                  <a:pt x="92" y="43"/>
                  <a:pt x="89" y="45"/>
                  <a:pt x="86" y="48"/>
                </a:cubicBezTo>
                <a:cubicBezTo>
                  <a:pt x="86" y="48"/>
                  <a:pt x="87" y="49"/>
                  <a:pt x="87" y="49"/>
                </a:cubicBezTo>
                <a:cubicBezTo>
                  <a:pt x="87" y="49"/>
                  <a:pt x="87" y="49"/>
                  <a:pt x="87" y="49"/>
                </a:cubicBezTo>
                <a:cubicBezTo>
                  <a:pt x="88" y="50"/>
                  <a:pt x="88" y="51"/>
                  <a:pt x="88" y="51"/>
                </a:cubicBezTo>
                <a:cubicBezTo>
                  <a:pt x="88" y="51"/>
                  <a:pt x="88" y="51"/>
                  <a:pt x="88" y="51"/>
                </a:cubicBezTo>
                <a:cubicBezTo>
                  <a:pt x="93" y="58"/>
                  <a:pt x="93" y="66"/>
                  <a:pt x="89" y="70"/>
                </a:cubicBezTo>
                <a:cubicBezTo>
                  <a:pt x="85" y="73"/>
                  <a:pt x="77" y="72"/>
                  <a:pt x="71" y="66"/>
                </a:cubicBezTo>
                <a:cubicBezTo>
                  <a:pt x="71" y="66"/>
                  <a:pt x="71" y="66"/>
                  <a:pt x="71" y="66"/>
                </a:cubicBezTo>
                <a:cubicBezTo>
                  <a:pt x="70" y="66"/>
                  <a:pt x="70" y="65"/>
                  <a:pt x="69" y="65"/>
                </a:cubicBezTo>
                <a:cubicBezTo>
                  <a:pt x="69" y="65"/>
                  <a:pt x="69" y="65"/>
                  <a:pt x="69" y="65"/>
                </a:cubicBezTo>
                <a:cubicBezTo>
                  <a:pt x="69" y="64"/>
                  <a:pt x="68" y="64"/>
                  <a:pt x="68" y="63"/>
                </a:cubicBezTo>
                <a:cubicBezTo>
                  <a:pt x="65" y="66"/>
                  <a:pt x="63" y="69"/>
                  <a:pt x="60" y="71"/>
                </a:cubicBezTo>
                <a:cubicBezTo>
                  <a:pt x="61" y="72"/>
                  <a:pt x="61" y="72"/>
                  <a:pt x="61" y="73"/>
                </a:cubicBezTo>
                <a:cubicBezTo>
                  <a:pt x="62" y="73"/>
                  <a:pt x="62" y="73"/>
                  <a:pt x="62" y="73"/>
                </a:cubicBezTo>
                <a:cubicBezTo>
                  <a:pt x="62" y="73"/>
                  <a:pt x="62" y="74"/>
                  <a:pt x="63" y="74"/>
                </a:cubicBezTo>
                <a:cubicBezTo>
                  <a:pt x="68" y="81"/>
                  <a:pt x="70" y="88"/>
                  <a:pt x="66" y="92"/>
                </a:cubicBezTo>
                <a:cubicBezTo>
                  <a:pt x="63" y="96"/>
                  <a:pt x="55" y="96"/>
                  <a:pt x="48" y="92"/>
                </a:cubicBezTo>
                <a:cubicBezTo>
                  <a:pt x="48" y="92"/>
                  <a:pt x="47" y="91"/>
                  <a:pt x="46" y="91"/>
                </a:cubicBezTo>
                <a:cubicBezTo>
                  <a:pt x="46" y="91"/>
                  <a:pt x="46" y="91"/>
                  <a:pt x="46" y="91"/>
                </a:cubicBezTo>
                <a:cubicBezTo>
                  <a:pt x="46" y="91"/>
                  <a:pt x="45" y="90"/>
                  <a:pt x="45" y="90"/>
                </a:cubicBezTo>
                <a:cubicBezTo>
                  <a:pt x="42" y="93"/>
                  <a:pt x="40" y="96"/>
                  <a:pt x="38" y="99"/>
                </a:cubicBezTo>
                <a:cubicBezTo>
                  <a:pt x="39" y="99"/>
                  <a:pt x="39" y="100"/>
                  <a:pt x="40" y="100"/>
                </a:cubicBezTo>
                <a:cubicBezTo>
                  <a:pt x="40" y="100"/>
                  <a:pt x="40" y="100"/>
                  <a:pt x="40" y="100"/>
                </a:cubicBezTo>
                <a:cubicBezTo>
                  <a:pt x="40" y="101"/>
                  <a:pt x="41" y="101"/>
                  <a:pt x="41" y="101"/>
                </a:cubicBezTo>
                <a:cubicBezTo>
                  <a:pt x="47" y="107"/>
                  <a:pt x="50" y="114"/>
                  <a:pt x="47" y="118"/>
                </a:cubicBezTo>
                <a:cubicBezTo>
                  <a:pt x="44" y="123"/>
                  <a:pt x="37" y="124"/>
                  <a:pt x="30" y="121"/>
                </a:cubicBezTo>
                <a:cubicBezTo>
                  <a:pt x="30" y="121"/>
                  <a:pt x="30" y="121"/>
                  <a:pt x="30" y="121"/>
                </a:cubicBezTo>
                <a:cubicBezTo>
                  <a:pt x="29" y="121"/>
                  <a:pt x="28" y="121"/>
                  <a:pt x="28" y="120"/>
                </a:cubicBezTo>
                <a:cubicBezTo>
                  <a:pt x="28" y="120"/>
                  <a:pt x="28" y="120"/>
                  <a:pt x="28" y="120"/>
                </a:cubicBezTo>
                <a:cubicBezTo>
                  <a:pt x="27" y="120"/>
                  <a:pt x="27" y="120"/>
                  <a:pt x="26" y="119"/>
                </a:cubicBezTo>
                <a:cubicBezTo>
                  <a:pt x="24" y="123"/>
                  <a:pt x="22" y="126"/>
                  <a:pt x="21" y="129"/>
                </a:cubicBezTo>
                <a:cubicBezTo>
                  <a:pt x="22" y="130"/>
                  <a:pt x="24" y="131"/>
                  <a:pt x="24" y="131"/>
                </a:cubicBezTo>
                <a:cubicBezTo>
                  <a:pt x="24" y="131"/>
                  <a:pt x="24" y="131"/>
                  <a:pt x="24" y="131"/>
                </a:cubicBezTo>
                <a:cubicBezTo>
                  <a:pt x="32" y="136"/>
                  <a:pt x="34" y="142"/>
                  <a:pt x="32" y="147"/>
                </a:cubicBezTo>
                <a:cubicBezTo>
                  <a:pt x="30" y="152"/>
                  <a:pt x="24" y="154"/>
                  <a:pt x="16" y="152"/>
                </a:cubicBezTo>
                <a:cubicBezTo>
                  <a:pt x="15" y="152"/>
                  <a:pt x="15" y="152"/>
                  <a:pt x="14" y="152"/>
                </a:cubicBezTo>
                <a:cubicBezTo>
                  <a:pt x="14" y="152"/>
                  <a:pt x="14" y="152"/>
                  <a:pt x="14" y="152"/>
                </a:cubicBezTo>
                <a:cubicBezTo>
                  <a:pt x="13" y="152"/>
                  <a:pt x="13" y="152"/>
                  <a:pt x="12" y="151"/>
                </a:cubicBezTo>
                <a:cubicBezTo>
                  <a:pt x="11" y="155"/>
                  <a:pt x="10" y="159"/>
                  <a:pt x="9" y="162"/>
                </a:cubicBezTo>
                <a:cubicBezTo>
                  <a:pt x="10" y="163"/>
                  <a:pt x="11" y="163"/>
                  <a:pt x="12" y="164"/>
                </a:cubicBezTo>
                <a:cubicBezTo>
                  <a:pt x="19" y="167"/>
                  <a:pt x="23" y="172"/>
                  <a:pt x="22" y="177"/>
                </a:cubicBezTo>
                <a:cubicBezTo>
                  <a:pt x="21" y="182"/>
                  <a:pt x="15" y="185"/>
                  <a:pt x="7" y="185"/>
                </a:cubicBezTo>
                <a:cubicBezTo>
                  <a:pt x="7" y="185"/>
                  <a:pt x="7" y="185"/>
                  <a:pt x="7" y="185"/>
                </a:cubicBezTo>
                <a:cubicBezTo>
                  <a:pt x="7" y="185"/>
                  <a:pt x="6" y="185"/>
                  <a:pt x="5" y="185"/>
                </a:cubicBezTo>
                <a:cubicBezTo>
                  <a:pt x="5" y="185"/>
                  <a:pt x="5" y="185"/>
                  <a:pt x="5" y="185"/>
                </a:cubicBezTo>
                <a:cubicBezTo>
                  <a:pt x="5" y="185"/>
                  <a:pt x="4" y="185"/>
                  <a:pt x="3" y="185"/>
                </a:cubicBezTo>
                <a:cubicBezTo>
                  <a:pt x="3" y="189"/>
                  <a:pt x="2" y="193"/>
                  <a:pt x="2" y="196"/>
                </a:cubicBezTo>
                <a:cubicBezTo>
                  <a:pt x="2" y="196"/>
                  <a:pt x="3" y="197"/>
                  <a:pt x="4" y="197"/>
                </a:cubicBezTo>
                <a:cubicBezTo>
                  <a:pt x="4" y="197"/>
                  <a:pt x="4" y="197"/>
                  <a:pt x="4" y="197"/>
                </a:cubicBezTo>
                <a:cubicBezTo>
                  <a:pt x="4" y="197"/>
                  <a:pt x="5" y="197"/>
                  <a:pt x="5" y="197"/>
                </a:cubicBezTo>
                <a:cubicBezTo>
                  <a:pt x="5" y="197"/>
                  <a:pt x="5" y="197"/>
                  <a:pt x="5" y="197"/>
                </a:cubicBezTo>
                <a:cubicBezTo>
                  <a:pt x="12" y="199"/>
                  <a:pt x="17" y="204"/>
                  <a:pt x="17" y="209"/>
                </a:cubicBezTo>
                <a:cubicBezTo>
                  <a:pt x="16" y="214"/>
                  <a:pt x="11" y="218"/>
                  <a:pt x="4" y="219"/>
                </a:cubicBezTo>
                <a:cubicBezTo>
                  <a:pt x="3" y="219"/>
                  <a:pt x="3" y="220"/>
                  <a:pt x="2" y="220"/>
                </a:cubicBezTo>
                <a:cubicBezTo>
                  <a:pt x="2" y="220"/>
                  <a:pt x="2" y="220"/>
                  <a:pt x="2" y="220"/>
                </a:cubicBezTo>
                <a:cubicBezTo>
                  <a:pt x="1" y="220"/>
                  <a:pt x="0" y="220"/>
                  <a:pt x="0" y="220"/>
                </a:cubicBezTo>
                <a:cubicBezTo>
                  <a:pt x="0" y="224"/>
                  <a:pt x="0" y="227"/>
                  <a:pt x="0" y="231"/>
                </a:cubicBezTo>
                <a:cubicBezTo>
                  <a:pt x="0" y="231"/>
                  <a:pt x="1" y="231"/>
                  <a:pt x="2" y="231"/>
                </a:cubicBezTo>
                <a:cubicBezTo>
                  <a:pt x="2" y="231"/>
                  <a:pt x="2" y="231"/>
                  <a:pt x="2" y="231"/>
                </a:cubicBezTo>
                <a:cubicBezTo>
                  <a:pt x="3" y="231"/>
                  <a:pt x="3" y="231"/>
                  <a:pt x="4" y="231"/>
                </a:cubicBezTo>
                <a:cubicBezTo>
                  <a:pt x="11" y="233"/>
                  <a:pt x="16" y="236"/>
                  <a:pt x="16" y="241"/>
                </a:cubicBezTo>
                <a:cubicBezTo>
                  <a:pt x="17" y="246"/>
                  <a:pt x="12" y="251"/>
                  <a:pt x="6" y="253"/>
                </a:cubicBezTo>
                <a:cubicBezTo>
                  <a:pt x="6" y="253"/>
                  <a:pt x="6" y="253"/>
                  <a:pt x="6" y="253"/>
                </a:cubicBezTo>
                <a:cubicBezTo>
                  <a:pt x="5" y="254"/>
                  <a:pt x="4" y="254"/>
                  <a:pt x="4" y="254"/>
                </a:cubicBezTo>
                <a:cubicBezTo>
                  <a:pt x="4" y="254"/>
                  <a:pt x="4" y="254"/>
                  <a:pt x="4" y="254"/>
                </a:cubicBezTo>
                <a:cubicBezTo>
                  <a:pt x="3" y="254"/>
                  <a:pt x="2" y="254"/>
                  <a:pt x="2" y="255"/>
                </a:cubicBezTo>
                <a:cubicBezTo>
                  <a:pt x="2" y="258"/>
                  <a:pt x="3" y="262"/>
                  <a:pt x="3" y="266"/>
                </a:cubicBezTo>
                <a:cubicBezTo>
                  <a:pt x="4" y="266"/>
                  <a:pt x="5" y="265"/>
                  <a:pt x="5" y="265"/>
                </a:cubicBezTo>
                <a:cubicBezTo>
                  <a:pt x="6" y="265"/>
                  <a:pt x="6" y="265"/>
                  <a:pt x="6" y="265"/>
                </a:cubicBezTo>
                <a:cubicBezTo>
                  <a:pt x="6" y="265"/>
                  <a:pt x="7" y="265"/>
                  <a:pt x="7" y="265"/>
                </a:cubicBezTo>
                <a:cubicBezTo>
                  <a:pt x="14" y="266"/>
                  <a:pt x="20" y="268"/>
                  <a:pt x="21" y="273"/>
                </a:cubicBezTo>
                <a:cubicBezTo>
                  <a:pt x="22" y="278"/>
                  <a:pt x="19" y="283"/>
                  <a:pt x="13" y="287"/>
                </a:cubicBezTo>
                <a:cubicBezTo>
                  <a:pt x="13" y="287"/>
                  <a:pt x="13" y="287"/>
                  <a:pt x="13" y="287"/>
                </a:cubicBezTo>
                <a:cubicBezTo>
                  <a:pt x="11" y="287"/>
                  <a:pt x="10" y="288"/>
                  <a:pt x="9" y="288"/>
                </a:cubicBezTo>
                <a:cubicBezTo>
                  <a:pt x="10" y="292"/>
                  <a:pt x="11" y="296"/>
                  <a:pt x="12" y="299"/>
                </a:cubicBezTo>
                <a:cubicBezTo>
                  <a:pt x="13" y="299"/>
                  <a:pt x="14" y="299"/>
                  <a:pt x="15" y="299"/>
                </a:cubicBezTo>
                <a:cubicBezTo>
                  <a:pt x="16" y="298"/>
                  <a:pt x="16" y="298"/>
                  <a:pt x="16" y="298"/>
                </a:cubicBezTo>
                <a:cubicBezTo>
                  <a:pt x="23" y="297"/>
                  <a:pt x="29" y="299"/>
                  <a:pt x="31" y="304"/>
                </a:cubicBezTo>
                <a:cubicBezTo>
                  <a:pt x="33" y="308"/>
                  <a:pt x="30" y="314"/>
                  <a:pt x="25" y="319"/>
                </a:cubicBezTo>
                <a:cubicBezTo>
                  <a:pt x="25" y="319"/>
                  <a:pt x="25" y="319"/>
                  <a:pt x="25" y="319"/>
                </a:cubicBezTo>
                <a:cubicBezTo>
                  <a:pt x="24" y="319"/>
                  <a:pt x="24" y="319"/>
                  <a:pt x="23" y="320"/>
                </a:cubicBezTo>
                <a:cubicBezTo>
                  <a:pt x="23" y="320"/>
                  <a:pt x="23" y="320"/>
                  <a:pt x="23" y="320"/>
                </a:cubicBezTo>
                <a:cubicBezTo>
                  <a:pt x="22" y="320"/>
                  <a:pt x="22" y="321"/>
                  <a:pt x="21" y="321"/>
                </a:cubicBezTo>
                <a:cubicBezTo>
                  <a:pt x="23" y="324"/>
                  <a:pt x="25" y="328"/>
                  <a:pt x="26" y="331"/>
                </a:cubicBezTo>
                <a:cubicBezTo>
                  <a:pt x="27" y="331"/>
                  <a:pt x="28" y="330"/>
                  <a:pt x="29" y="330"/>
                </a:cubicBezTo>
                <a:cubicBezTo>
                  <a:pt x="30" y="330"/>
                  <a:pt x="30" y="330"/>
                  <a:pt x="30" y="330"/>
                </a:cubicBezTo>
                <a:cubicBezTo>
                  <a:pt x="37" y="328"/>
                  <a:pt x="43" y="329"/>
                  <a:pt x="45" y="333"/>
                </a:cubicBezTo>
                <a:cubicBezTo>
                  <a:pt x="48" y="337"/>
                  <a:pt x="46" y="343"/>
                  <a:pt x="41" y="348"/>
                </a:cubicBezTo>
                <a:cubicBezTo>
                  <a:pt x="41" y="349"/>
                  <a:pt x="41" y="349"/>
                  <a:pt x="40" y="350"/>
                </a:cubicBezTo>
                <a:cubicBezTo>
                  <a:pt x="40" y="350"/>
                  <a:pt x="40" y="350"/>
                  <a:pt x="40" y="350"/>
                </a:cubicBezTo>
                <a:cubicBezTo>
                  <a:pt x="40" y="350"/>
                  <a:pt x="39" y="351"/>
                  <a:pt x="39" y="351"/>
                </a:cubicBezTo>
                <a:cubicBezTo>
                  <a:pt x="41" y="354"/>
                  <a:pt x="43" y="357"/>
                  <a:pt x="45" y="360"/>
                </a:cubicBezTo>
                <a:cubicBezTo>
                  <a:pt x="46" y="360"/>
                  <a:pt x="47" y="359"/>
                  <a:pt x="47" y="359"/>
                </a:cubicBezTo>
                <a:cubicBezTo>
                  <a:pt x="48" y="358"/>
                  <a:pt x="48" y="358"/>
                  <a:pt x="48" y="358"/>
                </a:cubicBezTo>
                <a:cubicBezTo>
                  <a:pt x="55" y="355"/>
                  <a:pt x="61" y="355"/>
                  <a:pt x="64" y="359"/>
                </a:cubicBezTo>
                <a:cubicBezTo>
                  <a:pt x="68" y="363"/>
                  <a:pt x="67" y="369"/>
                  <a:pt x="62" y="375"/>
                </a:cubicBezTo>
                <a:cubicBezTo>
                  <a:pt x="62" y="376"/>
                  <a:pt x="62" y="376"/>
                  <a:pt x="62" y="376"/>
                </a:cubicBezTo>
                <a:cubicBezTo>
                  <a:pt x="61" y="377"/>
                  <a:pt x="61" y="377"/>
                  <a:pt x="60" y="378"/>
                </a:cubicBezTo>
                <a:cubicBezTo>
                  <a:pt x="63" y="381"/>
                  <a:pt x="65" y="384"/>
                  <a:pt x="68" y="386"/>
                </a:cubicBezTo>
                <a:cubicBezTo>
                  <a:pt x="69" y="386"/>
                  <a:pt x="69" y="385"/>
                  <a:pt x="70" y="384"/>
                </a:cubicBezTo>
                <a:cubicBezTo>
                  <a:pt x="71" y="384"/>
                  <a:pt x="71" y="384"/>
                  <a:pt x="71" y="384"/>
                </a:cubicBezTo>
                <a:cubicBezTo>
                  <a:pt x="77" y="380"/>
                  <a:pt x="83" y="379"/>
                  <a:pt x="87" y="382"/>
                </a:cubicBezTo>
                <a:cubicBezTo>
                  <a:pt x="91" y="385"/>
                  <a:pt x="91" y="392"/>
                  <a:pt x="88" y="398"/>
                </a:cubicBezTo>
                <a:cubicBezTo>
                  <a:pt x="87" y="399"/>
                  <a:pt x="87" y="399"/>
                  <a:pt x="87" y="399"/>
                </a:cubicBezTo>
                <a:cubicBezTo>
                  <a:pt x="87" y="400"/>
                  <a:pt x="86" y="401"/>
                  <a:pt x="86" y="402"/>
                </a:cubicBezTo>
                <a:cubicBezTo>
                  <a:pt x="89" y="404"/>
                  <a:pt x="92" y="406"/>
                  <a:pt x="95" y="408"/>
                </a:cubicBezTo>
                <a:cubicBezTo>
                  <a:pt x="95" y="408"/>
                  <a:pt x="96" y="407"/>
                  <a:pt x="96" y="407"/>
                </a:cubicBezTo>
                <a:cubicBezTo>
                  <a:pt x="96" y="407"/>
                  <a:pt x="96" y="407"/>
                  <a:pt x="96" y="407"/>
                </a:cubicBezTo>
                <a:cubicBezTo>
                  <a:pt x="97" y="406"/>
                  <a:pt x="97" y="406"/>
                  <a:pt x="97" y="405"/>
                </a:cubicBezTo>
                <a:cubicBezTo>
                  <a:pt x="102" y="400"/>
                  <a:pt x="109" y="399"/>
                  <a:pt x="113" y="401"/>
                </a:cubicBezTo>
                <a:cubicBezTo>
                  <a:pt x="117" y="404"/>
                  <a:pt x="118" y="410"/>
                  <a:pt x="116" y="417"/>
                </a:cubicBezTo>
                <a:cubicBezTo>
                  <a:pt x="116" y="418"/>
                  <a:pt x="116" y="418"/>
                  <a:pt x="116" y="418"/>
                </a:cubicBezTo>
                <a:cubicBezTo>
                  <a:pt x="115" y="419"/>
                  <a:pt x="115" y="420"/>
                  <a:pt x="115" y="421"/>
                </a:cubicBezTo>
                <a:cubicBezTo>
                  <a:pt x="118" y="423"/>
                  <a:pt x="121" y="424"/>
                  <a:pt x="125" y="426"/>
                </a:cubicBezTo>
                <a:cubicBezTo>
                  <a:pt x="125" y="425"/>
                  <a:pt x="126" y="424"/>
                  <a:pt x="127" y="423"/>
                </a:cubicBezTo>
                <a:cubicBezTo>
                  <a:pt x="131" y="417"/>
                  <a:pt x="137" y="414"/>
                  <a:pt x="141" y="416"/>
                </a:cubicBezTo>
                <a:cubicBezTo>
                  <a:pt x="146" y="418"/>
                  <a:pt x="148" y="424"/>
                  <a:pt x="147" y="432"/>
                </a:cubicBezTo>
                <a:cubicBezTo>
                  <a:pt x="147" y="432"/>
                  <a:pt x="147" y="433"/>
                  <a:pt x="147" y="433"/>
                </a:cubicBezTo>
                <a:cubicBezTo>
                  <a:pt x="147" y="434"/>
                  <a:pt x="147" y="434"/>
                  <a:pt x="147" y="434"/>
                </a:cubicBezTo>
                <a:cubicBezTo>
                  <a:pt x="147" y="434"/>
                  <a:pt x="147" y="435"/>
                  <a:pt x="146" y="435"/>
                </a:cubicBezTo>
                <a:cubicBezTo>
                  <a:pt x="150" y="437"/>
                  <a:pt x="153" y="438"/>
                  <a:pt x="157" y="439"/>
                </a:cubicBezTo>
                <a:cubicBezTo>
                  <a:pt x="157" y="438"/>
                  <a:pt x="158" y="437"/>
                  <a:pt x="158" y="436"/>
                </a:cubicBezTo>
                <a:cubicBezTo>
                  <a:pt x="162" y="429"/>
                  <a:pt x="167" y="424"/>
                  <a:pt x="172" y="426"/>
                </a:cubicBezTo>
                <a:cubicBezTo>
                  <a:pt x="177" y="427"/>
                  <a:pt x="180" y="433"/>
                  <a:pt x="180" y="440"/>
                </a:cubicBezTo>
                <a:cubicBezTo>
                  <a:pt x="180" y="442"/>
                  <a:pt x="180" y="443"/>
                  <a:pt x="180" y="444"/>
                </a:cubicBezTo>
                <a:cubicBezTo>
                  <a:pt x="184" y="445"/>
                  <a:pt x="187" y="446"/>
                  <a:pt x="191" y="447"/>
                </a:cubicBezTo>
                <a:cubicBezTo>
                  <a:pt x="191" y="446"/>
                  <a:pt x="191" y="446"/>
                  <a:pt x="191" y="445"/>
                </a:cubicBezTo>
                <a:cubicBezTo>
                  <a:pt x="191" y="445"/>
                  <a:pt x="191" y="445"/>
                  <a:pt x="191" y="445"/>
                </a:cubicBezTo>
                <a:cubicBezTo>
                  <a:pt x="191" y="444"/>
                  <a:pt x="191" y="444"/>
                  <a:pt x="191" y="443"/>
                </a:cubicBezTo>
                <a:cubicBezTo>
                  <a:pt x="191" y="443"/>
                  <a:pt x="191" y="443"/>
                  <a:pt x="191" y="443"/>
                </a:cubicBezTo>
                <a:cubicBezTo>
                  <a:pt x="191" y="436"/>
                  <a:pt x="198" y="431"/>
                  <a:pt x="203" y="431"/>
                </a:cubicBezTo>
                <a:cubicBezTo>
                  <a:pt x="209" y="432"/>
                  <a:pt x="213" y="438"/>
                  <a:pt x="214" y="445"/>
                </a:cubicBezTo>
                <a:cubicBezTo>
                  <a:pt x="214" y="446"/>
                  <a:pt x="214" y="447"/>
                  <a:pt x="214" y="447"/>
                </a:cubicBezTo>
                <a:cubicBezTo>
                  <a:pt x="214" y="447"/>
                  <a:pt x="214" y="447"/>
                  <a:pt x="214" y="447"/>
                </a:cubicBezTo>
                <a:cubicBezTo>
                  <a:pt x="214" y="448"/>
                  <a:pt x="215" y="449"/>
                  <a:pt x="215" y="449"/>
                </a:cubicBezTo>
                <a:cubicBezTo>
                  <a:pt x="218" y="449"/>
                  <a:pt x="222" y="450"/>
                  <a:pt x="226" y="449"/>
                </a:cubicBezTo>
                <a:cubicBezTo>
                  <a:pt x="226" y="449"/>
                  <a:pt x="226" y="448"/>
                  <a:pt x="226" y="448"/>
                </a:cubicBezTo>
                <a:cubicBezTo>
                  <a:pt x="226" y="447"/>
                  <a:pt x="226" y="447"/>
                  <a:pt x="226" y="447"/>
                </a:cubicBezTo>
                <a:cubicBezTo>
                  <a:pt x="226" y="447"/>
                  <a:pt x="226" y="446"/>
                  <a:pt x="226" y="446"/>
                </a:cubicBezTo>
                <a:cubicBezTo>
                  <a:pt x="227" y="438"/>
                  <a:pt x="231" y="432"/>
                  <a:pt x="236" y="432"/>
                </a:cubicBezTo>
                <a:cubicBezTo>
                  <a:pt x="241" y="431"/>
                  <a:pt x="247" y="437"/>
                  <a:pt x="249" y="444"/>
                </a:cubicBezTo>
                <a:cubicBezTo>
                  <a:pt x="249" y="446"/>
                  <a:pt x="249" y="447"/>
                  <a:pt x="250" y="448"/>
                </a:cubicBezTo>
                <a:cubicBezTo>
                  <a:pt x="253" y="448"/>
                  <a:pt x="257" y="447"/>
                  <a:pt x="261" y="447"/>
                </a:cubicBezTo>
                <a:cubicBezTo>
                  <a:pt x="260" y="445"/>
                  <a:pt x="260" y="444"/>
                  <a:pt x="260" y="443"/>
                </a:cubicBezTo>
                <a:cubicBezTo>
                  <a:pt x="260" y="435"/>
                  <a:pt x="263" y="428"/>
                  <a:pt x="268" y="427"/>
                </a:cubicBezTo>
                <a:cubicBezTo>
                  <a:pt x="273" y="425"/>
                  <a:pt x="279" y="430"/>
                  <a:pt x="283" y="438"/>
                </a:cubicBezTo>
                <a:cubicBezTo>
                  <a:pt x="283" y="439"/>
                  <a:pt x="284" y="440"/>
                  <a:pt x="284" y="441"/>
                </a:cubicBezTo>
                <a:cubicBezTo>
                  <a:pt x="288" y="441"/>
                  <a:pt x="291" y="439"/>
                  <a:pt x="295" y="438"/>
                </a:cubicBezTo>
                <a:cubicBezTo>
                  <a:pt x="294" y="437"/>
                  <a:pt x="294" y="436"/>
                  <a:pt x="294" y="435"/>
                </a:cubicBezTo>
                <a:cubicBezTo>
                  <a:pt x="292" y="427"/>
                  <a:pt x="294" y="419"/>
                  <a:pt x="299" y="417"/>
                </a:cubicBezTo>
                <a:cubicBezTo>
                  <a:pt x="304" y="415"/>
                  <a:pt x="311" y="419"/>
                  <a:pt x="315" y="426"/>
                </a:cubicBezTo>
                <a:cubicBezTo>
                  <a:pt x="316" y="427"/>
                  <a:pt x="316" y="428"/>
                  <a:pt x="317" y="430"/>
                </a:cubicBezTo>
                <a:cubicBezTo>
                  <a:pt x="320" y="428"/>
                  <a:pt x="324" y="426"/>
                  <a:pt x="327" y="425"/>
                </a:cubicBezTo>
                <a:cubicBezTo>
                  <a:pt x="327" y="423"/>
                  <a:pt x="326" y="422"/>
                  <a:pt x="325" y="421"/>
                </a:cubicBezTo>
                <a:cubicBezTo>
                  <a:pt x="322" y="413"/>
                  <a:pt x="323" y="406"/>
                  <a:pt x="327" y="403"/>
                </a:cubicBezTo>
                <a:cubicBezTo>
                  <a:pt x="332" y="400"/>
                  <a:pt x="340" y="403"/>
                  <a:pt x="346" y="409"/>
                </a:cubicBezTo>
                <a:cubicBezTo>
                  <a:pt x="346" y="410"/>
                  <a:pt x="347" y="411"/>
                  <a:pt x="348" y="413"/>
                </a:cubicBezTo>
                <a:cubicBezTo>
                  <a:pt x="351" y="410"/>
                  <a:pt x="354" y="408"/>
                  <a:pt x="357" y="406"/>
                </a:cubicBezTo>
                <a:cubicBezTo>
                  <a:pt x="356" y="405"/>
                  <a:pt x="356" y="404"/>
                  <a:pt x="355" y="403"/>
                </a:cubicBezTo>
                <a:cubicBezTo>
                  <a:pt x="350" y="396"/>
                  <a:pt x="349" y="388"/>
                  <a:pt x="354" y="384"/>
                </a:cubicBezTo>
                <a:cubicBezTo>
                  <a:pt x="358" y="380"/>
                  <a:pt x="366" y="382"/>
                  <a:pt x="373" y="388"/>
                </a:cubicBezTo>
                <a:cubicBezTo>
                  <a:pt x="374" y="389"/>
                  <a:pt x="375" y="390"/>
                  <a:pt x="375" y="390"/>
                </a:cubicBezTo>
                <a:cubicBezTo>
                  <a:pt x="376" y="391"/>
                  <a:pt x="376" y="391"/>
                  <a:pt x="376" y="391"/>
                </a:cubicBezTo>
                <a:cubicBezTo>
                  <a:pt x="379" y="388"/>
                  <a:pt x="381" y="386"/>
                  <a:pt x="384" y="383"/>
                </a:cubicBezTo>
                <a:cubicBezTo>
                  <a:pt x="384" y="383"/>
                  <a:pt x="384" y="383"/>
                  <a:pt x="384" y="383"/>
                </a:cubicBezTo>
                <a:cubicBezTo>
                  <a:pt x="383" y="382"/>
                  <a:pt x="382" y="381"/>
                  <a:pt x="381" y="380"/>
                </a:cubicBezTo>
                <a:cubicBezTo>
                  <a:pt x="375" y="374"/>
                  <a:pt x="373" y="366"/>
                  <a:pt x="377" y="361"/>
                </a:cubicBezTo>
                <a:cubicBezTo>
                  <a:pt x="381" y="357"/>
                  <a:pt x="389" y="357"/>
                  <a:pt x="397" y="363"/>
                </a:cubicBezTo>
                <a:cubicBezTo>
                  <a:pt x="398" y="363"/>
                  <a:pt x="398" y="364"/>
                  <a:pt x="399" y="364"/>
                </a:cubicBezTo>
                <a:cubicBezTo>
                  <a:pt x="400" y="365"/>
                  <a:pt x="400" y="365"/>
                  <a:pt x="400" y="365"/>
                </a:cubicBezTo>
                <a:cubicBezTo>
                  <a:pt x="402" y="362"/>
                  <a:pt x="405" y="359"/>
                  <a:pt x="407" y="356"/>
                </a:cubicBezTo>
                <a:cubicBezTo>
                  <a:pt x="406" y="355"/>
                  <a:pt x="406" y="355"/>
                  <a:pt x="406" y="355"/>
                </a:cubicBezTo>
                <a:cubicBezTo>
                  <a:pt x="405" y="355"/>
                  <a:pt x="405" y="354"/>
                  <a:pt x="404" y="354"/>
                </a:cubicBezTo>
                <a:cubicBezTo>
                  <a:pt x="396" y="348"/>
                  <a:pt x="393" y="340"/>
                  <a:pt x="396" y="335"/>
                </a:cubicBezTo>
                <a:cubicBezTo>
                  <a:pt x="399" y="330"/>
                  <a:pt x="408" y="329"/>
                  <a:pt x="417" y="334"/>
                </a:cubicBezTo>
                <a:cubicBezTo>
                  <a:pt x="417" y="334"/>
                  <a:pt x="418" y="334"/>
                  <a:pt x="419" y="335"/>
                </a:cubicBezTo>
                <a:cubicBezTo>
                  <a:pt x="419" y="335"/>
                  <a:pt x="419" y="335"/>
                  <a:pt x="420" y="336"/>
                </a:cubicBezTo>
                <a:cubicBezTo>
                  <a:pt x="422" y="332"/>
                  <a:pt x="424" y="329"/>
                  <a:pt x="425" y="325"/>
                </a:cubicBezTo>
                <a:cubicBezTo>
                  <a:pt x="425" y="325"/>
                  <a:pt x="425" y="325"/>
                  <a:pt x="425" y="325"/>
                </a:cubicBezTo>
                <a:cubicBezTo>
                  <a:pt x="424" y="325"/>
                  <a:pt x="423" y="324"/>
                  <a:pt x="423" y="324"/>
                </a:cubicBezTo>
                <a:cubicBezTo>
                  <a:pt x="423" y="324"/>
                  <a:pt x="423" y="324"/>
                  <a:pt x="423" y="324"/>
                </a:cubicBezTo>
                <a:cubicBezTo>
                  <a:pt x="413" y="320"/>
                  <a:pt x="409" y="313"/>
                  <a:pt x="411" y="308"/>
                </a:cubicBezTo>
                <a:cubicBezTo>
                  <a:pt x="413" y="302"/>
                  <a:pt x="422" y="296"/>
                  <a:pt x="432" y="304"/>
                </a:cubicBezTo>
                <a:cubicBezTo>
                  <a:pt x="431" y="304"/>
                  <a:pt x="431" y="304"/>
                  <a:pt x="431" y="304"/>
                </a:cubicBezTo>
                <a:cubicBezTo>
                  <a:pt x="432" y="304"/>
                  <a:pt x="433" y="303"/>
                  <a:pt x="433" y="304"/>
                </a:cubicBezTo>
                <a:cubicBezTo>
                  <a:pt x="434" y="304"/>
                  <a:pt x="434" y="304"/>
                  <a:pt x="435" y="304"/>
                </a:cubicBezTo>
                <a:cubicBezTo>
                  <a:pt x="436" y="300"/>
                  <a:pt x="438" y="296"/>
                  <a:pt x="439" y="293"/>
                </a:cubicBezTo>
                <a:cubicBezTo>
                  <a:pt x="438" y="293"/>
                  <a:pt x="438" y="292"/>
                  <a:pt x="437" y="292"/>
                </a:cubicBezTo>
                <a:cubicBezTo>
                  <a:pt x="436" y="292"/>
                  <a:pt x="436" y="292"/>
                  <a:pt x="435" y="292"/>
                </a:cubicBezTo>
                <a:cubicBezTo>
                  <a:pt x="426" y="289"/>
                  <a:pt x="420" y="282"/>
                  <a:pt x="421" y="276"/>
                </a:cubicBezTo>
                <a:cubicBezTo>
                  <a:pt x="423" y="270"/>
                  <a:pt x="432" y="267"/>
                  <a:pt x="442" y="268"/>
                </a:cubicBezTo>
                <a:cubicBezTo>
                  <a:pt x="442" y="268"/>
                  <a:pt x="442" y="268"/>
                  <a:pt x="442" y="268"/>
                </a:cubicBezTo>
                <a:cubicBezTo>
                  <a:pt x="442" y="268"/>
                  <a:pt x="442" y="269"/>
                  <a:pt x="443" y="269"/>
                </a:cubicBezTo>
                <a:cubicBezTo>
                  <a:pt x="444" y="269"/>
                  <a:pt x="444" y="269"/>
                  <a:pt x="445" y="269"/>
                </a:cubicBezTo>
                <a:cubicBezTo>
                  <a:pt x="446" y="265"/>
                  <a:pt x="446" y="261"/>
                  <a:pt x="447" y="258"/>
                </a:cubicBezTo>
                <a:cubicBezTo>
                  <a:pt x="446" y="258"/>
                  <a:pt x="445" y="257"/>
                  <a:pt x="445" y="257"/>
                </a:cubicBezTo>
                <a:cubicBezTo>
                  <a:pt x="444" y="257"/>
                  <a:pt x="443" y="256"/>
                  <a:pt x="443" y="256"/>
                </a:cubicBezTo>
                <a:cubicBezTo>
                  <a:pt x="443" y="256"/>
                  <a:pt x="443" y="256"/>
                  <a:pt x="443" y="256"/>
                </a:cubicBezTo>
                <a:cubicBezTo>
                  <a:pt x="433" y="256"/>
                  <a:pt x="427" y="250"/>
                  <a:pt x="427" y="244"/>
                </a:cubicBezTo>
                <a:cubicBezTo>
                  <a:pt x="427" y="237"/>
                  <a:pt x="435" y="233"/>
                  <a:pt x="447" y="234"/>
                </a:cubicBezTo>
                <a:cubicBezTo>
                  <a:pt x="447" y="234"/>
                  <a:pt x="447" y="234"/>
                  <a:pt x="447" y="234"/>
                </a:cubicBezTo>
                <a:close/>
                <a:moveTo>
                  <a:pt x="319" y="97"/>
                </a:moveTo>
                <a:cubicBezTo>
                  <a:pt x="333" y="88"/>
                  <a:pt x="355" y="106"/>
                  <a:pt x="372" y="132"/>
                </a:cubicBezTo>
                <a:cubicBezTo>
                  <a:pt x="388" y="159"/>
                  <a:pt x="395" y="187"/>
                  <a:pt x="381" y="196"/>
                </a:cubicBezTo>
                <a:cubicBezTo>
                  <a:pt x="369" y="203"/>
                  <a:pt x="340" y="187"/>
                  <a:pt x="324" y="162"/>
                </a:cubicBezTo>
                <a:cubicBezTo>
                  <a:pt x="309" y="138"/>
                  <a:pt x="307" y="104"/>
                  <a:pt x="319" y="97"/>
                </a:cubicBezTo>
                <a:close/>
                <a:moveTo>
                  <a:pt x="280" y="313"/>
                </a:moveTo>
                <a:cubicBezTo>
                  <a:pt x="231" y="344"/>
                  <a:pt x="167" y="329"/>
                  <a:pt x="136" y="280"/>
                </a:cubicBezTo>
                <a:cubicBezTo>
                  <a:pt x="106" y="231"/>
                  <a:pt x="120" y="167"/>
                  <a:pt x="169" y="137"/>
                </a:cubicBezTo>
                <a:cubicBezTo>
                  <a:pt x="218" y="106"/>
                  <a:pt x="282" y="121"/>
                  <a:pt x="313" y="169"/>
                </a:cubicBezTo>
                <a:cubicBezTo>
                  <a:pt x="343" y="218"/>
                  <a:pt x="329" y="283"/>
                  <a:pt x="280" y="313"/>
                </a:cubicBezTo>
                <a:close/>
                <a:moveTo>
                  <a:pt x="218" y="51"/>
                </a:moveTo>
                <a:cubicBezTo>
                  <a:pt x="249" y="50"/>
                  <a:pt x="277" y="58"/>
                  <a:pt x="277" y="75"/>
                </a:cubicBezTo>
                <a:cubicBezTo>
                  <a:pt x="278" y="89"/>
                  <a:pt x="249" y="106"/>
                  <a:pt x="220" y="107"/>
                </a:cubicBezTo>
                <a:cubicBezTo>
                  <a:pt x="191" y="108"/>
                  <a:pt x="161" y="93"/>
                  <a:pt x="161" y="79"/>
                </a:cubicBezTo>
                <a:cubicBezTo>
                  <a:pt x="160" y="62"/>
                  <a:pt x="187" y="52"/>
                  <a:pt x="218" y="51"/>
                </a:cubicBezTo>
                <a:close/>
                <a:moveTo>
                  <a:pt x="71" y="144"/>
                </a:moveTo>
                <a:cubicBezTo>
                  <a:pt x="85" y="116"/>
                  <a:pt x="106" y="96"/>
                  <a:pt x="121" y="104"/>
                </a:cubicBezTo>
                <a:cubicBezTo>
                  <a:pt x="133" y="110"/>
                  <a:pt x="134" y="144"/>
                  <a:pt x="120" y="170"/>
                </a:cubicBezTo>
                <a:cubicBezTo>
                  <a:pt x="107" y="195"/>
                  <a:pt x="79" y="214"/>
                  <a:pt x="66" y="207"/>
                </a:cubicBezTo>
                <a:cubicBezTo>
                  <a:pt x="51" y="199"/>
                  <a:pt x="56" y="171"/>
                  <a:pt x="71" y="144"/>
                </a:cubicBezTo>
                <a:close/>
                <a:moveTo>
                  <a:pt x="130" y="353"/>
                </a:moveTo>
                <a:cubicBezTo>
                  <a:pt x="116" y="362"/>
                  <a:pt x="94" y="343"/>
                  <a:pt x="77" y="317"/>
                </a:cubicBezTo>
                <a:cubicBezTo>
                  <a:pt x="61" y="291"/>
                  <a:pt x="54" y="263"/>
                  <a:pt x="68" y="254"/>
                </a:cubicBezTo>
                <a:cubicBezTo>
                  <a:pt x="80" y="247"/>
                  <a:pt x="109" y="263"/>
                  <a:pt x="125" y="287"/>
                </a:cubicBezTo>
                <a:cubicBezTo>
                  <a:pt x="140" y="312"/>
                  <a:pt x="142" y="346"/>
                  <a:pt x="130" y="353"/>
                </a:cubicBezTo>
                <a:close/>
                <a:moveTo>
                  <a:pt x="231" y="399"/>
                </a:moveTo>
                <a:cubicBezTo>
                  <a:pt x="200" y="400"/>
                  <a:pt x="172" y="392"/>
                  <a:pt x="172" y="375"/>
                </a:cubicBezTo>
                <a:cubicBezTo>
                  <a:pt x="171" y="361"/>
                  <a:pt x="200" y="344"/>
                  <a:pt x="229" y="343"/>
                </a:cubicBezTo>
                <a:cubicBezTo>
                  <a:pt x="258" y="342"/>
                  <a:pt x="288" y="357"/>
                  <a:pt x="288" y="371"/>
                </a:cubicBezTo>
                <a:cubicBezTo>
                  <a:pt x="289" y="387"/>
                  <a:pt x="262" y="397"/>
                  <a:pt x="231" y="399"/>
                </a:cubicBezTo>
                <a:close/>
                <a:moveTo>
                  <a:pt x="378" y="306"/>
                </a:moveTo>
                <a:cubicBezTo>
                  <a:pt x="364" y="334"/>
                  <a:pt x="343" y="354"/>
                  <a:pt x="328" y="346"/>
                </a:cubicBezTo>
                <a:cubicBezTo>
                  <a:pt x="316" y="339"/>
                  <a:pt x="315" y="306"/>
                  <a:pt x="329" y="280"/>
                </a:cubicBezTo>
                <a:cubicBezTo>
                  <a:pt x="342" y="254"/>
                  <a:pt x="370" y="236"/>
                  <a:pt x="383" y="243"/>
                </a:cubicBezTo>
                <a:cubicBezTo>
                  <a:pt x="398" y="250"/>
                  <a:pt x="393" y="279"/>
                  <a:pt x="378" y="306"/>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40" name="Freeform 118"/>
          <p:cNvSpPr>
            <a:spLocks noEditPoints="1"/>
          </p:cNvSpPr>
          <p:nvPr/>
        </p:nvSpPr>
        <p:spPr bwMode="auto">
          <a:xfrm>
            <a:off x="7905750" y="1249363"/>
            <a:ext cx="1468438" cy="1473200"/>
          </a:xfrm>
          <a:custGeom>
            <a:avLst/>
            <a:gdLst>
              <a:gd name="T0" fmla="*/ 207 w 618"/>
              <a:gd name="T1" fmla="*/ 17 h 619"/>
              <a:gd name="T2" fmla="*/ 187 w 618"/>
              <a:gd name="T3" fmla="*/ 58 h 619"/>
              <a:gd name="T4" fmla="*/ 140 w 618"/>
              <a:gd name="T5" fmla="*/ 72 h 619"/>
              <a:gd name="T6" fmla="*/ 105 w 618"/>
              <a:gd name="T7" fmla="*/ 77 h 619"/>
              <a:gd name="T8" fmla="*/ 60 w 618"/>
              <a:gd name="T9" fmla="*/ 126 h 619"/>
              <a:gd name="T10" fmla="*/ 67 w 618"/>
              <a:gd name="T11" fmla="*/ 170 h 619"/>
              <a:gd name="T12" fmla="*/ 13 w 618"/>
              <a:gd name="T13" fmla="*/ 220 h 619"/>
              <a:gd name="T14" fmla="*/ 30 w 618"/>
              <a:gd name="T15" fmla="*/ 291 h 619"/>
              <a:gd name="T16" fmla="*/ 0 w 618"/>
              <a:gd name="T17" fmla="*/ 324 h 619"/>
              <a:gd name="T18" fmla="*/ 10 w 618"/>
              <a:gd name="T19" fmla="*/ 390 h 619"/>
              <a:gd name="T20" fmla="*/ 49 w 618"/>
              <a:gd name="T21" fmla="*/ 413 h 619"/>
              <a:gd name="T22" fmla="*/ 55 w 618"/>
              <a:gd name="T23" fmla="*/ 485 h 619"/>
              <a:gd name="T24" fmla="*/ 121 w 618"/>
              <a:gd name="T25" fmla="*/ 516 h 619"/>
              <a:gd name="T26" fmla="*/ 128 w 618"/>
              <a:gd name="T27" fmla="*/ 561 h 619"/>
              <a:gd name="T28" fmla="*/ 186 w 618"/>
              <a:gd name="T29" fmla="*/ 594 h 619"/>
              <a:gd name="T30" fmla="*/ 228 w 618"/>
              <a:gd name="T31" fmla="*/ 577 h 619"/>
              <a:gd name="T32" fmla="*/ 288 w 618"/>
              <a:gd name="T33" fmla="*/ 618 h 619"/>
              <a:gd name="T34" fmla="*/ 307 w 618"/>
              <a:gd name="T35" fmla="*/ 602 h 619"/>
              <a:gd name="T36" fmla="*/ 368 w 618"/>
              <a:gd name="T37" fmla="*/ 614 h 619"/>
              <a:gd name="T38" fmla="*/ 393 w 618"/>
              <a:gd name="T39" fmla="*/ 577 h 619"/>
              <a:gd name="T40" fmla="*/ 455 w 618"/>
              <a:gd name="T41" fmla="*/ 583 h 619"/>
              <a:gd name="T42" fmla="*/ 468 w 618"/>
              <a:gd name="T43" fmla="*/ 540 h 619"/>
              <a:gd name="T44" fmla="*/ 538 w 618"/>
              <a:gd name="T45" fmla="*/ 519 h 619"/>
              <a:gd name="T46" fmla="*/ 553 w 618"/>
              <a:gd name="T47" fmla="*/ 448 h 619"/>
              <a:gd name="T48" fmla="*/ 595 w 618"/>
              <a:gd name="T49" fmla="*/ 430 h 619"/>
              <a:gd name="T50" fmla="*/ 576 w 618"/>
              <a:gd name="T51" fmla="*/ 395 h 619"/>
              <a:gd name="T52" fmla="*/ 616 w 618"/>
              <a:gd name="T53" fmla="*/ 354 h 619"/>
              <a:gd name="T54" fmla="*/ 589 w 618"/>
              <a:gd name="T55" fmla="*/ 286 h 619"/>
              <a:gd name="T56" fmla="*/ 614 w 618"/>
              <a:gd name="T57" fmla="*/ 249 h 619"/>
              <a:gd name="T58" fmla="*/ 570 w 618"/>
              <a:gd name="T59" fmla="*/ 205 h 619"/>
              <a:gd name="T60" fmla="*/ 582 w 618"/>
              <a:gd name="T61" fmla="*/ 162 h 619"/>
              <a:gd name="T62" fmla="*/ 544 w 618"/>
              <a:gd name="T63" fmla="*/ 107 h 619"/>
              <a:gd name="T64" fmla="*/ 499 w 618"/>
              <a:gd name="T65" fmla="*/ 103 h 619"/>
              <a:gd name="T66" fmla="*/ 466 w 618"/>
              <a:gd name="T67" fmla="*/ 77 h 619"/>
              <a:gd name="T68" fmla="*/ 452 w 618"/>
              <a:gd name="T69" fmla="*/ 34 h 619"/>
              <a:gd name="T70" fmla="*/ 390 w 618"/>
              <a:gd name="T71" fmla="*/ 10 h 619"/>
              <a:gd name="T72" fmla="*/ 350 w 618"/>
              <a:gd name="T73" fmla="*/ 32 h 619"/>
              <a:gd name="T74" fmla="*/ 285 w 618"/>
              <a:gd name="T75" fmla="*/ 1 h 619"/>
              <a:gd name="T76" fmla="*/ 225 w 618"/>
              <a:gd name="T77" fmla="*/ 42 h 619"/>
              <a:gd name="T78" fmla="*/ 188 w 618"/>
              <a:gd name="T79" fmla="*/ 286 h 619"/>
              <a:gd name="T80" fmla="*/ 228 w 618"/>
              <a:gd name="T81" fmla="*/ 335 h 619"/>
              <a:gd name="T82" fmla="*/ 334 w 618"/>
              <a:gd name="T83" fmla="*/ 390 h 619"/>
              <a:gd name="T84" fmla="*/ 223 w 618"/>
              <a:gd name="T85" fmla="*/ 399 h 619"/>
              <a:gd name="T86" fmla="*/ 82 w 618"/>
              <a:gd name="T87" fmla="*/ 398 h 619"/>
              <a:gd name="T88" fmla="*/ 323 w 618"/>
              <a:gd name="T89" fmla="*/ 552 h 619"/>
              <a:gd name="T90" fmla="*/ 534 w 618"/>
              <a:gd name="T91" fmla="*/ 402 h 619"/>
              <a:gd name="T92" fmla="*/ 437 w 618"/>
              <a:gd name="T93" fmla="*/ 291 h 619"/>
              <a:gd name="T94" fmla="*/ 541 w 618"/>
              <a:gd name="T95" fmla="*/ 237 h 619"/>
              <a:gd name="T96" fmla="*/ 295 w 618"/>
              <a:gd name="T97" fmla="*/ 186 h 619"/>
              <a:gd name="T98" fmla="*/ 441 w 618"/>
              <a:gd name="T99" fmla="*/ 10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8" h="619">
                <a:moveTo>
                  <a:pt x="225" y="42"/>
                </a:moveTo>
                <a:cubicBezTo>
                  <a:pt x="225" y="42"/>
                  <a:pt x="225" y="42"/>
                  <a:pt x="225" y="42"/>
                </a:cubicBezTo>
                <a:cubicBezTo>
                  <a:pt x="207" y="17"/>
                  <a:pt x="207" y="17"/>
                  <a:pt x="207" y="17"/>
                </a:cubicBezTo>
                <a:cubicBezTo>
                  <a:pt x="195" y="22"/>
                  <a:pt x="195" y="22"/>
                  <a:pt x="195" y="22"/>
                </a:cubicBezTo>
                <a:cubicBezTo>
                  <a:pt x="183" y="27"/>
                  <a:pt x="183" y="27"/>
                  <a:pt x="183" y="27"/>
                </a:cubicBezTo>
                <a:cubicBezTo>
                  <a:pt x="187" y="58"/>
                  <a:pt x="187" y="58"/>
                  <a:pt x="187" y="58"/>
                </a:cubicBezTo>
                <a:cubicBezTo>
                  <a:pt x="174" y="64"/>
                  <a:pt x="162" y="71"/>
                  <a:pt x="150" y="79"/>
                </a:cubicBezTo>
                <a:cubicBezTo>
                  <a:pt x="140" y="72"/>
                  <a:pt x="140" y="72"/>
                  <a:pt x="140" y="72"/>
                </a:cubicBezTo>
                <a:cubicBezTo>
                  <a:pt x="140" y="72"/>
                  <a:pt x="140" y="72"/>
                  <a:pt x="140" y="72"/>
                </a:cubicBezTo>
                <a:cubicBezTo>
                  <a:pt x="125" y="60"/>
                  <a:pt x="125" y="60"/>
                  <a:pt x="125" y="60"/>
                </a:cubicBezTo>
                <a:cubicBezTo>
                  <a:pt x="115" y="68"/>
                  <a:pt x="115" y="68"/>
                  <a:pt x="115" y="68"/>
                </a:cubicBezTo>
                <a:cubicBezTo>
                  <a:pt x="105" y="77"/>
                  <a:pt x="105" y="77"/>
                  <a:pt x="105" y="77"/>
                </a:cubicBezTo>
                <a:cubicBezTo>
                  <a:pt x="118" y="105"/>
                  <a:pt x="118" y="105"/>
                  <a:pt x="118" y="105"/>
                </a:cubicBezTo>
                <a:cubicBezTo>
                  <a:pt x="108" y="115"/>
                  <a:pt x="98" y="125"/>
                  <a:pt x="89" y="137"/>
                </a:cubicBezTo>
                <a:cubicBezTo>
                  <a:pt x="60" y="126"/>
                  <a:pt x="60" y="126"/>
                  <a:pt x="60" y="126"/>
                </a:cubicBezTo>
                <a:cubicBezTo>
                  <a:pt x="53" y="137"/>
                  <a:pt x="53" y="137"/>
                  <a:pt x="53" y="137"/>
                </a:cubicBezTo>
                <a:cubicBezTo>
                  <a:pt x="45" y="147"/>
                  <a:pt x="45" y="147"/>
                  <a:pt x="45" y="147"/>
                </a:cubicBezTo>
                <a:cubicBezTo>
                  <a:pt x="67" y="170"/>
                  <a:pt x="67" y="170"/>
                  <a:pt x="67" y="170"/>
                </a:cubicBezTo>
                <a:cubicBezTo>
                  <a:pt x="59" y="183"/>
                  <a:pt x="53" y="196"/>
                  <a:pt x="48" y="209"/>
                </a:cubicBezTo>
                <a:cubicBezTo>
                  <a:pt x="17" y="207"/>
                  <a:pt x="17" y="207"/>
                  <a:pt x="17" y="207"/>
                </a:cubicBezTo>
                <a:cubicBezTo>
                  <a:pt x="13" y="220"/>
                  <a:pt x="13" y="220"/>
                  <a:pt x="13" y="220"/>
                </a:cubicBezTo>
                <a:cubicBezTo>
                  <a:pt x="9" y="232"/>
                  <a:pt x="9" y="232"/>
                  <a:pt x="9" y="232"/>
                </a:cubicBezTo>
                <a:cubicBezTo>
                  <a:pt x="36" y="248"/>
                  <a:pt x="36" y="248"/>
                  <a:pt x="36" y="248"/>
                </a:cubicBezTo>
                <a:cubicBezTo>
                  <a:pt x="33" y="262"/>
                  <a:pt x="31" y="276"/>
                  <a:pt x="30" y="291"/>
                </a:cubicBezTo>
                <a:cubicBezTo>
                  <a:pt x="0" y="298"/>
                  <a:pt x="0" y="298"/>
                  <a:pt x="0" y="298"/>
                </a:cubicBezTo>
                <a:cubicBezTo>
                  <a:pt x="0" y="311"/>
                  <a:pt x="0" y="311"/>
                  <a:pt x="0" y="311"/>
                </a:cubicBezTo>
                <a:cubicBezTo>
                  <a:pt x="0" y="324"/>
                  <a:pt x="0" y="324"/>
                  <a:pt x="0" y="324"/>
                </a:cubicBezTo>
                <a:cubicBezTo>
                  <a:pt x="30" y="331"/>
                  <a:pt x="30" y="331"/>
                  <a:pt x="30" y="331"/>
                </a:cubicBezTo>
                <a:cubicBezTo>
                  <a:pt x="31" y="346"/>
                  <a:pt x="34" y="360"/>
                  <a:pt x="37" y="374"/>
                </a:cubicBezTo>
                <a:cubicBezTo>
                  <a:pt x="10" y="390"/>
                  <a:pt x="10" y="390"/>
                  <a:pt x="10" y="390"/>
                </a:cubicBezTo>
                <a:cubicBezTo>
                  <a:pt x="14" y="403"/>
                  <a:pt x="14" y="403"/>
                  <a:pt x="14" y="403"/>
                </a:cubicBezTo>
                <a:cubicBezTo>
                  <a:pt x="18" y="415"/>
                  <a:pt x="18" y="415"/>
                  <a:pt x="18" y="415"/>
                </a:cubicBezTo>
                <a:cubicBezTo>
                  <a:pt x="49" y="413"/>
                  <a:pt x="49" y="413"/>
                  <a:pt x="49" y="413"/>
                </a:cubicBezTo>
                <a:cubicBezTo>
                  <a:pt x="55" y="426"/>
                  <a:pt x="61" y="439"/>
                  <a:pt x="68" y="452"/>
                </a:cubicBezTo>
                <a:cubicBezTo>
                  <a:pt x="47" y="475"/>
                  <a:pt x="47" y="475"/>
                  <a:pt x="47" y="475"/>
                </a:cubicBezTo>
                <a:cubicBezTo>
                  <a:pt x="55" y="485"/>
                  <a:pt x="55" y="485"/>
                  <a:pt x="55" y="485"/>
                </a:cubicBezTo>
                <a:cubicBezTo>
                  <a:pt x="62" y="496"/>
                  <a:pt x="62" y="496"/>
                  <a:pt x="62" y="496"/>
                </a:cubicBezTo>
                <a:cubicBezTo>
                  <a:pt x="91" y="485"/>
                  <a:pt x="91" y="485"/>
                  <a:pt x="91" y="485"/>
                </a:cubicBezTo>
                <a:cubicBezTo>
                  <a:pt x="100" y="496"/>
                  <a:pt x="110" y="507"/>
                  <a:pt x="121" y="516"/>
                </a:cubicBezTo>
                <a:cubicBezTo>
                  <a:pt x="108" y="545"/>
                  <a:pt x="108" y="545"/>
                  <a:pt x="108" y="545"/>
                </a:cubicBezTo>
                <a:cubicBezTo>
                  <a:pt x="118" y="553"/>
                  <a:pt x="118" y="553"/>
                  <a:pt x="118" y="553"/>
                </a:cubicBezTo>
                <a:cubicBezTo>
                  <a:pt x="128" y="561"/>
                  <a:pt x="128" y="561"/>
                  <a:pt x="128" y="561"/>
                </a:cubicBezTo>
                <a:cubicBezTo>
                  <a:pt x="153" y="542"/>
                  <a:pt x="153" y="542"/>
                  <a:pt x="153" y="542"/>
                </a:cubicBezTo>
                <a:cubicBezTo>
                  <a:pt x="165" y="550"/>
                  <a:pt x="177" y="557"/>
                  <a:pt x="190" y="563"/>
                </a:cubicBezTo>
                <a:cubicBezTo>
                  <a:pt x="186" y="594"/>
                  <a:pt x="186" y="594"/>
                  <a:pt x="186" y="594"/>
                </a:cubicBezTo>
                <a:cubicBezTo>
                  <a:pt x="198" y="598"/>
                  <a:pt x="198" y="598"/>
                  <a:pt x="198" y="598"/>
                </a:cubicBezTo>
                <a:cubicBezTo>
                  <a:pt x="210" y="603"/>
                  <a:pt x="210" y="603"/>
                  <a:pt x="210" y="603"/>
                </a:cubicBezTo>
                <a:cubicBezTo>
                  <a:pt x="228" y="577"/>
                  <a:pt x="228" y="577"/>
                  <a:pt x="228" y="577"/>
                </a:cubicBezTo>
                <a:cubicBezTo>
                  <a:pt x="242" y="582"/>
                  <a:pt x="256" y="585"/>
                  <a:pt x="270" y="587"/>
                </a:cubicBezTo>
                <a:cubicBezTo>
                  <a:pt x="275" y="618"/>
                  <a:pt x="275" y="618"/>
                  <a:pt x="275" y="618"/>
                </a:cubicBezTo>
                <a:cubicBezTo>
                  <a:pt x="288" y="618"/>
                  <a:pt x="288" y="618"/>
                  <a:pt x="288" y="618"/>
                </a:cubicBezTo>
                <a:cubicBezTo>
                  <a:pt x="301" y="619"/>
                  <a:pt x="301" y="619"/>
                  <a:pt x="301" y="619"/>
                </a:cubicBezTo>
                <a:cubicBezTo>
                  <a:pt x="307" y="602"/>
                  <a:pt x="307" y="602"/>
                  <a:pt x="307" y="602"/>
                </a:cubicBezTo>
                <a:cubicBezTo>
                  <a:pt x="307" y="602"/>
                  <a:pt x="307" y="602"/>
                  <a:pt x="307" y="602"/>
                </a:cubicBezTo>
                <a:cubicBezTo>
                  <a:pt x="311" y="590"/>
                  <a:pt x="311" y="590"/>
                  <a:pt x="311" y="590"/>
                </a:cubicBezTo>
                <a:cubicBezTo>
                  <a:pt x="325" y="590"/>
                  <a:pt x="339" y="588"/>
                  <a:pt x="354" y="586"/>
                </a:cubicBezTo>
                <a:cubicBezTo>
                  <a:pt x="368" y="614"/>
                  <a:pt x="368" y="614"/>
                  <a:pt x="368" y="614"/>
                </a:cubicBezTo>
                <a:cubicBezTo>
                  <a:pt x="380" y="611"/>
                  <a:pt x="380" y="611"/>
                  <a:pt x="380" y="611"/>
                </a:cubicBezTo>
                <a:cubicBezTo>
                  <a:pt x="393" y="608"/>
                  <a:pt x="393" y="608"/>
                  <a:pt x="393" y="608"/>
                </a:cubicBezTo>
                <a:cubicBezTo>
                  <a:pt x="393" y="577"/>
                  <a:pt x="393" y="577"/>
                  <a:pt x="393" y="577"/>
                </a:cubicBezTo>
                <a:cubicBezTo>
                  <a:pt x="394" y="577"/>
                  <a:pt x="394" y="577"/>
                  <a:pt x="394" y="577"/>
                </a:cubicBezTo>
                <a:cubicBezTo>
                  <a:pt x="408" y="572"/>
                  <a:pt x="421" y="567"/>
                  <a:pt x="433" y="561"/>
                </a:cubicBezTo>
                <a:cubicBezTo>
                  <a:pt x="455" y="583"/>
                  <a:pt x="455" y="583"/>
                  <a:pt x="455" y="583"/>
                </a:cubicBezTo>
                <a:cubicBezTo>
                  <a:pt x="466" y="577"/>
                  <a:pt x="466" y="577"/>
                  <a:pt x="466" y="577"/>
                </a:cubicBezTo>
                <a:cubicBezTo>
                  <a:pt x="477" y="570"/>
                  <a:pt x="477" y="570"/>
                  <a:pt x="477" y="570"/>
                </a:cubicBezTo>
                <a:cubicBezTo>
                  <a:pt x="468" y="540"/>
                  <a:pt x="468" y="540"/>
                  <a:pt x="468" y="540"/>
                </a:cubicBezTo>
                <a:cubicBezTo>
                  <a:pt x="480" y="532"/>
                  <a:pt x="491" y="523"/>
                  <a:pt x="502" y="513"/>
                </a:cubicBezTo>
                <a:cubicBezTo>
                  <a:pt x="529" y="528"/>
                  <a:pt x="529" y="528"/>
                  <a:pt x="529" y="528"/>
                </a:cubicBezTo>
                <a:cubicBezTo>
                  <a:pt x="538" y="519"/>
                  <a:pt x="538" y="519"/>
                  <a:pt x="538" y="519"/>
                </a:cubicBezTo>
                <a:cubicBezTo>
                  <a:pt x="547" y="509"/>
                  <a:pt x="547" y="509"/>
                  <a:pt x="547" y="509"/>
                </a:cubicBezTo>
                <a:cubicBezTo>
                  <a:pt x="529" y="483"/>
                  <a:pt x="529" y="483"/>
                  <a:pt x="529" y="483"/>
                </a:cubicBezTo>
                <a:cubicBezTo>
                  <a:pt x="538" y="472"/>
                  <a:pt x="546" y="460"/>
                  <a:pt x="553" y="448"/>
                </a:cubicBezTo>
                <a:cubicBezTo>
                  <a:pt x="584" y="454"/>
                  <a:pt x="584" y="454"/>
                  <a:pt x="584" y="454"/>
                </a:cubicBezTo>
                <a:cubicBezTo>
                  <a:pt x="589" y="442"/>
                  <a:pt x="589" y="442"/>
                  <a:pt x="589" y="442"/>
                </a:cubicBezTo>
                <a:cubicBezTo>
                  <a:pt x="595" y="430"/>
                  <a:pt x="595" y="430"/>
                  <a:pt x="595" y="430"/>
                </a:cubicBezTo>
                <a:cubicBezTo>
                  <a:pt x="571" y="411"/>
                  <a:pt x="571" y="411"/>
                  <a:pt x="571" y="411"/>
                </a:cubicBezTo>
                <a:cubicBezTo>
                  <a:pt x="572" y="408"/>
                  <a:pt x="573" y="405"/>
                  <a:pt x="574" y="402"/>
                </a:cubicBezTo>
                <a:cubicBezTo>
                  <a:pt x="576" y="395"/>
                  <a:pt x="576" y="395"/>
                  <a:pt x="576" y="395"/>
                </a:cubicBezTo>
                <a:cubicBezTo>
                  <a:pt x="579" y="386"/>
                  <a:pt x="581" y="378"/>
                  <a:pt x="583" y="370"/>
                </a:cubicBezTo>
                <a:cubicBezTo>
                  <a:pt x="614" y="367"/>
                  <a:pt x="614" y="367"/>
                  <a:pt x="614" y="367"/>
                </a:cubicBezTo>
                <a:cubicBezTo>
                  <a:pt x="616" y="354"/>
                  <a:pt x="616" y="354"/>
                  <a:pt x="616" y="354"/>
                </a:cubicBezTo>
                <a:cubicBezTo>
                  <a:pt x="618" y="341"/>
                  <a:pt x="618" y="341"/>
                  <a:pt x="618" y="341"/>
                </a:cubicBezTo>
                <a:cubicBezTo>
                  <a:pt x="589" y="329"/>
                  <a:pt x="589" y="329"/>
                  <a:pt x="589" y="329"/>
                </a:cubicBezTo>
                <a:cubicBezTo>
                  <a:pt x="590" y="315"/>
                  <a:pt x="590" y="301"/>
                  <a:pt x="589" y="286"/>
                </a:cubicBezTo>
                <a:cubicBezTo>
                  <a:pt x="618" y="274"/>
                  <a:pt x="618" y="274"/>
                  <a:pt x="618" y="274"/>
                </a:cubicBezTo>
                <a:cubicBezTo>
                  <a:pt x="616" y="261"/>
                  <a:pt x="616" y="261"/>
                  <a:pt x="616" y="261"/>
                </a:cubicBezTo>
                <a:cubicBezTo>
                  <a:pt x="614" y="249"/>
                  <a:pt x="614" y="249"/>
                  <a:pt x="614" y="249"/>
                </a:cubicBezTo>
                <a:cubicBezTo>
                  <a:pt x="582" y="246"/>
                  <a:pt x="582" y="246"/>
                  <a:pt x="582" y="246"/>
                </a:cubicBezTo>
                <a:cubicBezTo>
                  <a:pt x="581" y="239"/>
                  <a:pt x="579" y="232"/>
                  <a:pt x="577" y="225"/>
                </a:cubicBezTo>
                <a:cubicBezTo>
                  <a:pt x="575" y="218"/>
                  <a:pt x="572" y="212"/>
                  <a:pt x="570" y="205"/>
                </a:cubicBezTo>
                <a:cubicBezTo>
                  <a:pt x="594" y="185"/>
                  <a:pt x="594" y="185"/>
                  <a:pt x="594" y="185"/>
                </a:cubicBezTo>
                <a:cubicBezTo>
                  <a:pt x="588" y="173"/>
                  <a:pt x="588" y="173"/>
                  <a:pt x="588" y="173"/>
                </a:cubicBezTo>
                <a:cubicBezTo>
                  <a:pt x="582" y="162"/>
                  <a:pt x="582" y="162"/>
                  <a:pt x="582" y="162"/>
                </a:cubicBezTo>
                <a:cubicBezTo>
                  <a:pt x="552" y="168"/>
                  <a:pt x="552" y="168"/>
                  <a:pt x="552" y="168"/>
                </a:cubicBezTo>
                <a:cubicBezTo>
                  <a:pt x="544" y="156"/>
                  <a:pt x="536" y="144"/>
                  <a:pt x="527" y="133"/>
                </a:cubicBezTo>
                <a:cubicBezTo>
                  <a:pt x="544" y="107"/>
                  <a:pt x="544" y="107"/>
                  <a:pt x="544" y="107"/>
                </a:cubicBezTo>
                <a:cubicBezTo>
                  <a:pt x="535" y="97"/>
                  <a:pt x="535" y="97"/>
                  <a:pt x="535" y="97"/>
                </a:cubicBezTo>
                <a:cubicBezTo>
                  <a:pt x="526" y="88"/>
                  <a:pt x="526" y="88"/>
                  <a:pt x="526" y="88"/>
                </a:cubicBezTo>
                <a:cubicBezTo>
                  <a:pt x="499" y="103"/>
                  <a:pt x="499" y="103"/>
                  <a:pt x="499" y="103"/>
                </a:cubicBezTo>
                <a:cubicBezTo>
                  <a:pt x="493" y="97"/>
                  <a:pt x="486" y="92"/>
                  <a:pt x="479" y="87"/>
                </a:cubicBezTo>
                <a:cubicBezTo>
                  <a:pt x="473" y="82"/>
                  <a:pt x="473" y="82"/>
                  <a:pt x="473" y="82"/>
                </a:cubicBezTo>
                <a:cubicBezTo>
                  <a:pt x="471" y="80"/>
                  <a:pt x="468" y="78"/>
                  <a:pt x="466" y="77"/>
                </a:cubicBezTo>
                <a:cubicBezTo>
                  <a:pt x="474" y="47"/>
                  <a:pt x="474" y="47"/>
                  <a:pt x="474" y="47"/>
                </a:cubicBezTo>
                <a:cubicBezTo>
                  <a:pt x="463" y="40"/>
                  <a:pt x="463" y="40"/>
                  <a:pt x="463" y="40"/>
                </a:cubicBezTo>
                <a:cubicBezTo>
                  <a:pt x="452" y="34"/>
                  <a:pt x="452" y="34"/>
                  <a:pt x="452" y="34"/>
                </a:cubicBezTo>
                <a:cubicBezTo>
                  <a:pt x="430" y="57"/>
                  <a:pt x="430" y="57"/>
                  <a:pt x="430" y="57"/>
                </a:cubicBezTo>
                <a:cubicBezTo>
                  <a:pt x="417" y="50"/>
                  <a:pt x="404" y="45"/>
                  <a:pt x="390" y="41"/>
                </a:cubicBezTo>
                <a:cubicBezTo>
                  <a:pt x="390" y="10"/>
                  <a:pt x="390" y="10"/>
                  <a:pt x="390" y="10"/>
                </a:cubicBezTo>
                <a:cubicBezTo>
                  <a:pt x="377" y="7"/>
                  <a:pt x="377" y="7"/>
                  <a:pt x="377" y="7"/>
                </a:cubicBezTo>
                <a:cubicBezTo>
                  <a:pt x="364" y="4"/>
                  <a:pt x="364" y="4"/>
                  <a:pt x="364" y="4"/>
                </a:cubicBezTo>
                <a:cubicBezTo>
                  <a:pt x="350" y="32"/>
                  <a:pt x="350" y="32"/>
                  <a:pt x="350" y="32"/>
                </a:cubicBezTo>
                <a:cubicBezTo>
                  <a:pt x="336" y="30"/>
                  <a:pt x="322" y="29"/>
                  <a:pt x="307" y="29"/>
                </a:cubicBezTo>
                <a:cubicBezTo>
                  <a:pt x="298" y="0"/>
                  <a:pt x="298" y="0"/>
                  <a:pt x="298" y="0"/>
                </a:cubicBezTo>
                <a:cubicBezTo>
                  <a:pt x="285" y="1"/>
                  <a:pt x="285" y="1"/>
                  <a:pt x="285" y="1"/>
                </a:cubicBezTo>
                <a:cubicBezTo>
                  <a:pt x="272" y="2"/>
                  <a:pt x="272" y="2"/>
                  <a:pt x="272" y="2"/>
                </a:cubicBezTo>
                <a:cubicBezTo>
                  <a:pt x="267" y="33"/>
                  <a:pt x="267" y="33"/>
                  <a:pt x="267" y="33"/>
                </a:cubicBezTo>
                <a:cubicBezTo>
                  <a:pt x="253" y="35"/>
                  <a:pt x="239" y="38"/>
                  <a:pt x="225" y="42"/>
                </a:cubicBezTo>
                <a:close/>
                <a:moveTo>
                  <a:pt x="156" y="121"/>
                </a:moveTo>
                <a:cubicBezTo>
                  <a:pt x="198" y="255"/>
                  <a:pt x="198" y="255"/>
                  <a:pt x="198" y="255"/>
                </a:cubicBezTo>
                <a:cubicBezTo>
                  <a:pt x="201" y="266"/>
                  <a:pt x="197" y="279"/>
                  <a:pt x="188" y="286"/>
                </a:cubicBezTo>
                <a:cubicBezTo>
                  <a:pt x="73" y="367"/>
                  <a:pt x="73" y="367"/>
                  <a:pt x="73" y="367"/>
                </a:cubicBezTo>
                <a:cubicBezTo>
                  <a:pt x="50" y="274"/>
                  <a:pt x="84" y="179"/>
                  <a:pt x="156" y="121"/>
                </a:cubicBezTo>
                <a:close/>
                <a:moveTo>
                  <a:pt x="228" y="335"/>
                </a:moveTo>
                <a:cubicBezTo>
                  <a:pt x="214" y="291"/>
                  <a:pt x="239" y="243"/>
                  <a:pt x="284" y="229"/>
                </a:cubicBezTo>
                <a:cubicBezTo>
                  <a:pt x="328" y="215"/>
                  <a:pt x="375" y="240"/>
                  <a:pt x="389" y="284"/>
                </a:cubicBezTo>
                <a:cubicBezTo>
                  <a:pt x="404" y="329"/>
                  <a:pt x="379" y="376"/>
                  <a:pt x="334" y="390"/>
                </a:cubicBezTo>
                <a:cubicBezTo>
                  <a:pt x="290" y="404"/>
                  <a:pt x="242" y="380"/>
                  <a:pt x="228" y="335"/>
                </a:cubicBezTo>
                <a:close/>
                <a:moveTo>
                  <a:pt x="82" y="398"/>
                </a:moveTo>
                <a:cubicBezTo>
                  <a:pt x="223" y="399"/>
                  <a:pt x="223" y="399"/>
                  <a:pt x="223" y="399"/>
                </a:cubicBezTo>
                <a:cubicBezTo>
                  <a:pt x="235" y="399"/>
                  <a:pt x="246" y="407"/>
                  <a:pt x="249" y="418"/>
                </a:cubicBezTo>
                <a:cubicBezTo>
                  <a:pt x="291" y="552"/>
                  <a:pt x="291" y="552"/>
                  <a:pt x="291" y="552"/>
                </a:cubicBezTo>
                <a:cubicBezTo>
                  <a:pt x="200" y="546"/>
                  <a:pt x="117" y="487"/>
                  <a:pt x="82" y="398"/>
                </a:cubicBezTo>
                <a:close/>
                <a:moveTo>
                  <a:pt x="534" y="402"/>
                </a:moveTo>
                <a:cubicBezTo>
                  <a:pt x="507" y="466"/>
                  <a:pt x="454" y="519"/>
                  <a:pt x="382" y="542"/>
                </a:cubicBezTo>
                <a:cubicBezTo>
                  <a:pt x="363" y="548"/>
                  <a:pt x="343" y="551"/>
                  <a:pt x="323" y="552"/>
                </a:cubicBezTo>
                <a:cubicBezTo>
                  <a:pt x="368" y="419"/>
                  <a:pt x="368" y="419"/>
                  <a:pt x="368" y="419"/>
                </a:cubicBezTo>
                <a:cubicBezTo>
                  <a:pt x="372" y="408"/>
                  <a:pt x="382" y="400"/>
                  <a:pt x="394" y="401"/>
                </a:cubicBezTo>
                <a:lnTo>
                  <a:pt x="534" y="402"/>
                </a:lnTo>
                <a:close/>
                <a:moveTo>
                  <a:pt x="541" y="237"/>
                </a:moveTo>
                <a:cubicBezTo>
                  <a:pt x="555" y="282"/>
                  <a:pt x="555" y="328"/>
                  <a:pt x="544" y="371"/>
                </a:cubicBezTo>
                <a:cubicBezTo>
                  <a:pt x="437" y="291"/>
                  <a:pt x="437" y="291"/>
                  <a:pt x="437" y="291"/>
                </a:cubicBezTo>
                <a:cubicBezTo>
                  <a:pt x="424" y="282"/>
                  <a:pt x="419" y="266"/>
                  <a:pt x="424" y="251"/>
                </a:cubicBezTo>
                <a:cubicBezTo>
                  <a:pt x="467" y="125"/>
                  <a:pt x="467" y="125"/>
                  <a:pt x="467" y="125"/>
                </a:cubicBezTo>
                <a:cubicBezTo>
                  <a:pt x="500" y="153"/>
                  <a:pt x="527" y="191"/>
                  <a:pt x="541" y="237"/>
                </a:cubicBezTo>
                <a:close/>
                <a:moveTo>
                  <a:pt x="441" y="105"/>
                </a:moveTo>
                <a:cubicBezTo>
                  <a:pt x="327" y="186"/>
                  <a:pt x="327" y="186"/>
                  <a:pt x="327" y="186"/>
                </a:cubicBezTo>
                <a:cubicBezTo>
                  <a:pt x="317" y="193"/>
                  <a:pt x="304" y="193"/>
                  <a:pt x="295" y="186"/>
                </a:cubicBezTo>
                <a:cubicBezTo>
                  <a:pt x="182" y="102"/>
                  <a:pt x="182" y="102"/>
                  <a:pt x="182" y="102"/>
                </a:cubicBezTo>
                <a:cubicBezTo>
                  <a:pt x="198" y="92"/>
                  <a:pt x="216" y="84"/>
                  <a:pt x="236" y="78"/>
                </a:cubicBezTo>
                <a:cubicBezTo>
                  <a:pt x="308" y="55"/>
                  <a:pt x="382" y="68"/>
                  <a:pt x="441" y="105"/>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91176" name="Freeform 119"/>
          <p:cNvSpPr>
            <a:spLocks noEditPoints="1"/>
          </p:cNvSpPr>
          <p:nvPr/>
        </p:nvSpPr>
        <p:spPr bwMode="auto">
          <a:xfrm>
            <a:off x="6683375" y="3328988"/>
            <a:ext cx="736600" cy="739775"/>
          </a:xfrm>
          <a:custGeom>
            <a:avLst/>
            <a:gdLst>
              <a:gd name="T0" fmla="*/ 555958 w 310"/>
              <a:gd name="T1" fmla="*/ 624184 h 310"/>
              <a:gd name="T2" fmla="*/ 624859 w 310"/>
              <a:gd name="T3" fmla="*/ 633713 h 310"/>
              <a:gd name="T4" fmla="*/ 627235 w 310"/>
              <a:gd name="T5" fmla="*/ 595595 h 310"/>
              <a:gd name="T6" fmla="*/ 665249 w 310"/>
              <a:gd name="T7" fmla="*/ 557477 h 310"/>
              <a:gd name="T8" fmla="*/ 686632 w 310"/>
              <a:gd name="T9" fmla="*/ 514594 h 310"/>
              <a:gd name="T10" fmla="*/ 684256 w 310"/>
              <a:gd name="T11" fmla="*/ 457417 h 310"/>
              <a:gd name="T12" fmla="*/ 731774 w 310"/>
              <a:gd name="T13" fmla="*/ 438358 h 310"/>
              <a:gd name="T14" fmla="*/ 681881 w 310"/>
              <a:gd name="T15" fmla="*/ 390710 h 310"/>
              <a:gd name="T16" fmla="*/ 736526 w 310"/>
              <a:gd name="T17" fmla="*/ 347828 h 310"/>
              <a:gd name="T18" fmla="*/ 708015 w 310"/>
              <a:gd name="T19" fmla="*/ 321621 h 310"/>
              <a:gd name="T20" fmla="*/ 703264 w 310"/>
              <a:gd name="T21" fmla="*/ 266827 h 310"/>
              <a:gd name="T22" fmla="*/ 689008 w 310"/>
              <a:gd name="T23" fmla="*/ 223944 h 310"/>
              <a:gd name="T24" fmla="*/ 655746 w 310"/>
              <a:gd name="T25" fmla="*/ 181061 h 310"/>
              <a:gd name="T26" fmla="*/ 658122 w 310"/>
              <a:gd name="T27" fmla="*/ 140560 h 310"/>
              <a:gd name="T28" fmla="*/ 593973 w 310"/>
              <a:gd name="T29" fmla="*/ 147708 h 310"/>
              <a:gd name="T30" fmla="*/ 593973 w 310"/>
              <a:gd name="T31" fmla="*/ 76236 h 310"/>
              <a:gd name="T32" fmla="*/ 553582 w 310"/>
              <a:gd name="T33" fmla="*/ 81001 h 310"/>
              <a:gd name="T34" fmla="*/ 508441 w 310"/>
              <a:gd name="T35" fmla="*/ 54795 h 310"/>
              <a:gd name="T36" fmla="*/ 489433 w 310"/>
              <a:gd name="T37" fmla="*/ 19059 h 310"/>
              <a:gd name="T38" fmla="*/ 434788 w 310"/>
              <a:gd name="T39" fmla="*/ 59560 h 310"/>
              <a:gd name="T40" fmla="*/ 401525 w 310"/>
              <a:gd name="T41" fmla="*/ 0 h 310"/>
              <a:gd name="T42" fmla="*/ 370639 w 310"/>
              <a:gd name="T43" fmla="*/ 26206 h 310"/>
              <a:gd name="T44" fmla="*/ 315993 w 310"/>
              <a:gd name="T45" fmla="*/ 21441 h 310"/>
              <a:gd name="T46" fmla="*/ 270851 w 310"/>
              <a:gd name="T47" fmla="*/ 30971 h 310"/>
              <a:gd name="T48" fmla="*/ 223334 w 310"/>
              <a:gd name="T49" fmla="*/ 57177 h 310"/>
              <a:gd name="T50" fmla="*/ 197199 w 310"/>
              <a:gd name="T51" fmla="*/ 40500 h 310"/>
              <a:gd name="T52" fmla="*/ 185319 w 310"/>
              <a:gd name="T53" fmla="*/ 81001 h 310"/>
              <a:gd name="T54" fmla="*/ 137802 w 310"/>
              <a:gd name="T55" fmla="*/ 104825 h 310"/>
              <a:gd name="T56" fmla="*/ 104539 w 310"/>
              <a:gd name="T57" fmla="*/ 138178 h 310"/>
              <a:gd name="T58" fmla="*/ 78404 w 310"/>
              <a:gd name="T59" fmla="*/ 185826 h 310"/>
              <a:gd name="T60" fmla="*/ 40390 w 310"/>
              <a:gd name="T61" fmla="*/ 200120 h 310"/>
              <a:gd name="T62" fmla="*/ 73653 w 310"/>
              <a:gd name="T63" fmla="*/ 259679 h 310"/>
              <a:gd name="T64" fmla="*/ 9504 w 310"/>
              <a:gd name="T65" fmla="*/ 283503 h 310"/>
              <a:gd name="T66" fmla="*/ 30887 w 310"/>
              <a:gd name="T67" fmla="*/ 319239 h 310"/>
              <a:gd name="T68" fmla="*/ 19007 w 310"/>
              <a:gd name="T69" fmla="*/ 371651 h 310"/>
              <a:gd name="T70" fmla="*/ 21383 w 310"/>
              <a:gd name="T71" fmla="*/ 419299 h 310"/>
              <a:gd name="T72" fmla="*/ 40390 w 310"/>
              <a:gd name="T73" fmla="*/ 469329 h 310"/>
              <a:gd name="T74" fmla="*/ 26135 w 310"/>
              <a:gd name="T75" fmla="*/ 507447 h 310"/>
              <a:gd name="T76" fmla="*/ 92660 w 310"/>
              <a:gd name="T77" fmla="*/ 521741 h 310"/>
              <a:gd name="T78" fmla="*/ 68901 w 310"/>
              <a:gd name="T79" fmla="*/ 586066 h 310"/>
              <a:gd name="T80" fmla="*/ 109291 w 310"/>
              <a:gd name="T81" fmla="*/ 593213 h 310"/>
              <a:gd name="T82" fmla="*/ 142553 w 310"/>
              <a:gd name="T83" fmla="*/ 636096 h 310"/>
              <a:gd name="T84" fmla="*/ 178192 w 310"/>
              <a:gd name="T85" fmla="*/ 664684 h 310"/>
              <a:gd name="T86" fmla="*/ 230461 w 310"/>
              <a:gd name="T87" fmla="*/ 683743 h 310"/>
              <a:gd name="T88" fmla="*/ 247093 w 310"/>
              <a:gd name="T89" fmla="*/ 719479 h 310"/>
              <a:gd name="T90" fmla="*/ 299362 w 310"/>
              <a:gd name="T91" fmla="*/ 676596 h 310"/>
              <a:gd name="T92" fmla="*/ 337376 w 310"/>
              <a:gd name="T93" fmla="*/ 736156 h 310"/>
              <a:gd name="T94" fmla="*/ 368263 w 310"/>
              <a:gd name="T95" fmla="*/ 712332 h 310"/>
              <a:gd name="T96" fmla="*/ 420533 w 310"/>
              <a:gd name="T97" fmla="*/ 717097 h 310"/>
              <a:gd name="T98" fmla="*/ 468050 w 310"/>
              <a:gd name="T99" fmla="*/ 707567 h 310"/>
              <a:gd name="T100" fmla="*/ 515568 w 310"/>
              <a:gd name="T101" fmla="*/ 681361 h 310"/>
              <a:gd name="T102" fmla="*/ 539327 w 310"/>
              <a:gd name="T103" fmla="*/ 695655 h 310"/>
              <a:gd name="T104" fmla="*/ 304114 w 310"/>
              <a:gd name="T105" fmla="*/ 285886 h 310"/>
              <a:gd name="T106" fmla="*/ 335001 w 310"/>
              <a:gd name="T107" fmla="*/ 295415 h 310"/>
              <a:gd name="T108" fmla="*/ 470426 w 310"/>
              <a:gd name="T109" fmla="*/ 340680 h 310"/>
              <a:gd name="T110" fmla="*/ 479930 w 310"/>
              <a:gd name="T111" fmla="*/ 309709 h 310"/>
              <a:gd name="T112" fmla="*/ 299362 w 310"/>
              <a:gd name="T113" fmla="*/ 402622 h 310"/>
              <a:gd name="T114" fmla="*/ 315993 w 310"/>
              <a:gd name="T115" fmla="*/ 395475 h 310"/>
              <a:gd name="T116" fmla="*/ 394398 w 310"/>
              <a:gd name="T117" fmla="*/ 421681 h 310"/>
              <a:gd name="T118" fmla="*/ 406277 w 310"/>
              <a:gd name="T119" fmla="*/ 438358 h 310"/>
              <a:gd name="T120" fmla="*/ 396774 w 310"/>
              <a:gd name="T121" fmla="*/ 469329 h 3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10" h="310">
                <a:moveTo>
                  <a:pt x="235" y="279"/>
                </a:moveTo>
                <a:cubicBezTo>
                  <a:pt x="233" y="276"/>
                  <a:pt x="233" y="276"/>
                  <a:pt x="233" y="276"/>
                </a:cubicBezTo>
                <a:cubicBezTo>
                  <a:pt x="230" y="272"/>
                  <a:pt x="230" y="266"/>
                  <a:pt x="234" y="262"/>
                </a:cubicBezTo>
                <a:cubicBezTo>
                  <a:pt x="239" y="257"/>
                  <a:pt x="247" y="258"/>
                  <a:pt x="251" y="263"/>
                </a:cubicBezTo>
                <a:cubicBezTo>
                  <a:pt x="253" y="266"/>
                  <a:pt x="253" y="266"/>
                  <a:pt x="253" y="266"/>
                </a:cubicBezTo>
                <a:cubicBezTo>
                  <a:pt x="255" y="269"/>
                  <a:pt x="260" y="269"/>
                  <a:pt x="263" y="266"/>
                </a:cubicBezTo>
                <a:cubicBezTo>
                  <a:pt x="265" y="265"/>
                  <a:pt x="266" y="264"/>
                  <a:pt x="268" y="262"/>
                </a:cubicBezTo>
                <a:cubicBezTo>
                  <a:pt x="270" y="259"/>
                  <a:pt x="270" y="254"/>
                  <a:pt x="267" y="252"/>
                </a:cubicBezTo>
                <a:cubicBezTo>
                  <a:pt x="264" y="250"/>
                  <a:pt x="264" y="250"/>
                  <a:pt x="264" y="250"/>
                </a:cubicBezTo>
                <a:cubicBezTo>
                  <a:pt x="260" y="246"/>
                  <a:pt x="258" y="240"/>
                  <a:pt x="261" y="235"/>
                </a:cubicBezTo>
                <a:cubicBezTo>
                  <a:pt x="264" y="229"/>
                  <a:pt x="272" y="228"/>
                  <a:pt x="277" y="232"/>
                </a:cubicBezTo>
                <a:cubicBezTo>
                  <a:pt x="280" y="234"/>
                  <a:pt x="280" y="234"/>
                  <a:pt x="280" y="234"/>
                </a:cubicBezTo>
                <a:cubicBezTo>
                  <a:pt x="283" y="236"/>
                  <a:pt x="288" y="235"/>
                  <a:pt x="290" y="232"/>
                </a:cubicBezTo>
                <a:cubicBezTo>
                  <a:pt x="291" y="230"/>
                  <a:pt x="292" y="228"/>
                  <a:pt x="293" y="226"/>
                </a:cubicBezTo>
                <a:cubicBezTo>
                  <a:pt x="295" y="222"/>
                  <a:pt x="293" y="218"/>
                  <a:pt x="289" y="216"/>
                </a:cubicBezTo>
                <a:cubicBezTo>
                  <a:pt x="286" y="215"/>
                  <a:pt x="286" y="215"/>
                  <a:pt x="286" y="215"/>
                </a:cubicBezTo>
                <a:cubicBezTo>
                  <a:pt x="280" y="213"/>
                  <a:pt x="277" y="206"/>
                  <a:pt x="280" y="200"/>
                </a:cubicBezTo>
                <a:cubicBezTo>
                  <a:pt x="277" y="195"/>
                  <a:pt x="282" y="189"/>
                  <a:pt x="288" y="192"/>
                </a:cubicBezTo>
                <a:cubicBezTo>
                  <a:pt x="297" y="195"/>
                  <a:pt x="297" y="195"/>
                  <a:pt x="297" y="195"/>
                </a:cubicBezTo>
                <a:cubicBezTo>
                  <a:pt x="301" y="197"/>
                  <a:pt x="305" y="195"/>
                  <a:pt x="306" y="190"/>
                </a:cubicBezTo>
                <a:cubicBezTo>
                  <a:pt x="307" y="188"/>
                  <a:pt x="307" y="186"/>
                  <a:pt x="308" y="184"/>
                </a:cubicBezTo>
                <a:cubicBezTo>
                  <a:pt x="308" y="180"/>
                  <a:pt x="305" y="176"/>
                  <a:pt x="301" y="176"/>
                </a:cubicBezTo>
                <a:cubicBezTo>
                  <a:pt x="298" y="176"/>
                  <a:pt x="298" y="176"/>
                  <a:pt x="298" y="176"/>
                </a:cubicBezTo>
                <a:cubicBezTo>
                  <a:pt x="291" y="175"/>
                  <a:pt x="287" y="170"/>
                  <a:pt x="287" y="164"/>
                </a:cubicBezTo>
                <a:cubicBezTo>
                  <a:pt x="288" y="157"/>
                  <a:pt x="293" y="153"/>
                  <a:pt x="300" y="153"/>
                </a:cubicBezTo>
                <a:cubicBezTo>
                  <a:pt x="303" y="154"/>
                  <a:pt x="303" y="154"/>
                  <a:pt x="303" y="154"/>
                </a:cubicBezTo>
                <a:cubicBezTo>
                  <a:pt x="307" y="154"/>
                  <a:pt x="310" y="151"/>
                  <a:pt x="310" y="146"/>
                </a:cubicBezTo>
                <a:cubicBezTo>
                  <a:pt x="310" y="144"/>
                  <a:pt x="310" y="142"/>
                  <a:pt x="310" y="140"/>
                </a:cubicBezTo>
                <a:cubicBezTo>
                  <a:pt x="309" y="136"/>
                  <a:pt x="305" y="133"/>
                  <a:pt x="301" y="134"/>
                </a:cubicBezTo>
                <a:cubicBezTo>
                  <a:pt x="298" y="135"/>
                  <a:pt x="298" y="135"/>
                  <a:pt x="298" y="135"/>
                </a:cubicBezTo>
                <a:cubicBezTo>
                  <a:pt x="292" y="136"/>
                  <a:pt x="286" y="132"/>
                  <a:pt x="285" y="126"/>
                </a:cubicBezTo>
                <a:cubicBezTo>
                  <a:pt x="283" y="120"/>
                  <a:pt x="287" y="114"/>
                  <a:pt x="293" y="113"/>
                </a:cubicBezTo>
                <a:cubicBezTo>
                  <a:pt x="296" y="112"/>
                  <a:pt x="296" y="112"/>
                  <a:pt x="296" y="112"/>
                </a:cubicBezTo>
                <a:cubicBezTo>
                  <a:pt x="300" y="111"/>
                  <a:pt x="303" y="107"/>
                  <a:pt x="301" y="103"/>
                </a:cubicBezTo>
                <a:cubicBezTo>
                  <a:pt x="301" y="101"/>
                  <a:pt x="300" y="99"/>
                  <a:pt x="299" y="97"/>
                </a:cubicBezTo>
                <a:cubicBezTo>
                  <a:pt x="298" y="93"/>
                  <a:pt x="293" y="92"/>
                  <a:pt x="290" y="94"/>
                </a:cubicBezTo>
                <a:cubicBezTo>
                  <a:pt x="286" y="95"/>
                  <a:pt x="286" y="95"/>
                  <a:pt x="286" y="95"/>
                </a:cubicBezTo>
                <a:cubicBezTo>
                  <a:pt x="281" y="98"/>
                  <a:pt x="274" y="96"/>
                  <a:pt x="271" y="91"/>
                </a:cubicBezTo>
                <a:cubicBezTo>
                  <a:pt x="268" y="85"/>
                  <a:pt x="270" y="79"/>
                  <a:pt x="276" y="76"/>
                </a:cubicBezTo>
                <a:cubicBezTo>
                  <a:pt x="279" y="74"/>
                  <a:pt x="279" y="74"/>
                  <a:pt x="279" y="74"/>
                </a:cubicBezTo>
                <a:cubicBezTo>
                  <a:pt x="282" y="72"/>
                  <a:pt x="283" y="67"/>
                  <a:pt x="281" y="64"/>
                </a:cubicBezTo>
                <a:cubicBezTo>
                  <a:pt x="280" y="62"/>
                  <a:pt x="278" y="61"/>
                  <a:pt x="277" y="59"/>
                </a:cubicBezTo>
                <a:cubicBezTo>
                  <a:pt x="275" y="56"/>
                  <a:pt x="270" y="55"/>
                  <a:pt x="267" y="58"/>
                </a:cubicBezTo>
                <a:cubicBezTo>
                  <a:pt x="264" y="61"/>
                  <a:pt x="264" y="61"/>
                  <a:pt x="264" y="61"/>
                </a:cubicBezTo>
                <a:cubicBezTo>
                  <a:pt x="260" y="64"/>
                  <a:pt x="254" y="65"/>
                  <a:pt x="250" y="62"/>
                </a:cubicBezTo>
                <a:cubicBezTo>
                  <a:pt x="244" y="58"/>
                  <a:pt x="244" y="50"/>
                  <a:pt x="249" y="45"/>
                </a:cubicBezTo>
                <a:cubicBezTo>
                  <a:pt x="251" y="43"/>
                  <a:pt x="251" y="43"/>
                  <a:pt x="251" y="43"/>
                </a:cubicBezTo>
                <a:cubicBezTo>
                  <a:pt x="254" y="40"/>
                  <a:pt x="254" y="35"/>
                  <a:pt x="250" y="32"/>
                </a:cubicBezTo>
                <a:cubicBezTo>
                  <a:pt x="249" y="31"/>
                  <a:pt x="247" y="30"/>
                  <a:pt x="245" y="28"/>
                </a:cubicBezTo>
                <a:cubicBezTo>
                  <a:pt x="242" y="26"/>
                  <a:pt x="237" y="27"/>
                  <a:pt x="235" y="31"/>
                </a:cubicBezTo>
                <a:cubicBezTo>
                  <a:pt x="233" y="34"/>
                  <a:pt x="233" y="34"/>
                  <a:pt x="233" y="34"/>
                </a:cubicBezTo>
                <a:cubicBezTo>
                  <a:pt x="230" y="39"/>
                  <a:pt x="223" y="41"/>
                  <a:pt x="218" y="38"/>
                </a:cubicBezTo>
                <a:cubicBezTo>
                  <a:pt x="218" y="38"/>
                  <a:pt x="218" y="38"/>
                  <a:pt x="218" y="38"/>
                </a:cubicBezTo>
                <a:cubicBezTo>
                  <a:pt x="213" y="35"/>
                  <a:pt x="211" y="28"/>
                  <a:pt x="214" y="23"/>
                </a:cubicBezTo>
                <a:cubicBezTo>
                  <a:pt x="215" y="20"/>
                  <a:pt x="215" y="20"/>
                  <a:pt x="215" y="20"/>
                </a:cubicBezTo>
                <a:cubicBezTo>
                  <a:pt x="217" y="17"/>
                  <a:pt x="216" y="12"/>
                  <a:pt x="212" y="10"/>
                </a:cubicBezTo>
                <a:cubicBezTo>
                  <a:pt x="210" y="10"/>
                  <a:pt x="208" y="9"/>
                  <a:pt x="206" y="8"/>
                </a:cubicBezTo>
                <a:cubicBezTo>
                  <a:pt x="202" y="7"/>
                  <a:pt x="198" y="9"/>
                  <a:pt x="197" y="13"/>
                </a:cubicBezTo>
                <a:cubicBezTo>
                  <a:pt x="196" y="17"/>
                  <a:pt x="196" y="17"/>
                  <a:pt x="196" y="17"/>
                </a:cubicBezTo>
                <a:cubicBezTo>
                  <a:pt x="195" y="23"/>
                  <a:pt x="189" y="27"/>
                  <a:pt x="183" y="25"/>
                </a:cubicBezTo>
                <a:cubicBezTo>
                  <a:pt x="177" y="24"/>
                  <a:pt x="173" y="18"/>
                  <a:pt x="174" y="12"/>
                </a:cubicBezTo>
                <a:cubicBezTo>
                  <a:pt x="175" y="9"/>
                  <a:pt x="175" y="9"/>
                  <a:pt x="175" y="9"/>
                </a:cubicBezTo>
                <a:cubicBezTo>
                  <a:pt x="176" y="5"/>
                  <a:pt x="173" y="1"/>
                  <a:pt x="169" y="0"/>
                </a:cubicBezTo>
                <a:cubicBezTo>
                  <a:pt x="167" y="0"/>
                  <a:pt x="165" y="0"/>
                  <a:pt x="163" y="0"/>
                </a:cubicBezTo>
                <a:cubicBezTo>
                  <a:pt x="158" y="0"/>
                  <a:pt x="155" y="3"/>
                  <a:pt x="155" y="7"/>
                </a:cubicBezTo>
                <a:cubicBezTo>
                  <a:pt x="156" y="11"/>
                  <a:pt x="156" y="11"/>
                  <a:pt x="156" y="11"/>
                </a:cubicBezTo>
                <a:cubicBezTo>
                  <a:pt x="156" y="17"/>
                  <a:pt x="151" y="22"/>
                  <a:pt x="145" y="23"/>
                </a:cubicBezTo>
                <a:cubicBezTo>
                  <a:pt x="139" y="23"/>
                  <a:pt x="134" y="18"/>
                  <a:pt x="133" y="12"/>
                </a:cubicBezTo>
                <a:cubicBezTo>
                  <a:pt x="133" y="9"/>
                  <a:pt x="133" y="9"/>
                  <a:pt x="133" y="9"/>
                </a:cubicBezTo>
                <a:cubicBezTo>
                  <a:pt x="133" y="5"/>
                  <a:pt x="129" y="2"/>
                  <a:pt x="125" y="3"/>
                </a:cubicBezTo>
                <a:cubicBezTo>
                  <a:pt x="123" y="3"/>
                  <a:pt x="121" y="4"/>
                  <a:pt x="119" y="4"/>
                </a:cubicBezTo>
                <a:cubicBezTo>
                  <a:pt x="115" y="5"/>
                  <a:pt x="112" y="9"/>
                  <a:pt x="114" y="13"/>
                </a:cubicBezTo>
                <a:cubicBezTo>
                  <a:pt x="115" y="17"/>
                  <a:pt x="115" y="17"/>
                  <a:pt x="115" y="17"/>
                </a:cubicBezTo>
                <a:cubicBezTo>
                  <a:pt x="117" y="23"/>
                  <a:pt x="114" y="29"/>
                  <a:pt x="108" y="31"/>
                </a:cubicBezTo>
                <a:cubicBezTo>
                  <a:pt x="102" y="33"/>
                  <a:pt x="96" y="30"/>
                  <a:pt x="94" y="24"/>
                </a:cubicBezTo>
                <a:cubicBezTo>
                  <a:pt x="93" y="21"/>
                  <a:pt x="93" y="21"/>
                  <a:pt x="93" y="21"/>
                </a:cubicBezTo>
                <a:cubicBezTo>
                  <a:pt x="92" y="17"/>
                  <a:pt x="87" y="15"/>
                  <a:pt x="83" y="17"/>
                </a:cubicBezTo>
                <a:cubicBezTo>
                  <a:pt x="83" y="17"/>
                  <a:pt x="83" y="17"/>
                  <a:pt x="83" y="17"/>
                </a:cubicBezTo>
                <a:cubicBezTo>
                  <a:pt x="81" y="18"/>
                  <a:pt x="79" y="19"/>
                  <a:pt x="78" y="21"/>
                </a:cubicBezTo>
                <a:cubicBezTo>
                  <a:pt x="74" y="23"/>
                  <a:pt x="73" y="27"/>
                  <a:pt x="75" y="31"/>
                </a:cubicBezTo>
                <a:cubicBezTo>
                  <a:pt x="78" y="34"/>
                  <a:pt x="78" y="34"/>
                  <a:pt x="78" y="34"/>
                </a:cubicBezTo>
                <a:cubicBezTo>
                  <a:pt x="81" y="39"/>
                  <a:pt x="80" y="46"/>
                  <a:pt x="75" y="49"/>
                </a:cubicBezTo>
                <a:cubicBezTo>
                  <a:pt x="70" y="53"/>
                  <a:pt x="63" y="52"/>
                  <a:pt x="60" y="47"/>
                </a:cubicBezTo>
                <a:cubicBezTo>
                  <a:pt x="58" y="44"/>
                  <a:pt x="58" y="44"/>
                  <a:pt x="58" y="44"/>
                </a:cubicBezTo>
                <a:cubicBezTo>
                  <a:pt x="55" y="41"/>
                  <a:pt x="50" y="40"/>
                  <a:pt x="47" y="43"/>
                </a:cubicBezTo>
                <a:cubicBezTo>
                  <a:pt x="46" y="45"/>
                  <a:pt x="44" y="46"/>
                  <a:pt x="43" y="48"/>
                </a:cubicBezTo>
                <a:cubicBezTo>
                  <a:pt x="40" y="51"/>
                  <a:pt x="40" y="56"/>
                  <a:pt x="44" y="58"/>
                </a:cubicBezTo>
                <a:cubicBezTo>
                  <a:pt x="47" y="60"/>
                  <a:pt x="47" y="60"/>
                  <a:pt x="47" y="60"/>
                </a:cubicBezTo>
                <a:cubicBezTo>
                  <a:pt x="52" y="64"/>
                  <a:pt x="52" y="71"/>
                  <a:pt x="49" y="76"/>
                </a:cubicBezTo>
                <a:cubicBezTo>
                  <a:pt x="45" y="81"/>
                  <a:pt x="38" y="82"/>
                  <a:pt x="33" y="78"/>
                </a:cubicBezTo>
                <a:cubicBezTo>
                  <a:pt x="31" y="76"/>
                  <a:pt x="31" y="76"/>
                  <a:pt x="31" y="76"/>
                </a:cubicBezTo>
                <a:cubicBezTo>
                  <a:pt x="27" y="74"/>
                  <a:pt x="22" y="75"/>
                  <a:pt x="20" y="78"/>
                </a:cubicBezTo>
                <a:cubicBezTo>
                  <a:pt x="19" y="80"/>
                  <a:pt x="18" y="82"/>
                  <a:pt x="17" y="84"/>
                </a:cubicBezTo>
                <a:cubicBezTo>
                  <a:pt x="15" y="87"/>
                  <a:pt x="17" y="92"/>
                  <a:pt x="21" y="93"/>
                </a:cubicBezTo>
                <a:cubicBezTo>
                  <a:pt x="24" y="95"/>
                  <a:pt x="24" y="95"/>
                  <a:pt x="24" y="95"/>
                </a:cubicBezTo>
                <a:cubicBezTo>
                  <a:pt x="30" y="97"/>
                  <a:pt x="33" y="104"/>
                  <a:pt x="31" y="109"/>
                </a:cubicBezTo>
                <a:cubicBezTo>
                  <a:pt x="34" y="114"/>
                  <a:pt x="28" y="120"/>
                  <a:pt x="23" y="118"/>
                </a:cubicBezTo>
                <a:cubicBezTo>
                  <a:pt x="14" y="114"/>
                  <a:pt x="14" y="114"/>
                  <a:pt x="14" y="114"/>
                </a:cubicBezTo>
                <a:cubicBezTo>
                  <a:pt x="10" y="113"/>
                  <a:pt x="5" y="115"/>
                  <a:pt x="4" y="119"/>
                </a:cubicBezTo>
                <a:cubicBezTo>
                  <a:pt x="4" y="121"/>
                  <a:pt x="3" y="123"/>
                  <a:pt x="3" y="125"/>
                </a:cubicBezTo>
                <a:cubicBezTo>
                  <a:pt x="2" y="130"/>
                  <a:pt x="5" y="133"/>
                  <a:pt x="9" y="134"/>
                </a:cubicBezTo>
                <a:cubicBezTo>
                  <a:pt x="13" y="134"/>
                  <a:pt x="13" y="134"/>
                  <a:pt x="13" y="134"/>
                </a:cubicBezTo>
                <a:cubicBezTo>
                  <a:pt x="18" y="135"/>
                  <a:pt x="23" y="139"/>
                  <a:pt x="23" y="144"/>
                </a:cubicBezTo>
                <a:cubicBezTo>
                  <a:pt x="24" y="151"/>
                  <a:pt x="18" y="157"/>
                  <a:pt x="11" y="156"/>
                </a:cubicBezTo>
                <a:cubicBezTo>
                  <a:pt x="8" y="156"/>
                  <a:pt x="8" y="156"/>
                  <a:pt x="8" y="156"/>
                </a:cubicBezTo>
                <a:cubicBezTo>
                  <a:pt x="4" y="156"/>
                  <a:pt x="0" y="159"/>
                  <a:pt x="0" y="163"/>
                </a:cubicBezTo>
                <a:cubicBezTo>
                  <a:pt x="0" y="165"/>
                  <a:pt x="1" y="168"/>
                  <a:pt x="1" y="170"/>
                </a:cubicBezTo>
                <a:cubicBezTo>
                  <a:pt x="1" y="174"/>
                  <a:pt x="5" y="177"/>
                  <a:pt x="9" y="176"/>
                </a:cubicBezTo>
                <a:cubicBezTo>
                  <a:pt x="13" y="175"/>
                  <a:pt x="13" y="175"/>
                  <a:pt x="13" y="175"/>
                </a:cubicBezTo>
                <a:cubicBezTo>
                  <a:pt x="18" y="174"/>
                  <a:pt x="23" y="177"/>
                  <a:pt x="25" y="182"/>
                </a:cubicBezTo>
                <a:cubicBezTo>
                  <a:pt x="28" y="188"/>
                  <a:pt x="24" y="196"/>
                  <a:pt x="17" y="197"/>
                </a:cubicBezTo>
                <a:cubicBezTo>
                  <a:pt x="14" y="198"/>
                  <a:pt x="14" y="198"/>
                  <a:pt x="14" y="198"/>
                </a:cubicBezTo>
                <a:cubicBezTo>
                  <a:pt x="10" y="198"/>
                  <a:pt x="8" y="203"/>
                  <a:pt x="9" y="207"/>
                </a:cubicBezTo>
                <a:cubicBezTo>
                  <a:pt x="10" y="209"/>
                  <a:pt x="10" y="211"/>
                  <a:pt x="11" y="213"/>
                </a:cubicBezTo>
                <a:cubicBezTo>
                  <a:pt x="13" y="216"/>
                  <a:pt x="17" y="218"/>
                  <a:pt x="21" y="216"/>
                </a:cubicBezTo>
                <a:cubicBezTo>
                  <a:pt x="24" y="214"/>
                  <a:pt x="24" y="214"/>
                  <a:pt x="24" y="214"/>
                </a:cubicBezTo>
                <a:cubicBezTo>
                  <a:pt x="30" y="212"/>
                  <a:pt x="36" y="214"/>
                  <a:pt x="39" y="219"/>
                </a:cubicBezTo>
                <a:cubicBezTo>
                  <a:pt x="42" y="224"/>
                  <a:pt x="40" y="231"/>
                  <a:pt x="35" y="234"/>
                </a:cubicBezTo>
                <a:cubicBezTo>
                  <a:pt x="32" y="236"/>
                  <a:pt x="32" y="236"/>
                  <a:pt x="32" y="236"/>
                </a:cubicBezTo>
                <a:cubicBezTo>
                  <a:pt x="28" y="238"/>
                  <a:pt x="27" y="242"/>
                  <a:pt x="29" y="246"/>
                </a:cubicBezTo>
                <a:cubicBezTo>
                  <a:pt x="31" y="248"/>
                  <a:pt x="32" y="249"/>
                  <a:pt x="33" y="251"/>
                </a:cubicBezTo>
                <a:cubicBezTo>
                  <a:pt x="36" y="254"/>
                  <a:pt x="41" y="254"/>
                  <a:pt x="44" y="252"/>
                </a:cubicBezTo>
                <a:cubicBezTo>
                  <a:pt x="46" y="249"/>
                  <a:pt x="46" y="249"/>
                  <a:pt x="46" y="249"/>
                </a:cubicBezTo>
                <a:cubicBezTo>
                  <a:pt x="50" y="245"/>
                  <a:pt x="56" y="245"/>
                  <a:pt x="61" y="248"/>
                </a:cubicBezTo>
                <a:cubicBezTo>
                  <a:pt x="66" y="252"/>
                  <a:pt x="67" y="260"/>
                  <a:pt x="62" y="265"/>
                </a:cubicBezTo>
                <a:cubicBezTo>
                  <a:pt x="60" y="267"/>
                  <a:pt x="60" y="267"/>
                  <a:pt x="60" y="267"/>
                </a:cubicBezTo>
                <a:cubicBezTo>
                  <a:pt x="57" y="270"/>
                  <a:pt x="57" y="275"/>
                  <a:pt x="60" y="278"/>
                </a:cubicBezTo>
                <a:cubicBezTo>
                  <a:pt x="62" y="279"/>
                  <a:pt x="63" y="280"/>
                  <a:pt x="65" y="281"/>
                </a:cubicBezTo>
                <a:cubicBezTo>
                  <a:pt x="69" y="284"/>
                  <a:pt x="73" y="283"/>
                  <a:pt x="75" y="279"/>
                </a:cubicBezTo>
                <a:cubicBezTo>
                  <a:pt x="77" y="276"/>
                  <a:pt x="77" y="276"/>
                  <a:pt x="77" y="276"/>
                </a:cubicBezTo>
                <a:cubicBezTo>
                  <a:pt x="80" y="271"/>
                  <a:pt x="85" y="269"/>
                  <a:pt x="91" y="271"/>
                </a:cubicBezTo>
                <a:cubicBezTo>
                  <a:pt x="97" y="273"/>
                  <a:pt x="100" y="281"/>
                  <a:pt x="97" y="287"/>
                </a:cubicBezTo>
                <a:cubicBezTo>
                  <a:pt x="95" y="289"/>
                  <a:pt x="95" y="289"/>
                  <a:pt x="95" y="289"/>
                </a:cubicBezTo>
                <a:cubicBezTo>
                  <a:pt x="93" y="293"/>
                  <a:pt x="95" y="298"/>
                  <a:pt x="99" y="299"/>
                </a:cubicBezTo>
                <a:cubicBezTo>
                  <a:pt x="101" y="300"/>
                  <a:pt x="102" y="301"/>
                  <a:pt x="104" y="302"/>
                </a:cubicBezTo>
                <a:cubicBezTo>
                  <a:pt x="108" y="303"/>
                  <a:pt x="113" y="301"/>
                  <a:pt x="114" y="297"/>
                </a:cubicBezTo>
                <a:cubicBezTo>
                  <a:pt x="114" y="293"/>
                  <a:pt x="114" y="293"/>
                  <a:pt x="114" y="293"/>
                </a:cubicBezTo>
                <a:cubicBezTo>
                  <a:pt x="116" y="288"/>
                  <a:pt x="120" y="284"/>
                  <a:pt x="126" y="284"/>
                </a:cubicBezTo>
                <a:cubicBezTo>
                  <a:pt x="133" y="285"/>
                  <a:pt x="138" y="291"/>
                  <a:pt x="136" y="298"/>
                </a:cubicBezTo>
                <a:cubicBezTo>
                  <a:pt x="135" y="301"/>
                  <a:pt x="135" y="301"/>
                  <a:pt x="135" y="301"/>
                </a:cubicBezTo>
                <a:cubicBezTo>
                  <a:pt x="134" y="305"/>
                  <a:pt x="137" y="309"/>
                  <a:pt x="142" y="309"/>
                </a:cubicBezTo>
                <a:cubicBezTo>
                  <a:pt x="144" y="310"/>
                  <a:pt x="146" y="310"/>
                  <a:pt x="148" y="310"/>
                </a:cubicBezTo>
                <a:cubicBezTo>
                  <a:pt x="152" y="310"/>
                  <a:pt x="155" y="307"/>
                  <a:pt x="155" y="303"/>
                </a:cubicBezTo>
                <a:cubicBezTo>
                  <a:pt x="155" y="299"/>
                  <a:pt x="155" y="299"/>
                  <a:pt x="155" y="299"/>
                </a:cubicBezTo>
                <a:cubicBezTo>
                  <a:pt x="155" y="293"/>
                  <a:pt x="159" y="287"/>
                  <a:pt x="165" y="287"/>
                </a:cubicBezTo>
                <a:cubicBezTo>
                  <a:pt x="171" y="284"/>
                  <a:pt x="177" y="288"/>
                  <a:pt x="177" y="294"/>
                </a:cubicBezTo>
                <a:cubicBezTo>
                  <a:pt x="177" y="301"/>
                  <a:pt x="177" y="301"/>
                  <a:pt x="177" y="301"/>
                </a:cubicBezTo>
                <a:cubicBezTo>
                  <a:pt x="178" y="305"/>
                  <a:pt x="182" y="308"/>
                  <a:pt x="186" y="307"/>
                </a:cubicBezTo>
                <a:cubicBezTo>
                  <a:pt x="188" y="307"/>
                  <a:pt x="190" y="306"/>
                  <a:pt x="192" y="306"/>
                </a:cubicBezTo>
                <a:cubicBezTo>
                  <a:pt x="196" y="305"/>
                  <a:pt x="198" y="300"/>
                  <a:pt x="197" y="297"/>
                </a:cubicBezTo>
                <a:cubicBezTo>
                  <a:pt x="195" y="293"/>
                  <a:pt x="195" y="293"/>
                  <a:pt x="195" y="293"/>
                </a:cubicBezTo>
                <a:cubicBezTo>
                  <a:pt x="193" y="287"/>
                  <a:pt x="197" y="279"/>
                  <a:pt x="204" y="278"/>
                </a:cubicBezTo>
                <a:cubicBezTo>
                  <a:pt x="210" y="277"/>
                  <a:pt x="215" y="281"/>
                  <a:pt x="217" y="286"/>
                </a:cubicBezTo>
                <a:cubicBezTo>
                  <a:pt x="217" y="288"/>
                  <a:pt x="217" y="288"/>
                  <a:pt x="217" y="288"/>
                </a:cubicBezTo>
                <a:cubicBezTo>
                  <a:pt x="219" y="292"/>
                  <a:pt x="224" y="294"/>
                  <a:pt x="227" y="292"/>
                </a:cubicBezTo>
                <a:cubicBezTo>
                  <a:pt x="227" y="292"/>
                  <a:pt x="227" y="292"/>
                  <a:pt x="227" y="292"/>
                </a:cubicBezTo>
                <a:cubicBezTo>
                  <a:pt x="229" y="291"/>
                  <a:pt x="231" y="290"/>
                  <a:pt x="233" y="289"/>
                </a:cubicBezTo>
                <a:cubicBezTo>
                  <a:pt x="236" y="287"/>
                  <a:pt x="237" y="282"/>
                  <a:pt x="235" y="279"/>
                </a:cubicBezTo>
                <a:close/>
                <a:moveTo>
                  <a:pt x="128" y="120"/>
                </a:moveTo>
                <a:cubicBezTo>
                  <a:pt x="125" y="116"/>
                  <a:pt x="127" y="110"/>
                  <a:pt x="132" y="108"/>
                </a:cubicBezTo>
                <a:cubicBezTo>
                  <a:pt x="136" y="105"/>
                  <a:pt x="142" y="107"/>
                  <a:pt x="145" y="111"/>
                </a:cubicBezTo>
                <a:cubicBezTo>
                  <a:pt x="147" y="116"/>
                  <a:pt x="145" y="122"/>
                  <a:pt x="141" y="124"/>
                </a:cubicBezTo>
                <a:cubicBezTo>
                  <a:pt x="136" y="127"/>
                  <a:pt x="130" y="125"/>
                  <a:pt x="128" y="120"/>
                </a:cubicBezTo>
                <a:close/>
                <a:moveTo>
                  <a:pt x="202" y="130"/>
                </a:moveTo>
                <a:cubicBezTo>
                  <a:pt x="205" y="135"/>
                  <a:pt x="203" y="140"/>
                  <a:pt x="198" y="143"/>
                </a:cubicBezTo>
                <a:cubicBezTo>
                  <a:pt x="194" y="145"/>
                  <a:pt x="188" y="144"/>
                  <a:pt x="186" y="139"/>
                </a:cubicBezTo>
                <a:cubicBezTo>
                  <a:pt x="183" y="134"/>
                  <a:pt x="185" y="129"/>
                  <a:pt x="190" y="126"/>
                </a:cubicBezTo>
                <a:cubicBezTo>
                  <a:pt x="194" y="124"/>
                  <a:pt x="200" y="126"/>
                  <a:pt x="202" y="130"/>
                </a:cubicBezTo>
                <a:close/>
                <a:moveTo>
                  <a:pt x="109" y="178"/>
                </a:moveTo>
                <a:cubicBezTo>
                  <a:pt x="107" y="174"/>
                  <a:pt x="108" y="168"/>
                  <a:pt x="113" y="165"/>
                </a:cubicBezTo>
                <a:cubicBezTo>
                  <a:pt x="118" y="163"/>
                  <a:pt x="123" y="165"/>
                  <a:pt x="126" y="169"/>
                </a:cubicBezTo>
                <a:cubicBezTo>
                  <a:pt x="128" y="174"/>
                  <a:pt x="126" y="180"/>
                  <a:pt x="122" y="182"/>
                </a:cubicBezTo>
                <a:cubicBezTo>
                  <a:pt x="117" y="185"/>
                  <a:pt x="112" y="183"/>
                  <a:pt x="109" y="178"/>
                </a:cubicBezTo>
                <a:close/>
                <a:moveTo>
                  <a:pt x="133" y="166"/>
                </a:moveTo>
                <a:cubicBezTo>
                  <a:pt x="127" y="154"/>
                  <a:pt x="132" y="140"/>
                  <a:pt x="144" y="133"/>
                </a:cubicBezTo>
                <a:cubicBezTo>
                  <a:pt x="156" y="127"/>
                  <a:pt x="170" y="132"/>
                  <a:pt x="177" y="144"/>
                </a:cubicBezTo>
                <a:cubicBezTo>
                  <a:pt x="183" y="156"/>
                  <a:pt x="178" y="170"/>
                  <a:pt x="166" y="177"/>
                </a:cubicBezTo>
                <a:cubicBezTo>
                  <a:pt x="155" y="183"/>
                  <a:pt x="140" y="178"/>
                  <a:pt x="133" y="166"/>
                </a:cubicBezTo>
                <a:close/>
                <a:moveTo>
                  <a:pt x="167" y="197"/>
                </a:moveTo>
                <a:cubicBezTo>
                  <a:pt x="165" y="192"/>
                  <a:pt x="166" y="187"/>
                  <a:pt x="171" y="184"/>
                </a:cubicBezTo>
                <a:cubicBezTo>
                  <a:pt x="176" y="182"/>
                  <a:pt x="181" y="183"/>
                  <a:pt x="184" y="188"/>
                </a:cubicBezTo>
                <a:cubicBezTo>
                  <a:pt x="186" y="193"/>
                  <a:pt x="184" y="198"/>
                  <a:pt x="180" y="201"/>
                </a:cubicBezTo>
                <a:cubicBezTo>
                  <a:pt x="175" y="203"/>
                  <a:pt x="169" y="202"/>
                  <a:pt x="167" y="197"/>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1177" name="Freeform 120"/>
          <p:cNvSpPr>
            <a:spLocks noEditPoints="1"/>
          </p:cNvSpPr>
          <p:nvPr/>
        </p:nvSpPr>
        <p:spPr bwMode="auto">
          <a:xfrm>
            <a:off x="9383713" y="1454150"/>
            <a:ext cx="452437" cy="450850"/>
          </a:xfrm>
          <a:custGeom>
            <a:avLst/>
            <a:gdLst>
              <a:gd name="T0" fmla="*/ 340779 w 190"/>
              <a:gd name="T1" fmla="*/ 379596 h 190"/>
              <a:gd name="T2" fmla="*/ 383674 w 190"/>
              <a:gd name="T3" fmla="*/ 386713 h 190"/>
              <a:gd name="T4" fmla="*/ 383674 w 190"/>
              <a:gd name="T5" fmla="*/ 362988 h 190"/>
              <a:gd name="T6" fmla="*/ 407505 w 190"/>
              <a:gd name="T7" fmla="*/ 339264 h 190"/>
              <a:gd name="T8" fmla="*/ 421803 w 190"/>
              <a:gd name="T9" fmla="*/ 315539 h 190"/>
              <a:gd name="T10" fmla="*/ 419420 w 190"/>
              <a:gd name="T11" fmla="*/ 279952 h 190"/>
              <a:gd name="T12" fmla="*/ 448017 w 190"/>
              <a:gd name="T13" fmla="*/ 268090 h 190"/>
              <a:gd name="T14" fmla="*/ 417037 w 190"/>
              <a:gd name="T15" fmla="*/ 237247 h 190"/>
              <a:gd name="T16" fmla="*/ 450400 w 190"/>
              <a:gd name="T17" fmla="*/ 213523 h 190"/>
              <a:gd name="T18" fmla="*/ 433718 w 190"/>
              <a:gd name="T19" fmla="*/ 196915 h 190"/>
              <a:gd name="T20" fmla="*/ 431335 w 190"/>
              <a:gd name="T21" fmla="*/ 163701 h 190"/>
              <a:gd name="T22" fmla="*/ 421803 w 190"/>
              <a:gd name="T23" fmla="*/ 137603 h 190"/>
              <a:gd name="T24" fmla="*/ 400355 w 190"/>
              <a:gd name="T25" fmla="*/ 111506 h 190"/>
              <a:gd name="T26" fmla="*/ 402739 w 190"/>
              <a:gd name="T27" fmla="*/ 87782 h 190"/>
              <a:gd name="T28" fmla="*/ 364609 w 190"/>
              <a:gd name="T29" fmla="*/ 90154 h 190"/>
              <a:gd name="T30" fmla="*/ 364609 w 190"/>
              <a:gd name="T31" fmla="*/ 47449 h 190"/>
              <a:gd name="T32" fmla="*/ 338396 w 190"/>
              <a:gd name="T33" fmla="*/ 49822 h 190"/>
              <a:gd name="T34" fmla="*/ 312182 w 190"/>
              <a:gd name="T35" fmla="*/ 30842 h 190"/>
              <a:gd name="T36" fmla="*/ 285968 w 190"/>
              <a:gd name="T37" fmla="*/ 21352 h 190"/>
              <a:gd name="T38" fmla="*/ 252605 w 190"/>
              <a:gd name="T39" fmla="*/ 18980 h 190"/>
              <a:gd name="T40" fmla="*/ 235924 w 190"/>
              <a:gd name="T41" fmla="*/ 0 h 190"/>
              <a:gd name="T42" fmla="*/ 212093 w 190"/>
              <a:gd name="T43" fmla="*/ 33215 h 190"/>
              <a:gd name="T44" fmla="*/ 193029 w 190"/>
              <a:gd name="T45" fmla="*/ 14235 h 190"/>
              <a:gd name="T46" fmla="*/ 164432 w 190"/>
              <a:gd name="T47" fmla="*/ 21352 h 190"/>
              <a:gd name="T48" fmla="*/ 135835 w 190"/>
              <a:gd name="T49" fmla="*/ 35587 h 190"/>
              <a:gd name="T50" fmla="*/ 121536 w 190"/>
              <a:gd name="T51" fmla="*/ 26097 h 190"/>
              <a:gd name="T52" fmla="*/ 112004 w 190"/>
              <a:gd name="T53" fmla="*/ 49822 h 190"/>
              <a:gd name="T54" fmla="*/ 83407 w 190"/>
              <a:gd name="T55" fmla="*/ 66429 h 190"/>
              <a:gd name="T56" fmla="*/ 64343 w 190"/>
              <a:gd name="T57" fmla="*/ 85409 h 190"/>
              <a:gd name="T58" fmla="*/ 47661 w 190"/>
              <a:gd name="T59" fmla="*/ 113879 h 190"/>
              <a:gd name="T60" fmla="*/ 26214 w 190"/>
              <a:gd name="T61" fmla="*/ 123369 h 190"/>
              <a:gd name="T62" fmla="*/ 45278 w 190"/>
              <a:gd name="T63" fmla="*/ 158956 h 190"/>
              <a:gd name="T64" fmla="*/ 7149 w 190"/>
              <a:gd name="T65" fmla="*/ 173191 h 190"/>
              <a:gd name="T66" fmla="*/ 19065 w 190"/>
              <a:gd name="T67" fmla="*/ 194543 h 190"/>
              <a:gd name="T68" fmla="*/ 11915 w 190"/>
              <a:gd name="T69" fmla="*/ 227757 h 190"/>
              <a:gd name="T70" fmla="*/ 14298 w 190"/>
              <a:gd name="T71" fmla="*/ 256227 h 190"/>
              <a:gd name="T72" fmla="*/ 23831 w 190"/>
              <a:gd name="T73" fmla="*/ 287069 h 190"/>
              <a:gd name="T74" fmla="*/ 16681 w 190"/>
              <a:gd name="T75" fmla="*/ 308422 h 190"/>
              <a:gd name="T76" fmla="*/ 57194 w 190"/>
              <a:gd name="T77" fmla="*/ 317911 h 190"/>
              <a:gd name="T78" fmla="*/ 42895 w 190"/>
              <a:gd name="T79" fmla="*/ 358244 h 190"/>
              <a:gd name="T80" fmla="*/ 66726 w 190"/>
              <a:gd name="T81" fmla="*/ 362988 h 190"/>
              <a:gd name="T82" fmla="*/ 85790 w 190"/>
              <a:gd name="T83" fmla="*/ 389086 h 190"/>
              <a:gd name="T84" fmla="*/ 109621 w 190"/>
              <a:gd name="T85" fmla="*/ 405693 h 190"/>
              <a:gd name="T86" fmla="*/ 140601 w 190"/>
              <a:gd name="T87" fmla="*/ 417555 h 190"/>
              <a:gd name="T88" fmla="*/ 152516 w 190"/>
              <a:gd name="T89" fmla="*/ 438908 h 190"/>
              <a:gd name="T90" fmla="*/ 183496 w 190"/>
              <a:gd name="T91" fmla="*/ 412810 h 190"/>
              <a:gd name="T92" fmla="*/ 204944 w 190"/>
              <a:gd name="T93" fmla="*/ 448398 h 190"/>
              <a:gd name="T94" fmla="*/ 226392 w 190"/>
              <a:gd name="T95" fmla="*/ 434163 h 190"/>
              <a:gd name="T96" fmla="*/ 257371 w 190"/>
              <a:gd name="T97" fmla="*/ 436535 h 190"/>
              <a:gd name="T98" fmla="*/ 285968 w 190"/>
              <a:gd name="T99" fmla="*/ 431790 h 190"/>
              <a:gd name="T100" fmla="*/ 314565 w 190"/>
              <a:gd name="T101" fmla="*/ 415183 h 190"/>
              <a:gd name="T102" fmla="*/ 331247 w 190"/>
              <a:gd name="T103" fmla="*/ 424673 h 190"/>
              <a:gd name="T104" fmla="*/ 185879 w 190"/>
              <a:gd name="T105" fmla="*/ 175563 h 190"/>
              <a:gd name="T106" fmla="*/ 204944 w 190"/>
              <a:gd name="T107" fmla="*/ 180308 h 190"/>
              <a:gd name="T108" fmla="*/ 288351 w 190"/>
              <a:gd name="T109" fmla="*/ 208778 h 190"/>
              <a:gd name="T110" fmla="*/ 295500 w 190"/>
              <a:gd name="T111" fmla="*/ 189798 h 190"/>
              <a:gd name="T112" fmla="*/ 183496 w 190"/>
              <a:gd name="T113" fmla="*/ 246737 h 190"/>
              <a:gd name="T114" fmla="*/ 193029 w 190"/>
              <a:gd name="T115" fmla="*/ 241992 h 190"/>
              <a:gd name="T116" fmla="*/ 243073 w 190"/>
              <a:gd name="T117" fmla="*/ 256227 h 190"/>
              <a:gd name="T118" fmla="*/ 247839 w 190"/>
              <a:gd name="T119" fmla="*/ 268090 h 190"/>
              <a:gd name="T120" fmla="*/ 243073 w 190"/>
              <a:gd name="T121" fmla="*/ 287069 h 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90" h="190">
                <a:moveTo>
                  <a:pt x="143" y="171"/>
                </a:moveTo>
                <a:cubicBezTo>
                  <a:pt x="142" y="169"/>
                  <a:pt x="142" y="169"/>
                  <a:pt x="142" y="169"/>
                </a:cubicBezTo>
                <a:cubicBezTo>
                  <a:pt x="140" y="167"/>
                  <a:pt x="140" y="163"/>
                  <a:pt x="143" y="160"/>
                </a:cubicBezTo>
                <a:cubicBezTo>
                  <a:pt x="146" y="157"/>
                  <a:pt x="151" y="158"/>
                  <a:pt x="153" y="161"/>
                </a:cubicBezTo>
                <a:cubicBezTo>
                  <a:pt x="154" y="163"/>
                  <a:pt x="154" y="163"/>
                  <a:pt x="154" y="163"/>
                </a:cubicBezTo>
                <a:cubicBezTo>
                  <a:pt x="156" y="165"/>
                  <a:pt x="159" y="165"/>
                  <a:pt x="161" y="163"/>
                </a:cubicBezTo>
                <a:cubicBezTo>
                  <a:pt x="162" y="162"/>
                  <a:pt x="162" y="161"/>
                  <a:pt x="163" y="160"/>
                </a:cubicBezTo>
                <a:cubicBezTo>
                  <a:pt x="165" y="159"/>
                  <a:pt x="165" y="156"/>
                  <a:pt x="163" y="154"/>
                </a:cubicBezTo>
                <a:cubicBezTo>
                  <a:pt x="161" y="153"/>
                  <a:pt x="161" y="153"/>
                  <a:pt x="161" y="153"/>
                </a:cubicBezTo>
                <a:cubicBezTo>
                  <a:pt x="159" y="151"/>
                  <a:pt x="158" y="147"/>
                  <a:pt x="159" y="144"/>
                </a:cubicBezTo>
                <a:cubicBezTo>
                  <a:pt x="161" y="140"/>
                  <a:pt x="166" y="139"/>
                  <a:pt x="169" y="142"/>
                </a:cubicBezTo>
                <a:cubicBezTo>
                  <a:pt x="171" y="143"/>
                  <a:pt x="171" y="143"/>
                  <a:pt x="171" y="143"/>
                </a:cubicBezTo>
                <a:cubicBezTo>
                  <a:pt x="173" y="145"/>
                  <a:pt x="176" y="144"/>
                  <a:pt x="177" y="142"/>
                </a:cubicBezTo>
                <a:cubicBezTo>
                  <a:pt x="178" y="141"/>
                  <a:pt x="178" y="140"/>
                  <a:pt x="179" y="139"/>
                </a:cubicBezTo>
                <a:cubicBezTo>
                  <a:pt x="180" y="136"/>
                  <a:pt x="179" y="134"/>
                  <a:pt x="177" y="133"/>
                </a:cubicBezTo>
                <a:cubicBezTo>
                  <a:pt x="175" y="132"/>
                  <a:pt x="175" y="132"/>
                  <a:pt x="175" y="132"/>
                </a:cubicBezTo>
                <a:cubicBezTo>
                  <a:pt x="171" y="130"/>
                  <a:pt x="169" y="126"/>
                  <a:pt x="171" y="123"/>
                </a:cubicBezTo>
                <a:cubicBezTo>
                  <a:pt x="169" y="120"/>
                  <a:pt x="172" y="116"/>
                  <a:pt x="176" y="118"/>
                </a:cubicBezTo>
                <a:cubicBezTo>
                  <a:pt x="181" y="120"/>
                  <a:pt x="181" y="120"/>
                  <a:pt x="181" y="120"/>
                </a:cubicBezTo>
                <a:cubicBezTo>
                  <a:pt x="184" y="121"/>
                  <a:pt x="186" y="119"/>
                  <a:pt x="187" y="117"/>
                </a:cubicBezTo>
                <a:cubicBezTo>
                  <a:pt x="187" y="116"/>
                  <a:pt x="188" y="114"/>
                  <a:pt x="188" y="113"/>
                </a:cubicBezTo>
                <a:cubicBezTo>
                  <a:pt x="188" y="111"/>
                  <a:pt x="186" y="108"/>
                  <a:pt x="184" y="108"/>
                </a:cubicBezTo>
                <a:cubicBezTo>
                  <a:pt x="182" y="108"/>
                  <a:pt x="182" y="108"/>
                  <a:pt x="182" y="108"/>
                </a:cubicBezTo>
                <a:cubicBezTo>
                  <a:pt x="178" y="107"/>
                  <a:pt x="175" y="104"/>
                  <a:pt x="175" y="100"/>
                </a:cubicBezTo>
                <a:cubicBezTo>
                  <a:pt x="176" y="97"/>
                  <a:pt x="179" y="94"/>
                  <a:pt x="183" y="94"/>
                </a:cubicBezTo>
                <a:cubicBezTo>
                  <a:pt x="185" y="94"/>
                  <a:pt x="185" y="94"/>
                  <a:pt x="185" y="94"/>
                </a:cubicBezTo>
                <a:cubicBezTo>
                  <a:pt x="187" y="95"/>
                  <a:pt x="190" y="93"/>
                  <a:pt x="189" y="90"/>
                </a:cubicBezTo>
                <a:cubicBezTo>
                  <a:pt x="189" y="89"/>
                  <a:pt x="189" y="87"/>
                  <a:pt x="189" y="86"/>
                </a:cubicBezTo>
                <a:cubicBezTo>
                  <a:pt x="189" y="84"/>
                  <a:pt x="186" y="82"/>
                  <a:pt x="184" y="82"/>
                </a:cubicBezTo>
                <a:cubicBezTo>
                  <a:pt x="182" y="83"/>
                  <a:pt x="182" y="83"/>
                  <a:pt x="182" y="83"/>
                </a:cubicBezTo>
                <a:cubicBezTo>
                  <a:pt x="178" y="84"/>
                  <a:pt x="174" y="81"/>
                  <a:pt x="174" y="77"/>
                </a:cubicBezTo>
                <a:cubicBezTo>
                  <a:pt x="173" y="74"/>
                  <a:pt x="175" y="70"/>
                  <a:pt x="179" y="69"/>
                </a:cubicBezTo>
                <a:cubicBezTo>
                  <a:pt x="181" y="69"/>
                  <a:pt x="181" y="69"/>
                  <a:pt x="181" y="69"/>
                </a:cubicBezTo>
                <a:cubicBezTo>
                  <a:pt x="183" y="69"/>
                  <a:pt x="185" y="66"/>
                  <a:pt x="184" y="63"/>
                </a:cubicBezTo>
                <a:cubicBezTo>
                  <a:pt x="184" y="62"/>
                  <a:pt x="183" y="61"/>
                  <a:pt x="183" y="60"/>
                </a:cubicBezTo>
                <a:cubicBezTo>
                  <a:pt x="182" y="58"/>
                  <a:pt x="179" y="57"/>
                  <a:pt x="177" y="58"/>
                </a:cubicBezTo>
                <a:cubicBezTo>
                  <a:pt x="175" y="59"/>
                  <a:pt x="175" y="59"/>
                  <a:pt x="175" y="59"/>
                </a:cubicBezTo>
                <a:cubicBezTo>
                  <a:pt x="171" y="61"/>
                  <a:pt x="167" y="59"/>
                  <a:pt x="166" y="56"/>
                </a:cubicBezTo>
                <a:cubicBezTo>
                  <a:pt x="164" y="53"/>
                  <a:pt x="165" y="48"/>
                  <a:pt x="168" y="47"/>
                </a:cubicBezTo>
                <a:cubicBezTo>
                  <a:pt x="170" y="46"/>
                  <a:pt x="170" y="46"/>
                  <a:pt x="170" y="46"/>
                </a:cubicBezTo>
                <a:cubicBezTo>
                  <a:pt x="172" y="45"/>
                  <a:pt x="173" y="42"/>
                  <a:pt x="172" y="40"/>
                </a:cubicBezTo>
                <a:cubicBezTo>
                  <a:pt x="171" y="39"/>
                  <a:pt x="170" y="38"/>
                  <a:pt x="169" y="37"/>
                </a:cubicBezTo>
                <a:cubicBezTo>
                  <a:pt x="168" y="35"/>
                  <a:pt x="165" y="34"/>
                  <a:pt x="163" y="36"/>
                </a:cubicBezTo>
                <a:cubicBezTo>
                  <a:pt x="161" y="38"/>
                  <a:pt x="161" y="38"/>
                  <a:pt x="161" y="38"/>
                </a:cubicBezTo>
                <a:cubicBezTo>
                  <a:pt x="159" y="40"/>
                  <a:pt x="155" y="40"/>
                  <a:pt x="153" y="38"/>
                </a:cubicBezTo>
                <a:cubicBezTo>
                  <a:pt x="149" y="36"/>
                  <a:pt x="149" y="31"/>
                  <a:pt x="152" y="28"/>
                </a:cubicBezTo>
                <a:cubicBezTo>
                  <a:pt x="153" y="27"/>
                  <a:pt x="153" y="27"/>
                  <a:pt x="153" y="27"/>
                </a:cubicBezTo>
                <a:cubicBezTo>
                  <a:pt x="155" y="25"/>
                  <a:pt x="155" y="22"/>
                  <a:pt x="153" y="20"/>
                </a:cubicBezTo>
                <a:cubicBezTo>
                  <a:pt x="152" y="19"/>
                  <a:pt x="151" y="19"/>
                  <a:pt x="150" y="18"/>
                </a:cubicBezTo>
                <a:cubicBezTo>
                  <a:pt x="148" y="16"/>
                  <a:pt x="145" y="17"/>
                  <a:pt x="144" y="19"/>
                </a:cubicBezTo>
                <a:cubicBezTo>
                  <a:pt x="142" y="21"/>
                  <a:pt x="142" y="21"/>
                  <a:pt x="142" y="21"/>
                </a:cubicBezTo>
                <a:cubicBezTo>
                  <a:pt x="141" y="25"/>
                  <a:pt x="136" y="26"/>
                  <a:pt x="133" y="24"/>
                </a:cubicBezTo>
                <a:cubicBezTo>
                  <a:pt x="130" y="22"/>
                  <a:pt x="129" y="18"/>
                  <a:pt x="131" y="15"/>
                </a:cubicBezTo>
                <a:cubicBezTo>
                  <a:pt x="131" y="13"/>
                  <a:pt x="131" y="13"/>
                  <a:pt x="131" y="13"/>
                </a:cubicBezTo>
                <a:cubicBezTo>
                  <a:pt x="133" y="11"/>
                  <a:pt x="132" y="8"/>
                  <a:pt x="129" y="7"/>
                </a:cubicBezTo>
                <a:cubicBezTo>
                  <a:pt x="128" y="6"/>
                  <a:pt x="127" y="6"/>
                  <a:pt x="126" y="6"/>
                </a:cubicBezTo>
                <a:cubicBezTo>
                  <a:pt x="123" y="5"/>
                  <a:pt x="121" y="6"/>
                  <a:pt x="120" y="9"/>
                </a:cubicBezTo>
                <a:cubicBezTo>
                  <a:pt x="120" y="11"/>
                  <a:pt x="120" y="11"/>
                  <a:pt x="120" y="11"/>
                </a:cubicBezTo>
                <a:cubicBezTo>
                  <a:pt x="119" y="15"/>
                  <a:pt x="115" y="17"/>
                  <a:pt x="111" y="16"/>
                </a:cubicBezTo>
                <a:cubicBezTo>
                  <a:pt x="108" y="15"/>
                  <a:pt x="106" y="11"/>
                  <a:pt x="106" y="8"/>
                </a:cubicBezTo>
                <a:cubicBezTo>
                  <a:pt x="107" y="6"/>
                  <a:pt x="107" y="6"/>
                  <a:pt x="107" y="6"/>
                </a:cubicBezTo>
                <a:cubicBezTo>
                  <a:pt x="107" y="3"/>
                  <a:pt x="106" y="1"/>
                  <a:pt x="103" y="1"/>
                </a:cubicBezTo>
                <a:cubicBezTo>
                  <a:pt x="102" y="1"/>
                  <a:pt x="101" y="1"/>
                  <a:pt x="99" y="0"/>
                </a:cubicBezTo>
                <a:cubicBezTo>
                  <a:pt x="97" y="0"/>
                  <a:pt x="95" y="2"/>
                  <a:pt x="95" y="5"/>
                </a:cubicBezTo>
                <a:cubicBezTo>
                  <a:pt x="95" y="7"/>
                  <a:pt x="95" y="7"/>
                  <a:pt x="95" y="7"/>
                </a:cubicBezTo>
                <a:cubicBezTo>
                  <a:pt x="95" y="11"/>
                  <a:pt x="92" y="14"/>
                  <a:pt x="89" y="14"/>
                </a:cubicBezTo>
                <a:cubicBezTo>
                  <a:pt x="89" y="14"/>
                  <a:pt x="89" y="14"/>
                  <a:pt x="89" y="14"/>
                </a:cubicBezTo>
                <a:cubicBezTo>
                  <a:pt x="85" y="15"/>
                  <a:pt x="82" y="12"/>
                  <a:pt x="81" y="8"/>
                </a:cubicBezTo>
                <a:cubicBezTo>
                  <a:pt x="81" y="6"/>
                  <a:pt x="81" y="6"/>
                  <a:pt x="81" y="6"/>
                </a:cubicBezTo>
                <a:cubicBezTo>
                  <a:pt x="81" y="4"/>
                  <a:pt x="79" y="2"/>
                  <a:pt x="76" y="2"/>
                </a:cubicBezTo>
                <a:cubicBezTo>
                  <a:pt x="75" y="2"/>
                  <a:pt x="74" y="3"/>
                  <a:pt x="72" y="3"/>
                </a:cubicBezTo>
                <a:cubicBezTo>
                  <a:pt x="70" y="4"/>
                  <a:pt x="69" y="6"/>
                  <a:pt x="69" y="9"/>
                </a:cubicBezTo>
                <a:cubicBezTo>
                  <a:pt x="70" y="11"/>
                  <a:pt x="70" y="11"/>
                  <a:pt x="70" y="11"/>
                </a:cubicBezTo>
                <a:cubicBezTo>
                  <a:pt x="71" y="14"/>
                  <a:pt x="70" y="18"/>
                  <a:pt x="66" y="19"/>
                </a:cubicBezTo>
                <a:cubicBezTo>
                  <a:pt x="63" y="21"/>
                  <a:pt x="59" y="19"/>
                  <a:pt x="57" y="15"/>
                </a:cubicBezTo>
                <a:cubicBezTo>
                  <a:pt x="57" y="14"/>
                  <a:pt x="57" y="14"/>
                  <a:pt x="57" y="14"/>
                </a:cubicBezTo>
                <a:cubicBezTo>
                  <a:pt x="56" y="11"/>
                  <a:pt x="53" y="10"/>
                  <a:pt x="51" y="11"/>
                </a:cubicBezTo>
                <a:cubicBezTo>
                  <a:pt x="51" y="11"/>
                  <a:pt x="51" y="11"/>
                  <a:pt x="51" y="11"/>
                </a:cubicBezTo>
                <a:cubicBezTo>
                  <a:pt x="50" y="12"/>
                  <a:pt x="48" y="12"/>
                  <a:pt x="47" y="13"/>
                </a:cubicBezTo>
                <a:cubicBezTo>
                  <a:pt x="45" y="14"/>
                  <a:pt x="45" y="17"/>
                  <a:pt x="46" y="19"/>
                </a:cubicBezTo>
                <a:cubicBezTo>
                  <a:pt x="47" y="21"/>
                  <a:pt x="47" y="21"/>
                  <a:pt x="47" y="21"/>
                </a:cubicBezTo>
                <a:cubicBezTo>
                  <a:pt x="50" y="24"/>
                  <a:pt x="49" y="28"/>
                  <a:pt x="46" y="31"/>
                </a:cubicBezTo>
                <a:cubicBezTo>
                  <a:pt x="43" y="33"/>
                  <a:pt x="39" y="32"/>
                  <a:pt x="36" y="29"/>
                </a:cubicBezTo>
                <a:cubicBezTo>
                  <a:pt x="35" y="28"/>
                  <a:pt x="35" y="28"/>
                  <a:pt x="35" y="28"/>
                </a:cubicBezTo>
                <a:cubicBezTo>
                  <a:pt x="34" y="25"/>
                  <a:pt x="31" y="25"/>
                  <a:pt x="29" y="27"/>
                </a:cubicBezTo>
                <a:cubicBezTo>
                  <a:pt x="28" y="28"/>
                  <a:pt x="27" y="29"/>
                  <a:pt x="26" y="30"/>
                </a:cubicBezTo>
                <a:cubicBezTo>
                  <a:pt x="24" y="32"/>
                  <a:pt x="25" y="34"/>
                  <a:pt x="27" y="36"/>
                </a:cubicBezTo>
                <a:cubicBezTo>
                  <a:pt x="28" y="37"/>
                  <a:pt x="28" y="37"/>
                  <a:pt x="28" y="37"/>
                </a:cubicBezTo>
                <a:cubicBezTo>
                  <a:pt x="31" y="40"/>
                  <a:pt x="32" y="44"/>
                  <a:pt x="30" y="47"/>
                </a:cubicBezTo>
                <a:cubicBezTo>
                  <a:pt x="27" y="50"/>
                  <a:pt x="23" y="50"/>
                  <a:pt x="20" y="48"/>
                </a:cubicBezTo>
                <a:cubicBezTo>
                  <a:pt x="19" y="47"/>
                  <a:pt x="19" y="47"/>
                  <a:pt x="19" y="47"/>
                </a:cubicBezTo>
                <a:cubicBezTo>
                  <a:pt x="17" y="45"/>
                  <a:pt x="14" y="46"/>
                  <a:pt x="12" y="48"/>
                </a:cubicBezTo>
                <a:cubicBezTo>
                  <a:pt x="12" y="49"/>
                  <a:pt x="11" y="51"/>
                  <a:pt x="11" y="52"/>
                </a:cubicBezTo>
                <a:cubicBezTo>
                  <a:pt x="9" y="54"/>
                  <a:pt x="10" y="57"/>
                  <a:pt x="13" y="58"/>
                </a:cubicBezTo>
                <a:cubicBezTo>
                  <a:pt x="15" y="58"/>
                  <a:pt x="15" y="58"/>
                  <a:pt x="15" y="58"/>
                </a:cubicBezTo>
                <a:cubicBezTo>
                  <a:pt x="18" y="60"/>
                  <a:pt x="20" y="64"/>
                  <a:pt x="19" y="67"/>
                </a:cubicBezTo>
                <a:cubicBezTo>
                  <a:pt x="20" y="70"/>
                  <a:pt x="17" y="74"/>
                  <a:pt x="14" y="73"/>
                </a:cubicBezTo>
                <a:cubicBezTo>
                  <a:pt x="8" y="70"/>
                  <a:pt x="8" y="70"/>
                  <a:pt x="8" y="70"/>
                </a:cubicBezTo>
                <a:cubicBezTo>
                  <a:pt x="6" y="69"/>
                  <a:pt x="3" y="71"/>
                  <a:pt x="3" y="73"/>
                </a:cubicBezTo>
                <a:cubicBezTo>
                  <a:pt x="2" y="75"/>
                  <a:pt x="2" y="76"/>
                  <a:pt x="2" y="77"/>
                </a:cubicBezTo>
                <a:cubicBezTo>
                  <a:pt x="1" y="80"/>
                  <a:pt x="3" y="82"/>
                  <a:pt x="6" y="82"/>
                </a:cubicBezTo>
                <a:cubicBezTo>
                  <a:pt x="8" y="82"/>
                  <a:pt x="8" y="82"/>
                  <a:pt x="8" y="82"/>
                </a:cubicBezTo>
                <a:cubicBezTo>
                  <a:pt x="11" y="83"/>
                  <a:pt x="14" y="85"/>
                  <a:pt x="14" y="89"/>
                </a:cubicBezTo>
                <a:cubicBezTo>
                  <a:pt x="14" y="93"/>
                  <a:pt x="11" y="96"/>
                  <a:pt x="7" y="96"/>
                </a:cubicBezTo>
                <a:cubicBezTo>
                  <a:pt x="5" y="96"/>
                  <a:pt x="5" y="96"/>
                  <a:pt x="5" y="96"/>
                </a:cubicBezTo>
                <a:cubicBezTo>
                  <a:pt x="2" y="96"/>
                  <a:pt x="0" y="98"/>
                  <a:pt x="0" y="100"/>
                </a:cubicBezTo>
                <a:cubicBezTo>
                  <a:pt x="0" y="102"/>
                  <a:pt x="0" y="103"/>
                  <a:pt x="0" y="104"/>
                </a:cubicBezTo>
                <a:cubicBezTo>
                  <a:pt x="1" y="107"/>
                  <a:pt x="3" y="108"/>
                  <a:pt x="6" y="108"/>
                </a:cubicBezTo>
                <a:cubicBezTo>
                  <a:pt x="8" y="107"/>
                  <a:pt x="8" y="107"/>
                  <a:pt x="8" y="107"/>
                </a:cubicBezTo>
                <a:cubicBezTo>
                  <a:pt x="11" y="107"/>
                  <a:pt x="14" y="108"/>
                  <a:pt x="15" y="112"/>
                </a:cubicBezTo>
                <a:cubicBezTo>
                  <a:pt x="17" y="116"/>
                  <a:pt x="15" y="120"/>
                  <a:pt x="10" y="121"/>
                </a:cubicBezTo>
                <a:cubicBezTo>
                  <a:pt x="9" y="121"/>
                  <a:pt x="9" y="121"/>
                  <a:pt x="9" y="121"/>
                </a:cubicBezTo>
                <a:cubicBezTo>
                  <a:pt x="6" y="122"/>
                  <a:pt x="5" y="124"/>
                  <a:pt x="5" y="127"/>
                </a:cubicBezTo>
                <a:cubicBezTo>
                  <a:pt x="6" y="128"/>
                  <a:pt x="6" y="129"/>
                  <a:pt x="7" y="130"/>
                </a:cubicBezTo>
                <a:cubicBezTo>
                  <a:pt x="8" y="133"/>
                  <a:pt x="11" y="134"/>
                  <a:pt x="13" y="132"/>
                </a:cubicBezTo>
                <a:cubicBezTo>
                  <a:pt x="15" y="131"/>
                  <a:pt x="15" y="131"/>
                  <a:pt x="15" y="131"/>
                </a:cubicBezTo>
                <a:cubicBezTo>
                  <a:pt x="18" y="130"/>
                  <a:pt x="22" y="131"/>
                  <a:pt x="24" y="134"/>
                </a:cubicBezTo>
                <a:cubicBezTo>
                  <a:pt x="26" y="138"/>
                  <a:pt x="24" y="142"/>
                  <a:pt x="21" y="143"/>
                </a:cubicBezTo>
                <a:cubicBezTo>
                  <a:pt x="19" y="144"/>
                  <a:pt x="19" y="144"/>
                  <a:pt x="19" y="144"/>
                </a:cubicBezTo>
                <a:cubicBezTo>
                  <a:pt x="17" y="146"/>
                  <a:pt x="16" y="149"/>
                  <a:pt x="18" y="151"/>
                </a:cubicBezTo>
                <a:cubicBezTo>
                  <a:pt x="19" y="152"/>
                  <a:pt x="19" y="153"/>
                  <a:pt x="20" y="154"/>
                </a:cubicBezTo>
                <a:cubicBezTo>
                  <a:pt x="22" y="156"/>
                  <a:pt x="25" y="156"/>
                  <a:pt x="27" y="154"/>
                </a:cubicBezTo>
                <a:cubicBezTo>
                  <a:pt x="28" y="153"/>
                  <a:pt x="28" y="153"/>
                  <a:pt x="28" y="153"/>
                </a:cubicBezTo>
                <a:cubicBezTo>
                  <a:pt x="31" y="150"/>
                  <a:pt x="34" y="150"/>
                  <a:pt x="37" y="152"/>
                </a:cubicBezTo>
                <a:cubicBezTo>
                  <a:pt x="40" y="154"/>
                  <a:pt x="41" y="159"/>
                  <a:pt x="38" y="162"/>
                </a:cubicBezTo>
                <a:cubicBezTo>
                  <a:pt x="36" y="164"/>
                  <a:pt x="36" y="164"/>
                  <a:pt x="36" y="164"/>
                </a:cubicBezTo>
                <a:cubicBezTo>
                  <a:pt x="35" y="165"/>
                  <a:pt x="35" y="168"/>
                  <a:pt x="37" y="170"/>
                </a:cubicBezTo>
                <a:cubicBezTo>
                  <a:pt x="38" y="171"/>
                  <a:pt x="39" y="172"/>
                  <a:pt x="40" y="172"/>
                </a:cubicBezTo>
                <a:cubicBezTo>
                  <a:pt x="42" y="174"/>
                  <a:pt x="45" y="173"/>
                  <a:pt x="46" y="171"/>
                </a:cubicBezTo>
                <a:cubicBezTo>
                  <a:pt x="47" y="169"/>
                  <a:pt x="47" y="169"/>
                  <a:pt x="47" y="169"/>
                </a:cubicBezTo>
                <a:cubicBezTo>
                  <a:pt x="49" y="166"/>
                  <a:pt x="52" y="165"/>
                  <a:pt x="55" y="166"/>
                </a:cubicBezTo>
                <a:cubicBezTo>
                  <a:pt x="59" y="167"/>
                  <a:pt x="61" y="172"/>
                  <a:pt x="59" y="176"/>
                </a:cubicBezTo>
                <a:cubicBezTo>
                  <a:pt x="58" y="177"/>
                  <a:pt x="58" y="177"/>
                  <a:pt x="58" y="177"/>
                </a:cubicBezTo>
                <a:cubicBezTo>
                  <a:pt x="57" y="179"/>
                  <a:pt x="58" y="182"/>
                  <a:pt x="60" y="183"/>
                </a:cubicBezTo>
                <a:cubicBezTo>
                  <a:pt x="61" y="184"/>
                  <a:pt x="63" y="184"/>
                  <a:pt x="64" y="185"/>
                </a:cubicBezTo>
                <a:cubicBezTo>
                  <a:pt x="66" y="185"/>
                  <a:pt x="69" y="184"/>
                  <a:pt x="69" y="182"/>
                </a:cubicBezTo>
                <a:cubicBezTo>
                  <a:pt x="70" y="180"/>
                  <a:pt x="70" y="180"/>
                  <a:pt x="70" y="180"/>
                </a:cubicBezTo>
                <a:cubicBezTo>
                  <a:pt x="71" y="176"/>
                  <a:pt x="74" y="174"/>
                  <a:pt x="77" y="174"/>
                </a:cubicBezTo>
                <a:cubicBezTo>
                  <a:pt x="81" y="174"/>
                  <a:pt x="84" y="178"/>
                  <a:pt x="83" y="182"/>
                </a:cubicBezTo>
                <a:cubicBezTo>
                  <a:pt x="83" y="184"/>
                  <a:pt x="83" y="184"/>
                  <a:pt x="83" y="184"/>
                </a:cubicBezTo>
                <a:cubicBezTo>
                  <a:pt x="82" y="187"/>
                  <a:pt x="84" y="189"/>
                  <a:pt x="86" y="189"/>
                </a:cubicBezTo>
                <a:cubicBezTo>
                  <a:pt x="88" y="190"/>
                  <a:pt x="89" y="190"/>
                  <a:pt x="90" y="190"/>
                </a:cubicBezTo>
                <a:cubicBezTo>
                  <a:pt x="93" y="190"/>
                  <a:pt x="95" y="188"/>
                  <a:pt x="95" y="185"/>
                </a:cubicBezTo>
                <a:cubicBezTo>
                  <a:pt x="95" y="183"/>
                  <a:pt x="95" y="183"/>
                  <a:pt x="95" y="183"/>
                </a:cubicBezTo>
                <a:cubicBezTo>
                  <a:pt x="94" y="179"/>
                  <a:pt x="97" y="176"/>
                  <a:pt x="101" y="176"/>
                </a:cubicBezTo>
                <a:cubicBezTo>
                  <a:pt x="104" y="174"/>
                  <a:pt x="108" y="176"/>
                  <a:pt x="108" y="180"/>
                </a:cubicBezTo>
                <a:cubicBezTo>
                  <a:pt x="108" y="184"/>
                  <a:pt x="108" y="184"/>
                  <a:pt x="108" y="184"/>
                </a:cubicBezTo>
                <a:cubicBezTo>
                  <a:pt x="108" y="187"/>
                  <a:pt x="111" y="189"/>
                  <a:pt x="113" y="188"/>
                </a:cubicBezTo>
                <a:cubicBezTo>
                  <a:pt x="115" y="188"/>
                  <a:pt x="116" y="187"/>
                  <a:pt x="117" y="187"/>
                </a:cubicBezTo>
                <a:cubicBezTo>
                  <a:pt x="120" y="187"/>
                  <a:pt x="121" y="184"/>
                  <a:pt x="120" y="182"/>
                </a:cubicBezTo>
                <a:cubicBezTo>
                  <a:pt x="119" y="179"/>
                  <a:pt x="119" y="179"/>
                  <a:pt x="119" y="179"/>
                </a:cubicBezTo>
                <a:cubicBezTo>
                  <a:pt x="118" y="176"/>
                  <a:pt x="120" y="171"/>
                  <a:pt x="125" y="170"/>
                </a:cubicBezTo>
                <a:cubicBezTo>
                  <a:pt x="128" y="170"/>
                  <a:pt x="131" y="172"/>
                  <a:pt x="132" y="175"/>
                </a:cubicBezTo>
                <a:cubicBezTo>
                  <a:pt x="133" y="177"/>
                  <a:pt x="133" y="177"/>
                  <a:pt x="133" y="177"/>
                </a:cubicBezTo>
                <a:cubicBezTo>
                  <a:pt x="134" y="179"/>
                  <a:pt x="136" y="180"/>
                  <a:pt x="139" y="179"/>
                </a:cubicBezTo>
                <a:cubicBezTo>
                  <a:pt x="139" y="179"/>
                  <a:pt x="139" y="179"/>
                  <a:pt x="139" y="179"/>
                </a:cubicBezTo>
                <a:cubicBezTo>
                  <a:pt x="140" y="178"/>
                  <a:pt x="141" y="178"/>
                  <a:pt x="142" y="177"/>
                </a:cubicBezTo>
                <a:cubicBezTo>
                  <a:pt x="144" y="176"/>
                  <a:pt x="145" y="173"/>
                  <a:pt x="143" y="171"/>
                </a:cubicBezTo>
                <a:close/>
                <a:moveTo>
                  <a:pt x="78" y="74"/>
                </a:moveTo>
                <a:cubicBezTo>
                  <a:pt x="77" y="71"/>
                  <a:pt x="78" y="68"/>
                  <a:pt x="80" y="66"/>
                </a:cubicBezTo>
                <a:cubicBezTo>
                  <a:pt x="83" y="65"/>
                  <a:pt x="87" y="66"/>
                  <a:pt x="88" y="69"/>
                </a:cubicBezTo>
                <a:cubicBezTo>
                  <a:pt x="90" y="71"/>
                  <a:pt x="89" y="75"/>
                  <a:pt x="86" y="76"/>
                </a:cubicBezTo>
                <a:cubicBezTo>
                  <a:pt x="83" y="78"/>
                  <a:pt x="79" y="77"/>
                  <a:pt x="78" y="74"/>
                </a:cubicBezTo>
                <a:close/>
                <a:moveTo>
                  <a:pt x="124" y="80"/>
                </a:moveTo>
                <a:cubicBezTo>
                  <a:pt x="125" y="83"/>
                  <a:pt x="124" y="86"/>
                  <a:pt x="121" y="88"/>
                </a:cubicBezTo>
                <a:cubicBezTo>
                  <a:pt x="118" y="89"/>
                  <a:pt x="115" y="88"/>
                  <a:pt x="113" y="85"/>
                </a:cubicBezTo>
                <a:cubicBezTo>
                  <a:pt x="112" y="83"/>
                  <a:pt x="113" y="79"/>
                  <a:pt x="116" y="78"/>
                </a:cubicBezTo>
                <a:cubicBezTo>
                  <a:pt x="119" y="76"/>
                  <a:pt x="122" y="77"/>
                  <a:pt x="124" y="80"/>
                </a:cubicBezTo>
                <a:close/>
                <a:moveTo>
                  <a:pt x="67" y="109"/>
                </a:moveTo>
                <a:cubicBezTo>
                  <a:pt x="65" y="107"/>
                  <a:pt x="66" y="103"/>
                  <a:pt x="69" y="102"/>
                </a:cubicBezTo>
                <a:cubicBezTo>
                  <a:pt x="72" y="100"/>
                  <a:pt x="75" y="101"/>
                  <a:pt x="77" y="104"/>
                </a:cubicBezTo>
                <a:cubicBezTo>
                  <a:pt x="78" y="107"/>
                  <a:pt x="77" y="110"/>
                  <a:pt x="74" y="112"/>
                </a:cubicBezTo>
                <a:cubicBezTo>
                  <a:pt x="72" y="113"/>
                  <a:pt x="68" y="112"/>
                  <a:pt x="67" y="109"/>
                </a:cubicBezTo>
                <a:close/>
                <a:moveTo>
                  <a:pt x="81" y="102"/>
                </a:moveTo>
                <a:cubicBezTo>
                  <a:pt x="78" y="95"/>
                  <a:pt x="80" y="86"/>
                  <a:pt x="88" y="82"/>
                </a:cubicBezTo>
                <a:cubicBezTo>
                  <a:pt x="95" y="78"/>
                  <a:pt x="104" y="81"/>
                  <a:pt x="108" y="88"/>
                </a:cubicBezTo>
                <a:cubicBezTo>
                  <a:pt x="112" y="96"/>
                  <a:pt x="109" y="105"/>
                  <a:pt x="102" y="108"/>
                </a:cubicBezTo>
                <a:cubicBezTo>
                  <a:pt x="94" y="112"/>
                  <a:pt x="85" y="109"/>
                  <a:pt x="81" y="102"/>
                </a:cubicBezTo>
                <a:close/>
                <a:moveTo>
                  <a:pt x="102" y="121"/>
                </a:moveTo>
                <a:cubicBezTo>
                  <a:pt x="100" y="118"/>
                  <a:pt x="102" y="114"/>
                  <a:pt x="104" y="113"/>
                </a:cubicBezTo>
                <a:cubicBezTo>
                  <a:pt x="107" y="111"/>
                  <a:pt x="111" y="113"/>
                  <a:pt x="112" y="115"/>
                </a:cubicBezTo>
                <a:cubicBezTo>
                  <a:pt x="114" y="118"/>
                  <a:pt x="113" y="122"/>
                  <a:pt x="110" y="123"/>
                </a:cubicBezTo>
                <a:cubicBezTo>
                  <a:pt x="107" y="125"/>
                  <a:pt x="103" y="124"/>
                  <a:pt x="102" y="121"/>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1178" name="Freeform 121"/>
          <p:cNvSpPr>
            <a:spLocks noEditPoints="1"/>
          </p:cNvSpPr>
          <p:nvPr/>
        </p:nvSpPr>
        <p:spPr bwMode="auto">
          <a:xfrm>
            <a:off x="7502525" y="2711450"/>
            <a:ext cx="1524000" cy="1527175"/>
          </a:xfrm>
          <a:custGeom>
            <a:avLst/>
            <a:gdLst>
              <a:gd name="T0" fmla="*/ 1473377 w 640"/>
              <a:gd name="T1" fmla="*/ 1037290 h 642"/>
              <a:gd name="T2" fmla="*/ 1461475 w 640"/>
              <a:gd name="T3" fmla="*/ 882648 h 642"/>
              <a:gd name="T4" fmla="*/ 1487658 w 640"/>
              <a:gd name="T5" fmla="*/ 789863 h 642"/>
              <a:gd name="T6" fmla="*/ 1482898 w 640"/>
              <a:gd name="T7" fmla="*/ 680424 h 642"/>
              <a:gd name="T8" fmla="*/ 1447194 w 640"/>
              <a:gd name="T9" fmla="*/ 590018 h 642"/>
              <a:gd name="T10" fmla="*/ 1449574 w 640"/>
              <a:gd name="T11" fmla="*/ 432997 h 642"/>
              <a:gd name="T12" fmla="*/ 1301998 w 640"/>
              <a:gd name="T13" fmla="*/ 397311 h 642"/>
              <a:gd name="T14" fmla="*/ 1309139 w 640"/>
              <a:gd name="T15" fmla="*/ 230773 h 642"/>
              <a:gd name="T16" fmla="*/ 1161564 w 640"/>
              <a:gd name="T17" fmla="*/ 176054 h 642"/>
              <a:gd name="T18" fmla="*/ 1087776 w 640"/>
              <a:gd name="T19" fmla="*/ 114197 h 642"/>
              <a:gd name="T20" fmla="*/ 985425 w 640"/>
              <a:gd name="T21" fmla="*/ 73752 h 642"/>
              <a:gd name="T22" fmla="*/ 890215 w 640"/>
              <a:gd name="T23" fmla="*/ 68994 h 642"/>
              <a:gd name="T24" fmla="*/ 747399 w 640"/>
              <a:gd name="T25" fmla="*/ 0 h 642"/>
              <a:gd name="T26" fmla="*/ 633147 w 640"/>
              <a:gd name="T27" fmla="*/ 123714 h 642"/>
              <a:gd name="T28" fmla="*/ 533177 w 640"/>
              <a:gd name="T29" fmla="*/ 35687 h 642"/>
              <a:gd name="T30" fmla="*/ 476051 w 640"/>
              <a:gd name="T31" fmla="*/ 178433 h 642"/>
              <a:gd name="T32" fmla="*/ 311813 w 640"/>
              <a:gd name="T33" fmla="*/ 147505 h 642"/>
              <a:gd name="T34" fmla="*/ 238025 w 640"/>
              <a:gd name="T35" fmla="*/ 285493 h 642"/>
              <a:gd name="T36" fmla="*/ 166618 w 640"/>
              <a:gd name="T37" fmla="*/ 349729 h 642"/>
              <a:gd name="T38" fmla="*/ 111872 w 640"/>
              <a:gd name="T39" fmla="*/ 444893 h 642"/>
              <a:gd name="T40" fmla="*/ 92830 w 640"/>
              <a:gd name="T41" fmla="*/ 540057 h 642"/>
              <a:gd name="T42" fmla="*/ 4761 w 640"/>
              <a:gd name="T43" fmla="*/ 668529 h 642"/>
              <a:gd name="T44" fmla="*/ 111872 w 640"/>
              <a:gd name="T45" fmla="*/ 789863 h 642"/>
              <a:gd name="T46" fmla="*/ 14282 w 640"/>
              <a:gd name="T47" fmla="*/ 915956 h 642"/>
              <a:gd name="T48" fmla="*/ 109492 w 640"/>
              <a:gd name="T49" fmla="*/ 1042048 h 642"/>
              <a:gd name="T50" fmla="*/ 138055 w 640"/>
              <a:gd name="T51" fmla="*/ 1132454 h 642"/>
              <a:gd name="T52" fmla="*/ 202322 w 640"/>
              <a:gd name="T53" fmla="*/ 1222860 h 642"/>
              <a:gd name="T54" fmla="*/ 278490 w 640"/>
              <a:gd name="T55" fmla="*/ 1279959 h 642"/>
              <a:gd name="T56" fmla="*/ 361798 w 640"/>
              <a:gd name="T57" fmla="*/ 1413189 h 642"/>
              <a:gd name="T58" fmla="*/ 516515 w 640"/>
              <a:gd name="T59" fmla="*/ 1365607 h 642"/>
              <a:gd name="T60" fmla="*/ 590303 w 640"/>
              <a:gd name="T61" fmla="*/ 1505974 h 642"/>
              <a:gd name="T62" fmla="*/ 745019 w 640"/>
              <a:gd name="T63" fmla="*/ 1472667 h 642"/>
              <a:gd name="T64" fmla="*/ 840229 w 640"/>
              <a:gd name="T65" fmla="*/ 1484562 h 642"/>
              <a:gd name="T66" fmla="*/ 947341 w 640"/>
              <a:gd name="T67" fmla="*/ 1463150 h 642"/>
              <a:gd name="T68" fmla="*/ 1040171 w 640"/>
              <a:gd name="T69" fmla="*/ 1434601 h 642"/>
              <a:gd name="T70" fmla="*/ 1137761 w 640"/>
              <a:gd name="T71" fmla="*/ 1382261 h 642"/>
              <a:gd name="T72" fmla="*/ 1204408 w 640"/>
              <a:gd name="T73" fmla="*/ 1315646 h 642"/>
              <a:gd name="T74" fmla="*/ 1349604 w 640"/>
              <a:gd name="T75" fmla="*/ 1251410 h 642"/>
              <a:gd name="T76" fmla="*/ 1325801 w 640"/>
              <a:gd name="T77" fmla="*/ 1092010 h 642"/>
              <a:gd name="T78" fmla="*/ 1285337 w 640"/>
              <a:gd name="T79" fmla="*/ 777968 h 642"/>
              <a:gd name="T80" fmla="*/ 1142522 w 640"/>
              <a:gd name="T81" fmla="*/ 404448 h 642"/>
              <a:gd name="T82" fmla="*/ 823568 w 640"/>
              <a:gd name="T83" fmla="*/ 245048 h 642"/>
              <a:gd name="T84" fmla="*/ 775963 w 640"/>
              <a:gd name="T85" fmla="*/ 264081 h 642"/>
              <a:gd name="T86" fmla="*/ 402263 w 640"/>
              <a:gd name="T87" fmla="*/ 383036 h 642"/>
              <a:gd name="T88" fmla="*/ 242786 w 640"/>
              <a:gd name="T89" fmla="*/ 701836 h 642"/>
              <a:gd name="T90" fmla="*/ 240406 w 640"/>
              <a:gd name="T91" fmla="*/ 749418 h 642"/>
              <a:gd name="T92" fmla="*/ 383221 w 640"/>
              <a:gd name="T93" fmla="*/ 1122938 h 642"/>
              <a:gd name="T94" fmla="*/ 702175 w 640"/>
              <a:gd name="T95" fmla="*/ 1282338 h 642"/>
              <a:gd name="T96" fmla="*/ 935439 w 640"/>
              <a:gd name="T97" fmla="*/ 390173 h 642"/>
              <a:gd name="T98" fmla="*/ 747399 w 640"/>
              <a:gd name="T99" fmla="*/ 1284717 h 642"/>
              <a:gd name="T100" fmla="*/ 918778 w 640"/>
              <a:gd name="T101" fmla="*/ 1260926 h 642"/>
              <a:gd name="T102" fmla="*/ 1256774 w 640"/>
              <a:gd name="T103" fmla="*/ 823171 h 6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0" h="642">
                <a:moveTo>
                  <a:pt x="576" y="444"/>
                </a:moveTo>
                <a:cubicBezTo>
                  <a:pt x="594" y="455"/>
                  <a:pt x="594" y="455"/>
                  <a:pt x="594" y="455"/>
                </a:cubicBezTo>
                <a:cubicBezTo>
                  <a:pt x="601" y="459"/>
                  <a:pt x="611" y="456"/>
                  <a:pt x="614" y="448"/>
                </a:cubicBezTo>
                <a:cubicBezTo>
                  <a:pt x="616" y="444"/>
                  <a:pt x="618" y="440"/>
                  <a:pt x="619" y="436"/>
                </a:cubicBezTo>
                <a:cubicBezTo>
                  <a:pt x="622" y="428"/>
                  <a:pt x="618" y="420"/>
                  <a:pt x="610" y="417"/>
                </a:cubicBezTo>
                <a:cubicBezTo>
                  <a:pt x="603" y="415"/>
                  <a:pt x="603" y="415"/>
                  <a:pt x="603" y="415"/>
                </a:cubicBezTo>
                <a:cubicBezTo>
                  <a:pt x="592" y="412"/>
                  <a:pt x="584" y="402"/>
                  <a:pt x="585" y="391"/>
                </a:cubicBezTo>
                <a:cubicBezTo>
                  <a:pt x="587" y="376"/>
                  <a:pt x="601" y="367"/>
                  <a:pt x="614" y="371"/>
                </a:cubicBezTo>
                <a:cubicBezTo>
                  <a:pt x="620" y="372"/>
                  <a:pt x="620" y="372"/>
                  <a:pt x="620" y="372"/>
                </a:cubicBezTo>
                <a:cubicBezTo>
                  <a:pt x="629" y="375"/>
                  <a:pt x="637" y="369"/>
                  <a:pt x="638" y="360"/>
                </a:cubicBezTo>
                <a:cubicBezTo>
                  <a:pt x="639" y="356"/>
                  <a:pt x="639" y="352"/>
                  <a:pt x="640" y="348"/>
                </a:cubicBezTo>
                <a:cubicBezTo>
                  <a:pt x="640" y="339"/>
                  <a:pt x="634" y="332"/>
                  <a:pt x="625" y="332"/>
                </a:cubicBezTo>
                <a:cubicBezTo>
                  <a:pt x="618" y="332"/>
                  <a:pt x="618" y="332"/>
                  <a:pt x="618" y="332"/>
                </a:cubicBezTo>
                <a:cubicBezTo>
                  <a:pt x="607" y="332"/>
                  <a:pt x="596" y="325"/>
                  <a:pt x="594" y="314"/>
                </a:cubicBezTo>
                <a:cubicBezTo>
                  <a:pt x="591" y="299"/>
                  <a:pt x="602" y="286"/>
                  <a:pt x="616" y="286"/>
                </a:cubicBezTo>
                <a:cubicBezTo>
                  <a:pt x="623" y="286"/>
                  <a:pt x="623" y="286"/>
                  <a:pt x="623" y="286"/>
                </a:cubicBezTo>
                <a:cubicBezTo>
                  <a:pt x="631" y="286"/>
                  <a:pt x="638" y="278"/>
                  <a:pt x="637" y="269"/>
                </a:cubicBezTo>
                <a:cubicBezTo>
                  <a:pt x="636" y="265"/>
                  <a:pt x="635" y="261"/>
                  <a:pt x="634" y="256"/>
                </a:cubicBezTo>
                <a:cubicBezTo>
                  <a:pt x="633" y="248"/>
                  <a:pt x="624" y="243"/>
                  <a:pt x="616" y="246"/>
                </a:cubicBezTo>
                <a:cubicBezTo>
                  <a:pt x="608" y="248"/>
                  <a:pt x="608" y="248"/>
                  <a:pt x="608" y="248"/>
                </a:cubicBezTo>
                <a:cubicBezTo>
                  <a:pt x="596" y="252"/>
                  <a:pt x="583" y="245"/>
                  <a:pt x="579" y="233"/>
                </a:cubicBezTo>
                <a:cubicBezTo>
                  <a:pt x="576" y="221"/>
                  <a:pt x="582" y="208"/>
                  <a:pt x="595" y="204"/>
                </a:cubicBezTo>
                <a:cubicBezTo>
                  <a:pt x="601" y="202"/>
                  <a:pt x="601" y="202"/>
                  <a:pt x="601" y="202"/>
                </a:cubicBezTo>
                <a:cubicBezTo>
                  <a:pt x="609" y="199"/>
                  <a:pt x="613" y="190"/>
                  <a:pt x="609" y="182"/>
                </a:cubicBezTo>
                <a:cubicBezTo>
                  <a:pt x="607" y="178"/>
                  <a:pt x="605" y="174"/>
                  <a:pt x="603" y="171"/>
                </a:cubicBezTo>
                <a:cubicBezTo>
                  <a:pt x="599" y="163"/>
                  <a:pt x="590" y="161"/>
                  <a:pt x="583" y="165"/>
                </a:cubicBezTo>
                <a:cubicBezTo>
                  <a:pt x="577" y="169"/>
                  <a:pt x="577" y="169"/>
                  <a:pt x="577" y="169"/>
                </a:cubicBezTo>
                <a:cubicBezTo>
                  <a:pt x="567" y="176"/>
                  <a:pt x="554" y="175"/>
                  <a:pt x="547" y="167"/>
                </a:cubicBezTo>
                <a:cubicBezTo>
                  <a:pt x="537" y="156"/>
                  <a:pt x="539" y="139"/>
                  <a:pt x="550" y="132"/>
                </a:cubicBezTo>
                <a:cubicBezTo>
                  <a:pt x="556" y="128"/>
                  <a:pt x="556" y="128"/>
                  <a:pt x="556" y="128"/>
                </a:cubicBezTo>
                <a:cubicBezTo>
                  <a:pt x="563" y="123"/>
                  <a:pt x="564" y="113"/>
                  <a:pt x="558" y="106"/>
                </a:cubicBezTo>
                <a:cubicBezTo>
                  <a:pt x="556" y="103"/>
                  <a:pt x="553" y="100"/>
                  <a:pt x="550" y="97"/>
                </a:cubicBezTo>
                <a:cubicBezTo>
                  <a:pt x="544" y="91"/>
                  <a:pt x="534" y="91"/>
                  <a:pt x="528" y="98"/>
                </a:cubicBezTo>
                <a:cubicBezTo>
                  <a:pt x="524" y="103"/>
                  <a:pt x="524" y="103"/>
                  <a:pt x="524" y="103"/>
                </a:cubicBezTo>
                <a:cubicBezTo>
                  <a:pt x="516" y="112"/>
                  <a:pt x="504" y="115"/>
                  <a:pt x="494" y="109"/>
                </a:cubicBezTo>
                <a:cubicBezTo>
                  <a:pt x="481" y="102"/>
                  <a:pt x="479" y="85"/>
                  <a:pt x="488" y="74"/>
                </a:cubicBezTo>
                <a:cubicBezTo>
                  <a:pt x="492" y="70"/>
                  <a:pt x="492" y="70"/>
                  <a:pt x="492" y="70"/>
                </a:cubicBezTo>
                <a:cubicBezTo>
                  <a:pt x="497" y="63"/>
                  <a:pt x="496" y="53"/>
                  <a:pt x="488" y="48"/>
                </a:cubicBezTo>
                <a:cubicBezTo>
                  <a:pt x="485" y="46"/>
                  <a:pt x="481" y="44"/>
                  <a:pt x="477" y="41"/>
                </a:cubicBezTo>
                <a:cubicBezTo>
                  <a:pt x="470" y="37"/>
                  <a:pt x="460" y="40"/>
                  <a:pt x="457" y="48"/>
                </a:cubicBezTo>
                <a:cubicBezTo>
                  <a:pt x="454" y="55"/>
                  <a:pt x="454" y="55"/>
                  <a:pt x="454" y="55"/>
                </a:cubicBezTo>
                <a:cubicBezTo>
                  <a:pt x="450" y="65"/>
                  <a:pt x="438" y="71"/>
                  <a:pt x="427" y="69"/>
                </a:cubicBezTo>
                <a:cubicBezTo>
                  <a:pt x="413" y="65"/>
                  <a:pt x="406" y="50"/>
                  <a:pt x="412" y="37"/>
                </a:cubicBezTo>
                <a:cubicBezTo>
                  <a:pt x="414" y="31"/>
                  <a:pt x="414" y="31"/>
                  <a:pt x="414" y="31"/>
                </a:cubicBezTo>
                <a:cubicBezTo>
                  <a:pt x="418" y="23"/>
                  <a:pt x="413" y="14"/>
                  <a:pt x="405" y="12"/>
                </a:cubicBezTo>
                <a:cubicBezTo>
                  <a:pt x="401" y="11"/>
                  <a:pt x="396" y="9"/>
                  <a:pt x="392" y="9"/>
                </a:cubicBezTo>
                <a:cubicBezTo>
                  <a:pt x="384" y="7"/>
                  <a:pt x="376" y="12"/>
                  <a:pt x="375" y="21"/>
                </a:cubicBezTo>
                <a:cubicBezTo>
                  <a:pt x="374" y="29"/>
                  <a:pt x="374" y="29"/>
                  <a:pt x="374" y="29"/>
                </a:cubicBezTo>
                <a:cubicBezTo>
                  <a:pt x="372" y="41"/>
                  <a:pt x="360" y="50"/>
                  <a:pt x="348" y="49"/>
                </a:cubicBezTo>
                <a:cubicBezTo>
                  <a:pt x="337" y="52"/>
                  <a:pt x="325" y="43"/>
                  <a:pt x="327" y="31"/>
                </a:cubicBezTo>
                <a:cubicBezTo>
                  <a:pt x="329" y="17"/>
                  <a:pt x="329" y="17"/>
                  <a:pt x="329" y="17"/>
                </a:cubicBezTo>
                <a:cubicBezTo>
                  <a:pt x="330" y="8"/>
                  <a:pt x="323" y="0"/>
                  <a:pt x="314" y="0"/>
                </a:cubicBezTo>
                <a:cubicBezTo>
                  <a:pt x="310" y="0"/>
                  <a:pt x="306" y="1"/>
                  <a:pt x="301" y="1"/>
                </a:cubicBezTo>
                <a:cubicBezTo>
                  <a:pt x="293" y="1"/>
                  <a:pt x="286" y="9"/>
                  <a:pt x="288" y="18"/>
                </a:cubicBezTo>
                <a:cubicBezTo>
                  <a:pt x="289" y="25"/>
                  <a:pt x="289" y="25"/>
                  <a:pt x="289" y="25"/>
                </a:cubicBezTo>
                <a:cubicBezTo>
                  <a:pt x="291" y="39"/>
                  <a:pt x="281" y="52"/>
                  <a:pt x="266" y="52"/>
                </a:cubicBezTo>
                <a:cubicBezTo>
                  <a:pt x="255" y="52"/>
                  <a:pt x="245" y="43"/>
                  <a:pt x="244" y="32"/>
                </a:cubicBezTo>
                <a:cubicBezTo>
                  <a:pt x="243" y="27"/>
                  <a:pt x="243" y="27"/>
                  <a:pt x="243" y="27"/>
                </a:cubicBezTo>
                <a:cubicBezTo>
                  <a:pt x="241" y="18"/>
                  <a:pt x="233" y="13"/>
                  <a:pt x="224" y="15"/>
                </a:cubicBezTo>
                <a:cubicBezTo>
                  <a:pt x="224" y="15"/>
                  <a:pt x="224" y="15"/>
                  <a:pt x="224" y="15"/>
                </a:cubicBezTo>
                <a:cubicBezTo>
                  <a:pt x="220" y="17"/>
                  <a:pt x="216" y="18"/>
                  <a:pt x="212" y="19"/>
                </a:cubicBezTo>
                <a:cubicBezTo>
                  <a:pt x="204" y="22"/>
                  <a:pt x="200" y="31"/>
                  <a:pt x="204" y="39"/>
                </a:cubicBezTo>
                <a:cubicBezTo>
                  <a:pt x="207" y="46"/>
                  <a:pt x="207" y="46"/>
                  <a:pt x="207" y="46"/>
                </a:cubicBezTo>
                <a:cubicBezTo>
                  <a:pt x="212" y="56"/>
                  <a:pt x="209" y="68"/>
                  <a:pt x="200" y="75"/>
                </a:cubicBezTo>
                <a:cubicBezTo>
                  <a:pt x="188" y="83"/>
                  <a:pt x="172" y="79"/>
                  <a:pt x="166" y="66"/>
                </a:cubicBezTo>
                <a:cubicBezTo>
                  <a:pt x="163" y="60"/>
                  <a:pt x="163" y="60"/>
                  <a:pt x="163" y="60"/>
                </a:cubicBezTo>
                <a:cubicBezTo>
                  <a:pt x="159" y="52"/>
                  <a:pt x="149" y="50"/>
                  <a:pt x="142" y="55"/>
                </a:cubicBezTo>
                <a:cubicBezTo>
                  <a:pt x="138" y="57"/>
                  <a:pt x="135" y="59"/>
                  <a:pt x="131" y="62"/>
                </a:cubicBezTo>
                <a:cubicBezTo>
                  <a:pt x="124" y="67"/>
                  <a:pt x="123" y="77"/>
                  <a:pt x="129" y="83"/>
                </a:cubicBezTo>
                <a:cubicBezTo>
                  <a:pt x="134" y="89"/>
                  <a:pt x="134" y="89"/>
                  <a:pt x="134" y="89"/>
                </a:cubicBezTo>
                <a:cubicBezTo>
                  <a:pt x="141" y="97"/>
                  <a:pt x="142" y="110"/>
                  <a:pt x="135" y="119"/>
                </a:cubicBezTo>
                <a:cubicBezTo>
                  <a:pt x="126" y="130"/>
                  <a:pt x="109" y="130"/>
                  <a:pt x="100" y="120"/>
                </a:cubicBezTo>
                <a:cubicBezTo>
                  <a:pt x="96" y="115"/>
                  <a:pt x="96" y="115"/>
                  <a:pt x="96" y="115"/>
                </a:cubicBezTo>
                <a:cubicBezTo>
                  <a:pt x="90" y="109"/>
                  <a:pt x="80" y="109"/>
                  <a:pt x="74" y="116"/>
                </a:cubicBezTo>
                <a:cubicBezTo>
                  <a:pt x="71" y="119"/>
                  <a:pt x="69" y="122"/>
                  <a:pt x="66" y="126"/>
                </a:cubicBezTo>
                <a:cubicBezTo>
                  <a:pt x="61" y="133"/>
                  <a:pt x="63" y="142"/>
                  <a:pt x="70" y="147"/>
                </a:cubicBezTo>
                <a:cubicBezTo>
                  <a:pt x="77" y="151"/>
                  <a:pt x="77" y="151"/>
                  <a:pt x="77" y="151"/>
                </a:cubicBezTo>
                <a:cubicBezTo>
                  <a:pt x="87" y="158"/>
                  <a:pt x="91" y="172"/>
                  <a:pt x="84" y="183"/>
                </a:cubicBezTo>
                <a:cubicBezTo>
                  <a:pt x="88" y="194"/>
                  <a:pt x="75" y="204"/>
                  <a:pt x="65" y="198"/>
                </a:cubicBezTo>
                <a:cubicBezTo>
                  <a:pt x="47" y="187"/>
                  <a:pt x="47" y="187"/>
                  <a:pt x="47" y="187"/>
                </a:cubicBezTo>
                <a:cubicBezTo>
                  <a:pt x="40" y="182"/>
                  <a:pt x="30" y="185"/>
                  <a:pt x="26" y="193"/>
                </a:cubicBezTo>
                <a:cubicBezTo>
                  <a:pt x="25" y="197"/>
                  <a:pt x="23" y="201"/>
                  <a:pt x="21" y="205"/>
                </a:cubicBezTo>
                <a:cubicBezTo>
                  <a:pt x="18" y="213"/>
                  <a:pt x="23" y="222"/>
                  <a:pt x="31" y="225"/>
                </a:cubicBezTo>
                <a:cubicBezTo>
                  <a:pt x="39" y="227"/>
                  <a:pt x="39" y="227"/>
                  <a:pt x="39" y="227"/>
                </a:cubicBezTo>
                <a:cubicBezTo>
                  <a:pt x="51" y="230"/>
                  <a:pt x="58" y="243"/>
                  <a:pt x="55" y="255"/>
                </a:cubicBezTo>
                <a:cubicBezTo>
                  <a:pt x="51" y="267"/>
                  <a:pt x="39" y="274"/>
                  <a:pt x="26" y="271"/>
                </a:cubicBezTo>
                <a:cubicBezTo>
                  <a:pt x="20" y="269"/>
                  <a:pt x="20" y="269"/>
                  <a:pt x="20" y="269"/>
                </a:cubicBezTo>
                <a:cubicBezTo>
                  <a:pt x="12" y="267"/>
                  <a:pt x="3" y="273"/>
                  <a:pt x="2" y="281"/>
                </a:cubicBezTo>
                <a:cubicBezTo>
                  <a:pt x="2" y="286"/>
                  <a:pt x="1" y="290"/>
                  <a:pt x="1" y="294"/>
                </a:cubicBezTo>
                <a:cubicBezTo>
                  <a:pt x="0" y="303"/>
                  <a:pt x="7" y="310"/>
                  <a:pt x="16" y="310"/>
                </a:cubicBezTo>
                <a:cubicBezTo>
                  <a:pt x="23" y="310"/>
                  <a:pt x="23" y="310"/>
                  <a:pt x="23" y="310"/>
                </a:cubicBezTo>
                <a:cubicBezTo>
                  <a:pt x="36" y="310"/>
                  <a:pt x="47" y="320"/>
                  <a:pt x="47" y="332"/>
                </a:cubicBezTo>
                <a:cubicBezTo>
                  <a:pt x="47" y="345"/>
                  <a:pt x="37" y="356"/>
                  <a:pt x="24" y="356"/>
                </a:cubicBezTo>
                <a:cubicBezTo>
                  <a:pt x="18" y="356"/>
                  <a:pt x="18" y="356"/>
                  <a:pt x="18" y="356"/>
                </a:cubicBezTo>
                <a:cubicBezTo>
                  <a:pt x="9" y="356"/>
                  <a:pt x="3" y="364"/>
                  <a:pt x="4" y="373"/>
                </a:cubicBezTo>
                <a:cubicBezTo>
                  <a:pt x="5" y="377"/>
                  <a:pt x="5" y="381"/>
                  <a:pt x="6" y="385"/>
                </a:cubicBezTo>
                <a:cubicBezTo>
                  <a:pt x="8" y="394"/>
                  <a:pt x="17" y="399"/>
                  <a:pt x="25" y="396"/>
                </a:cubicBezTo>
                <a:cubicBezTo>
                  <a:pt x="32" y="394"/>
                  <a:pt x="32" y="394"/>
                  <a:pt x="32" y="394"/>
                </a:cubicBezTo>
                <a:cubicBezTo>
                  <a:pt x="44" y="390"/>
                  <a:pt x="57" y="397"/>
                  <a:pt x="61" y="409"/>
                </a:cubicBezTo>
                <a:cubicBezTo>
                  <a:pt x="65" y="421"/>
                  <a:pt x="58" y="434"/>
                  <a:pt x="46" y="438"/>
                </a:cubicBezTo>
                <a:cubicBezTo>
                  <a:pt x="40" y="440"/>
                  <a:pt x="40" y="440"/>
                  <a:pt x="40" y="440"/>
                </a:cubicBezTo>
                <a:cubicBezTo>
                  <a:pt x="32" y="442"/>
                  <a:pt x="28" y="452"/>
                  <a:pt x="31" y="460"/>
                </a:cubicBezTo>
                <a:cubicBezTo>
                  <a:pt x="33" y="464"/>
                  <a:pt x="35" y="467"/>
                  <a:pt x="37" y="471"/>
                </a:cubicBezTo>
                <a:cubicBezTo>
                  <a:pt x="41" y="479"/>
                  <a:pt x="51" y="481"/>
                  <a:pt x="58" y="476"/>
                </a:cubicBezTo>
                <a:cubicBezTo>
                  <a:pt x="64" y="472"/>
                  <a:pt x="64" y="472"/>
                  <a:pt x="64" y="472"/>
                </a:cubicBezTo>
                <a:cubicBezTo>
                  <a:pt x="73" y="466"/>
                  <a:pt x="86" y="467"/>
                  <a:pt x="94" y="475"/>
                </a:cubicBezTo>
                <a:cubicBezTo>
                  <a:pt x="104" y="486"/>
                  <a:pt x="102" y="503"/>
                  <a:pt x="90" y="510"/>
                </a:cubicBezTo>
                <a:cubicBezTo>
                  <a:pt x="85" y="514"/>
                  <a:pt x="85" y="514"/>
                  <a:pt x="85" y="514"/>
                </a:cubicBezTo>
                <a:cubicBezTo>
                  <a:pt x="78" y="519"/>
                  <a:pt x="76" y="529"/>
                  <a:pt x="82" y="535"/>
                </a:cubicBezTo>
                <a:cubicBezTo>
                  <a:pt x="85" y="539"/>
                  <a:pt x="88" y="542"/>
                  <a:pt x="91" y="545"/>
                </a:cubicBezTo>
                <a:cubicBezTo>
                  <a:pt x="97" y="551"/>
                  <a:pt x="107" y="551"/>
                  <a:pt x="112" y="544"/>
                </a:cubicBezTo>
                <a:cubicBezTo>
                  <a:pt x="117" y="538"/>
                  <a:pt x="117" y="538"/>
                  <a:pt x="117" y="538"/>
                </a:cubicBezTo>
                <a:cubicBezTo>
                  <a:pt x="126" y="528"/>
                  <a:pt x="140" y="527"/>
                  <a:pt x="150" y="535"/>
                </a:cubicBezTo>
                <a:cubicBezTo>
                  <a:pt x="160" y="543"/>
                  <a:pt x="161" y="558"/>
                  <a:pt x="153" y="567"/>
                </a:cubicBezTo>
                <a:cubicBezTo>
                  <a:pt x="149" y="572"/>
                  <a:pt x="149" y="572"/>
                  <a:pt x="149" y="572"/>
                </a:cubicBezTo>
                <a:cubicBezTo>
                  <a:pt x="143" y="579"/>
                  <a:pt x="145" y="589"/>
                  <a:pt x="152" y="594"/>
                </a:cubicBezTo>
                <a:cubicBezTo>
                  <a:pt x="156" y="596"/>
                  <a:pt x="160" y="598"/>
                  <a:pt x="163" y="600"/>
                </a:cubicBezTo>
                <a:cubicBezTo>
                  <a:pt x="171" y="605"/>
                  <a:pt x="180" y="601"/>
                  <a:pt x="184" y="594"/>
                </a:cubicBezTo>
                <a:cubicBezTo>
                  <a:pt x="187" y="586"/>
                  <a:pt x="187" y="586"/>
                  <a:pt x="187" y="586"/>
                </a:cubicBezTo>
                <a:cubicBezTo>
                  <a:pt x="192" y="575"/>
                  <a:pt x="205" y="569"/>
                  <a:pt x="217" y="574"/>
                </a:cubicBezTo>
                <a:cubicBezTo>
                  <a:pt x="229" y="579"/>
                  <a:pt x="234" y="593"/>
                  <a:pt x="229" y="605"/>
                </a:cubicBezTo>
                <a:cubicBezTo>
                  <a:pt x="227" y="610"/>
                  <a:pt x="227" y="610"/>
                  <a:pt x="227" y="610"/>
                </a:cubicBezTo>
                <a:cubicBezTo>
                  <a:pt x="223" y="619"/>
                  <a:pt x="228" y="628"/>
                  <a:pt x="236" y="630"/>
                </a:cubicBezTo>
                <a:cubicBezTo>
                  <a:pt x="240" y="631"/>
                  <a:pt x="244" y="632"/>
                  <a:pt x="248" y="633"/>
                </a:cubicBezTo>
                <a:cubicBezTo>
                  <a:pt x="257" y="635"/>
                  <a:pt x="265" y="629"/>
                  <a:pt x="266" y="621"/>
                </a:cubicBezTo>
                <a:cubicBezTo>
                  <a:pt x="267" y="613"/>
                  <a:pt x="267" y="613"/>
                  <a:pt x="267" y="613"/>
                </a:cubicBezTo>
                <a:cubicBezTo>
                  <a:pt x="269" y="601"/>
                  <a:pt x="280" y="592"/>
                  <a:pt x="293" y="593"/>
                </a:cubicBezTo>
                <a:cubicBezTo>
                  <a:pt x="305" y="595"/>
                  <a:pt x="314" y="606"/>
                  <a:pt x="313" y="619"/>
                </a:cubicBezTo>
                <a:cubicBezTo>
                  <a:pt x="312" y="625"/>
                  <a:pt x="312" y="625"/>
                  <a:pt x="312" y="625"/>
                </a:cubicBezTo>
                <a:cubicBezTo>
                  <a:pt x="311" y="634"/>
                  <a:pt x="318" y="642"/>
                  <a:pt x="327" y="641"/>
                </a:cubicBezTo>
                <a:cubicBezTo>
                  <a:pt x="331" y="641"/>
                  <a:pt x="335" y="641"/>
                  <a:pt x="339" y="641"/>
                </a:cubicBezTo>
                <a:cubicBezTo>
                  <a:pt x="348" y="640"/>
                  <a:pt x="354" y="633"/>
                  <a:pt x="353" y="624"/>
                </a:cubicBezTo>
                <a:cubicBezTo>
                  <a:pt x="352" y="616"/>
                  <a:pt x="352" y="616"/>
                  <a:pt x="352" y="616"/>
                </a:cubicBezTo>
                <a:cubicBezTo>
                  <a:pt x="349" y="604"/>
                  <a:pt x="358" y="592"/>
                  <a:pt x="371" y="590"/>
                </a:cubicBezTo>
                <a:cubicBezTo>
                  <a:pt x="383" y="588"/>
                  <a:pt x="395" y="596"/>
                  <a:pt x="397" y="609"/>
                </a:cubicBezTo>
                <a:cubicBezTo>
                  <a:pt x="398" y="615"/>
                  <a:pt x="398" y="615"/>
                  <a:pt x="398" y="615"/>
                </a:cubicBezTo>
                <a:cubicBezTo>
                  <a:pt x="399" y="624"/>
                  <a:pt x="408" y="629"/>
                  <a:pt x="416" y="627"/>
                </a:cubicBezTo>
                <a:cubicBezTo>
                  <a:pt x="417" y="627"/>
                  <a:pt x="417" y="627"/>
                  <a:pt x="417" y="627"/>
                </a:cubicBezTo>
                <a:cubicBezTo>
                  <a:pt x="421" y="625"/>
                  <a:pt x="425" y="624"/>
                  <a:pt x="429" y="622"/>
                </a:cubicBezTo>
                <a:cubicBezTo>
                  <a:pt x="437" y="620"/>
                  <a:pt x="441" y="610"/>
                  <a:pt x="437" y="603"/>
                </a:cubicBezTo>
                <a:cubicBezTo>
                  <a:pt x="434" y="596"/>
                  <a:pt x="434" y="596"/>
                  <a:pt x="434" y="596"/>
                </a:cubicBezTo>
                <a:cubicBezTo>
                  <a:pt x="428" y="584"/>
                  <a:pt x="433" y="570"/>
                  <a:pt x="444" y="565"/>
                </a:cubicBezTo>
                <a:cubicBezTo>
                  <a:pt x="456" y="559"/>
                  <a:pt x="470" y="564"/>
                  <a:pt x="475" y="576"/>
                </a:cubicBezTo>
                <a:cubicBezTo>
                  <a:pt x="478" y="581"/>
                  <a:pt x="478" y="581"/>
                  <a:pt x="478" y="581"/>
                </a:cubicBezTo>
                <a:cubicBezTo>
                  <a:pt x="482" y="589"/>
                  <a:pt x="492" y="592"/>
                  <a:pt x="499" y="587"/>
                </a:cubicBezTo>
                <a:cubicBezTo>
                  <a:pt x="502" y="585"/>
                  <a:pt x="506" y="582"/>
                  <a:pt x="509" y="580"/>
                </a:cubicBezTo>
                <a:cubicBezTo>
                  <a:pt x="516" y="575"/>
                  <a:pt x="517" y="565"/>
                  <a:pt x="512" y="558"/>
                </a:cubicBezTo>
                <a:cubicBezTo>
                  <a:pt x="506" y="553"/>
                  <a:pt x="506" y="553"/>
                  <a:pt x="506" y="553"/>
                </a:cubicBezTo>
                <a:cubicBezTo>
                  <a:pt x="498" y="543"/>
                  <a:pt x="499" y="529"/>
                  <a:pt x="508" y="520"/>
                </a:cubicBezTo>
                <a:cubicBezTo>
                  <a:pt x="517" y="512"/>
                  <a:pt x="532" y="512"/>
                  <a:pt x="541" y="522"/>
                </a:cubicBezTo>
                <a:cubicBezTo>
                  <a:pt x="545" y="526"/>
                  <a:pt x="545" y="526"/>
                  <a:pt x="545" y="526"/>
                </a:cubicBezTo>
                <a:cubicBezTo>
                  <a:pt x="551" y="533"/>
                  <a:pt x="561" y="533"/>
                  <a:pt x="567" y="526"/>
                </a:cubicBezTo>
                <a:cubicBezTo>
                  <a:pt x="569" y="523"/>
                  <a:pt x="572" y="519"/>
                  <a:pt x="575" y="516"/>
                </a:cubicBezTo>
                <a:cubicBezTo>
                  <a:pt x="580" y="509"/>
                  <a:pt x="578" y="499"/>
                  <a:pt x="571" y="495"/>
                </a:cubicBezTo>
                <a:cubicBezTo>
                  <a:pt x="564" y="491"/>
                  <a:pt x="564" y="491"/>
                  <a:pt x="564" y="491"/>
                </a:cubicBezTo>
                <a:cubicBezTo>
                  <a:pt x="553" y="484"/>
                  <a:pt x="550" y="470"/>
                  <a:pt x="557" y="459"/>
                </a:cubicBezTo>
                <a:cubicBezTo>
                  <a:pt x="553" y="448"/>
                  <a:pt x="566" y="438"/>
                  <a:pt x="576" y="444"/>
                </a:cubicBezTo>
                <a:close/>
                <a:moveTo>
                  <a:pt x="493" y="185"/>
                </a:moveTo>
                <a:cubicBezTo>
                  <a:pt x="509" y="205"/>
                  <a:pt x="521" y="229"/>
                  <a:pt x="530" y="255"/>
                </a:cubicBezTo>
                <a:cubicBezTo>
                  <a:pt x="537" y="279"/>
                  <a:pt x="540" y="303"/>
                  <a:pt x="540" y="327"/>
                </a:cubicBezTo>
                <a:cubicBezTo>
                  <a:pt x="530" y="326"/>
                  <a:pt x="530" y="326"/>
                  <a:pt x="530" y="326"/>
                </a:cubicBezTo>
                <a:cubicBezTo>
                  <a:pt x="531" y="278"/>
                  <a:pt x="515" y="230"/>
                  <a:pt x="485" y="191"/>
                </a:cubicBezTo>
                <a:lnTo>
                  <a:pt x="493" y="185"/>
                </a:lnTo>
                <a:close/>
                <a:moveTo>
                  <a:pt x="480" y="170"/>
                </a:moveTo>
                <a:cubicBezTo>
                  <a:pt x="472" y="177"/>
                  <a:pt x="472" y="177"/>
                  <a:pt x="472" y="177"/>
                </a:cubicBezTo>
                <a:cubicBezTo>
                  <a:pt x="455" y="158"/>
                  <a:pt x="433" y="142"/>
                  <a:pt x="409" y="131"/>
                </a:cubicBezTo>
                <a:cubicBezTo>
                  <a:pt x="388" y="121"/>
                  <a:pt x="367" y="115"/>
                  <a:pt x="345" y="113"/>
                </a:cubicBezTo>
                <a:cubicBezTo>
                  <a:pt x="346" y="103"/>
                  <a:pt x="346" y="103"/>
                  <a:pt x="346" y="103"/>
                </a:cubicBezTo>
                <a:cubicBezTo>
                  <a:pt x="397" y="109"/>
                  <a:pt x="445" y="133"/>
                  <a:pt x="480" y="170"/>
                </a:cubicBezTo>
                <a:close/>
                <a:moveTo>
                  <a:pt x="254" y="112"/>
                </a:moveTo>
                <a:cubicBezTo>
                  <a:pt x="278" y="104"/>
                  <a:pt x="303" y="101"/>
                  <a:pt x="326" y="101"/>
                </a:cubicBezTo>
                <a:cubicBezTo>
                  <a:pt x="326" y="111"/>
                  <a:pt x="326" y="111"/>
                  <a:pt x="326" y="111"/>
                </a:cubicBezTo>
                <a:cubicBezTo>
                  <a:pt x="277" y="110"/>
                  <a:pt x="229" y="126"/>
                  <a:pt x="191" y="156"/>
                </a:cubicBezTo>
                <a:cubicBezTo>
                  <a:pt x="184" y="149"/>
                  <a:pt x="184" y="149"/>
                  <a:pt x="184" y="149"/>
                </a:cubicBezTo>
                <a:cubicBezTo>
                  <a:pt x="205" y="133"/>
                  <a:pt x="228" y="120"/>
                  <a:pt x="254" y="112"/>
                </a:cubicBezTo>
                <a:close/>
                <a:moveTo>
                  <a:pt x="169" y="161"/>
                </a:moveTo>
                <a:cubicBezTo>
                  <a:pt x="176" y="169"/>
                  <a:pt x="176" y="169"/>
                  <a:pt x="176" y="169"/>
                </a:cubicBezTo>
                <a:cubicBezTo>
                  <a:pt x="157" y="187"/>
                  <a:pt x="142" y="208"/>
                  <a:pt x="130" y="233"/>
                </a:cubicBezTo>
                <a:cubicBezTo>
                  <a:pt x="121" y="253"/>
                  <a:pt x="115" y="275"/>
                  <a:pt x="112" y="296"/>
                </a:cubicBezTo>
                <a:cubicBezTo>
                  <a:pt x="102" y="295"/>
                  <a:pt x="102" y="295"/>
                  <a:pt x="102" y="295"/>
                </a:cubicBezTo>
                <a:cubicBezTo>
                  <a:pt x="108" y="244"/>
                  <a:pt x="132" y="197"/>
                  <a:pt x="169" y="161"/>
                </a:cubicBezTo>
                <a:close/>
                <a:moveTo>
                  <a:pt x="148" y="457"/>
                </a:moveTo>
                <a:cubicBezTo>
                  <a:pt x="132" y="437"/>
                  <a:pt x="119" y="413"/>
                  <a:pt x="111" y="387"/>
                </a:cubicBezTo>
                <a:cubicBezTo>
                  <a:pt x="103" y="363"/>
                  <a:pt x="100" y="339"/>
                  <a:pt x="101" y="315"/>
                </a:cubicBezTo>
                <a:cubicBezTo>
                  <a:pt x="111" y="315"/>
                  <a:pt x="111" y="315"/>
                  <a:pt x="111" y="315"/>
                </a:cubicBezTo>
                <a:cubicBezTo>
                  <a:pt x="110" y="364"/>
                  <a:pt x="126" y="412"/>
                  <a:pt x="156" y="450"/>
                </a:cubicBezTo>
                <a:lnTo>
                  <a:pt x="148" y="457"/>
                </a:lnTo>
                <a:close/>
                <a:moveTo>
                  <a:pt x="161" y="472"/>
                </a:moveTo>
                <a:cubicBezTo>
                  <a:pt x="168" y="465"/>
                  <a:pt x="168" y="465"/>
                  <a:pt x="168" y="465"/>
                </a:cubicBezTo>
                <a:cubicBezTo>
                  <a:pt x="186" y="484"/>
                  <a:pt x="207" y="499"/>
                  <a:pt x="232" y="511"/>
                </a:cubicBezTo>
                <a:cubicBezTo>
                  <a:pt x="253" y="521"/>
                  <a:pt x="274" y="526"/>
                  <a:pt x="295" y="529"/>
                </a:cubicBezTo>
                <a:cubicBezTo>
                  <a:pt x="295" y="539"/>
                  <a:pt x="295" y="539"/>
                  <a:pt x="295" y="539"/>
                </a:cubicBezTo>
                <a:cubicBezTo>
                  <a:pt x="244" y="533"/>
                  <a:pt x="196" y="509"/>
                  <a:pt x="161" y="472"/>
                </a:cubicBezTo>
                <a:close/>
                <a:moveTo>
                  <a:pt x="247" y="478"/>
                </a:moveTo>
                <a:cubicBezTo>
                  <a:pt x="161" y="438"/>
                  <a:pt x="123" y="335"/>
                  <a:pt x="163" y="248"/>
                </a:cubicBezTo>
                <a:cubicBezTo>
                  <a:pt x="204" y="161"/>
                  <a:pt x="307" y="124"/>
                  <a:pt x="393" y="164"/>
                </a:cubicBezTo>
                <a:cubicBezTo>
                  <a:pt x="480" y="204"/>
                  <a:pt x="517" y="307"/>
                  <a:pt x="477" y="394"/>
                </a:cubicBezTo>
                <a:cubicBezTo>
                  <a:pt x="437" y="480"/>
                  <a:pt x="334" y="518"/>
                  <a:pt x="247" y="478"/>
                </a:cubicBezTo>
                <a:close/>
                <a:moveTo>
                  <a:pt x="386" y="530"/>
                </a:moveTo>
                <a:cubicBezTo>
                  <a:pt x="362" y="538"/>
                  <a:pt x="338" y="541"/>
                  <a:pt x="314" y="540"/>
                </a:cubicBezTo>
                <a:cubicBezTo>
                  <a:pt x="315" y="530"/>
                  <a:pt x="315" y="530"/>
                  <a:pt x="315" y="530"/>
                </a:cubicBezTo>
                <a:cubicBezTo>
                  <a:pt x="364" y="532"/>
                  <a:pt x="411" y="516"/>
                  <a:pt x="450" y="486"/>
                </a:cubicBezTo>
                <a:cubicBezTo>
                  <a:pt x="456" y="493"/>
                  <a:pt x="456" y="493"/>
                  <a:pt x="456" y="493"/>
                </a:cubicBezTo>
                <a:cubicBezTo>
                  <a:pt x="436" y="509"/>
                  <a:pt x="412" y="522"/>
                  <a:pt x="386" y="530"/>
                </a:cubicBezTo>
                <a:close/>
                <a:moveTo>
                  <a:pt x="471" y="480"/>
                </a:moveTo>
                <a:cubicBezTo>
                  <a:pt x="465" y="473"/>
                  <a:pt x="465" y="473"/>
                  <a:pt x="465" y="473"/>
                </a:cubicBezTo>
                <a:cubicBezTo>
                  <a:pt x="483" y="455"/>
                  <a:pt x="499" y="434"/>
                  <a:pt x="510" y="409"/>
                </a:cubicBezTo>
                <a:cubicBezTo>
                  <a:pt x="520" y="389"/>
                  <a:pt x="526" y="367"/>
                  <a:pt x="528" y="346"/>
                </a:cubicBezTo>
                <a:cubicBezTo>
                  <a:pt x="538" y="347"/>
                  <a:pt x="538" y="347"/>
                  <a:pt x="538" y="347"/>
                </a:cubicBezTo>
                <a:cubicBezTo>
                  <a:pt x="532" y="398"/>
                  <a:pt x="508" y="445"/>
                  <a:pt x="471" y="480"/>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44" name="Freeform 122"/>
          <p:cNvSpPr>
            <a:spLocks noEditPoints="1"/>
          </p:cNvSpPr>
          <p:nvPr/>
        </p:nvSpPr>
        <p:spPr bwMode="auto">
          <a:xfrm>
            <a:off x="5057775" y="2994025"/>
            <a:ext cx="1593850" cy="1597025"/>
          </a:xfrm>
          <a:custGeom>
            <a:avLst/>
            <a:gdLst>
              <a:gd name="T0" fmla="*/ 640 w 671"/>
              <a:gd name="T1" fmla="*/ 357 h 672"/>
              <a:gd name="T2" fmla="*/ 626 w 671"/>
              <a:gd name="T3" fmla="*/ 244 h 672"/>
              <a:gd name="T4" fmla="*/ 573 w 671"/>
              <a:gd name="T5" fmla="*/ 144 h 672"/>
              <a:gd name="T6" fmla="*/ 515 w 671"/>
              <a:gd name="T7" fmla="*/ 51 h 672"/>
              <a:gd name="T8" fmla="*/ 409 w 671"/>
              <a:gd name="T9" fmla="*/ 8 h 672"/>
              <a:gd name="T10" fmla="*/ 295 w 671"/>
              <a:gd name="T11" fmla="*/ 2 h 672"/>
              <a:gd name="T12" fmla="*/ 198 w 671"/>
              <a:gd name="T13" fmla="*/ 29 h 672"/>
              <a:gd name="T14" fmla="*/ 129 w 671"/>
              <a:gd name="T15" fmla="*/ 114 h 672"/>
              <a:gd name="T16" fmla="*/ 52 w 671"/>
              <a:gd name="T17" fmla="*/ 227 h 672"/>
              <a:gd name="T18" fmla="*/ 0 w 671"/>
              <a:gd name="T19" fmla="*/ 324 h 672"/>
              <a:gd name="T20" fmla="*/ 16 w 671"/>
              <a:gd name="T21" fmla="*/ 437 h 672"/>
              <a:gd name="T22" fmla="*/ 68 w 671"/>
              <a:gd name="T23" fmla="*/ 539 h 672"/>
              <a:gd name="T24" fmla="*/ 166 w 671"/>
              <a:gd name="T25" fmla="*/ 588 h 672"/>
              <a:gd name="T26" fmla="*/ 293 w 671"/>
              <a:gd name="T27" fmla="*/ 637 h 672"/>
              <a:gd name="T28" fmla="*/ 399 w 671"/>
              <a:gd name="T29" fmla="*/ 666 h 672"/>
              <a:gd name="T30" fmla="*/ 494 w 671"/>
              <a:gd name="T31" fmla="*/ 633 h 672"/>
              <a:gd name="T32" fmla="*/ 584 w 671"/>
              <a:gd name="T33" fmla="*/ 563 h 672"/>
              <a:gd name="T34" fmla="*/ 646 w 671"/>
              <a:gd name="T35" fmla="*/ 467 h 672"/>
              <a:gd name="T36" fmla="*/ 579 w 671"/>
              <a:gd name="T37" fmla="*/ 437 h 672"/>
              <a:gd name="T38" fmla="*/ 598 w 671"/>
              <a:gd name="T39" fmla="*/ 364 h 672"/>
              <a:gd name="T40" fmla="*/ 599 w 671"/>
              <a:gd name="T41" fmla="*/ 327 h 672"/>
              <a:gd name="T42" fmla="*/ 548 w 671"/>
              <a:gd name="T43" fmla="*/ 273 h 672"/>
              <a:gd name="T44" fmla="*/ 575 w 671"/>
              <a:gd name="T45" fmla="*/ 225 h 672"/>
              <a:gd name="T46" fmla="*/ 557 w 671"/>
              <a:gd name="T47" fmla="*/ 192 h 672"/>
              <a:gd name="T48" fmla="*/ 530 w 671"/>
              <a:gd name="T49" fmla="*/ 157 h 672"/>
              <a:gd name="T50" fmla="*/ 502 w 671"/>
              <a:gd name="T51" fmla="*/ 131 h 672"/>
              <a:gd name="T52" fmla="*/ 429 w 671"/>
              <a:gd name="T53" fmla="*/ 136 h 672"/>
              <a:gd name="T54" fmla="*/ 398 w 671"/>
              <a:gd name="T55" fmla="*/ 124 h 672"/>
              <a:gd name="T56" fmla="*/ 373 w 671"/>
              <a:gd name="T57" fmla="*/ 75 h 672"/>
              <a:gd name="T58" fmla="*/ 365 w 671"/>
              <a:gd name="T59" fmla="*/ 74 h 672"/>
              <a:gd name="T60" fmla="*/ 290 w 671"/>
              <a:gd name="T61" fmla="*/ 76 h 672"/>
              <a:gd name="T62" fmla="*/ 267 w 671"/>
              <a:gd name="T63" fmla="*/ 127 h 672"/>
              <a:gd name="T64" fmla="*/ 217 w 671"/>
              <a:gd name="T65" fmla="*/ 151 h 672"/>
              <a:gd name="T66" fmla="*/ 162 w 671"/>
              <a:gd name="T67" fmla="*/ 137 h 672"/>
              <a:gd name="T68" fmla="*/ 157 w 671"/>
              <a:gd name="T69" fmla="*/ 142 h 672"/>
              <a:gd name="T70" fmla="*/ 109 w 671"/>
              <a:gd name="T71" fmla="*/ 200 h 672"/>
              <a:gd name="T72" fmla="*/ 92 w 671"/>
              <a:gd name="T73" fmla="*/ 234 h 672"/>
              <a:gd name="T74" fmla="*/ 123 w 671"/>
              <a:gd name="T75" fmla="*/ 281 h 672"/>
              <a:gd name="T76" fmla="*/ 117 w 671"/>
              <a:gd name="T77" fmla="*/ 312 h 672"/>
              <a:gd name="T78" fmla="*/ 74 w 671"/>
              <a:gd name="T79" fmla="*/ 375 h 672"/>
              <a:gd name="T80" fmla="*/ 76 w 671"/>
              <a:gd name="T81" fmla="*/ 382 h 672"/>
              <a:gd name="T82" fmla="*/ 114 w 671"/>
              <a:gd name="T83" fmla="*/ 480 h 672"/>
              <a:gd name="T84" fmla="*/ 155 w 671"/>
              <a:gd name="T85" fmla="*/ 462 h 672"/>
              <a:gd name="T86" fmla="*/ 193 w 671"/>
              <a:gd name="T87" fmla="*/ 503 h 672"/>
              <a:gd name="T88" fmla="*/ 218 w 671"/>
              <a:gd name="T89" fmla="*/ 522 h 672"/>
              <a:gd name="T90" fmla="*/ 228 w 671"/>
              <a:gd name="T91" fmla="*/ 577 h 672"/>
              <a:gd name="T92" fmla="*/ 251 w 671"/>
              <a:gd name="T93" fmla="*/ 521 h 672"/>
              <a:gd name="T94" fmla="*/ 271 w 671"/>
              <a:gd name="T95" fmla="*/ 592 h 672"/>
              <a:gd name="T96" fmla="*/ 313 w 671"/>
              <a:gd name="T97" fmla="*/ 555 h 672"/>
              <a:gd name="T98" fmla="*/ 369 w 671"/>
              <a:gd name="T99" fmla="*/ 554 h 672"/>
              <a:gd name="T100" fmla="*/ 412 w 671"/>
              <a:gd name="T101" fmla="*/ 589 h 672"/>
              <a:gd name="T102" fmla="*/ 419 w 671"/>
              <a:gd name="T103" fmla="*/ 586 h 672"/>
              <a:gd name="T104" fmla="*/ 487 w 671"/>
              <a:gd name="T105" fmla="*/ 553 h 672"/>
              <a:gd name="T106" fmla="*/ 487 w 671"/>
              <a:gd name="T107" fmla="*/ 497 h 672"/>
              <a:gd name="T108" fmla="*/ 522 w 671"/>
              <a:gd name="T109" fmla="*/ 454 h 672"/>
              <a:gd name="T110" fmla="*/ 537 w 671"/>
              <a:gd name="T111" fmla="*/ 42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1" h="672">
                <a:moveTo>
                  <a:pt x="620" y="446"/>
                </a:moveTo>
                <a:cubicBezTo>
                  <a:pt x="626" y="431"/>
                  <a:pt x="630" y="416"/>
                  <a:pt x="633" y="401"/>
                </a:cubicBezTo>
                <a:cubicBezTo>
                  <a:pt x="667" y="398"/>
                  <a:pt x="667" y="398"/>
                  <a:pt x="667" y="398"/>
                </a:cubicBezTo>
                <a:cubicBezTo>
                  <a:pt x="669" y="384"/>
                  <a:pt x="669" y="384"/>
                  <a:pt x="669" y="384"/>
                </a:cubicBezTo>
                <a:cubicBezTo>
                  <a:pt x="671" y="370"/>
                  <a:pt x="671" y="370"/>
                  <a:pt x="671" y="370"/>
                </a:cubicBezTo>
                <a:cubicBezTo>
                  <a:pt x="640" y="357"/>
                  <a:pt x="640" y="357"/>
                  <a:pt x="640" y="357"/>
                </a:cubicBezTo>
                <a:cubicBezTo>
                  <a:pt x="641" y="342"/>
                  <a:pt x="641" y="326"/>
                  <a:pt x="639" y="311"/>
                </a:cubicBezTo>
                <a:cubicBezTo>
                  <a:pt x="671" y="298"/>
                  <a:pt x="671" y="298"/>
                  <a:pt x="671" y="298"/>
                </a:cubicBezTo>
                <a:cubicBezTo>
                  <a:pt x="669" y="284"/>
                  <a:pt x="669" y="284"/>
                  <a:pt x="669" y="284"/>
                </a:cubicBezTo>
                <a:cubicBezTo>
                  <a:pt x="666" y="270"/>
                  <a:pt x="666" y="270"/>
                  <a:pt x="666" y="270"/>
                </a:cubicBezTo>
                <a:cubicBezTo>
                  <a:pt x="633" y="267"/>
                  <a:pt x="633" y="267"/>
                  <a:pt x="633" y="267"/>
                </a:cubicBezTo>
                <a:cubicBezTo>
                  <a:pt x="631" y="259"/>
                  <a:pt x="629" y="252"/>
                  <a:pt x="626" y="244"/>
                </a:cubicBezTo>
                <a:cubicBezTo>
                  <a:pt x="624" y="237"/>
                  <a:pt x="621" y="230"/>
                  <a:pt x="619" y="222"/>
                </a:cubicBezTo>
                <a:cubicBezTo>
                  <a:pt x="645" y="201"/>
                  <a:pt x="645" y="201"/>
                  <a:pt x="645" y="201"/>
                </a:cubicBezTo>
                <a:cubicBezTo>
                  <a:pt x="638" y="188"/>
                  <a:pt x="638" y="188"/>
                  <a:pt x="638" y="188"/>
                </a:cubicBezTo>
                <a:cubicBezTo>
                  <a:pt x="632" y="175"/>
                  <a:pt x="632" y="175"/>
                  <a:pt x="632" y="175"/>
                </a:cubicBezTo>
                <a:cubicBezTo>
                  <a:pt x="599" y="183"/>
                  <a:pt x="599" y="183"/>
                  <a:pt x="599" y="183"/>
                </a:cubicBezTo>
                <a:cubicBezTo>
                  <a:pt x="591" y="169"/>
                  <a:pt x="582" y="156"/>
                  <a:pt x="573" y="144"/>
                </a:cubicBezTo>
                <a:cubicBezTo>
                  <a:pt x="591" y="116"/>
                  <a:pt x="591" y="116"/>
                  <a:pt x="591" y="116"/>
                </a:cubicBezTo>
                <a:cubicBezTo>
                  <a:pt x="581" y="106"/>
                  <a:pt x="581" y="106"/>
                  <a:pt x="581" y="106"/>
                </a:cubicBezTo>
                <a:cubicBezTo>
                  <a:pt x="572" y="95"/>
                  <a:pt x="572" y="95"/>
                  <a:pt x="572" y="95"/>
                </a:cubicBezTo>
                <a:cubicBezTo>
                  <a:pt x="542" y="112"/>
                  <a:pt x="542" y="112"/>
                  <a:pt x="542" y="112"/>
                </a:cubicBezTo>
                <a:cubicBezTo>
                  <a:pt x="531" y="101"/>
                  <a:pt x="519" y="92"/>
                  <a:pt x="506" y="83"/>
                </a:cubicBezTo>
                <a:cubicBezTo>
                  <a:pt x="515" y="51"/>
                  <a:pt x="515" y="51"/>
                  <a:pt x="515" y="51"/>
                </a:cubicBezTo>
                <a:cubicBezTo>
                  <a:pt x="503" y="44"/>
                  <a:pt x="503" y="44"/>
                  <a:pt x="503" y="44"/>
                </a:cubicBezTo>
                <a:cubicBezTo>
                  <a:pt x="490" y="37"/>
                  <a:pt x="490" y="37"/>
                  <a:pt x="490" y="37"/>
                </a:cubicBezTo>
                <a:cubicBezTo>
                  <a:pt x="467" y="61"/>
                  <a:pt x="467" y="61"/>
                  <a:pt x="467" y="61"/>
                </a:cubicBezTo>
                <a:cubicBezTo>
                  <a:pt x="453" y="55"/>
                  <a:pt x="439" y="49"/>
                  <a:pt x="424" y="44"/>
                </a:cubicBezTo>
                <a:cubicBezTo>
                  <a:pt x="423" y="11"/>
                  <a:pt x="423" y="11"/>
                  <a:pt x="423" y="11"/>
                </a:cubicBezTo>
                <a:cubicBezTo>
                  <a:pt x="409" y="8"/>
                  <a:pt x="409" y="8"/>
                  <a:pt x="409" y="8"/>
                </a:cubicBezTo>
                <a:cubicBezTo>
                  <a:pt x="395" y="4"/>
                  <a:pt x="395" y="4"/>
                  <a:pt x="395" y="4"/>
                </a:cubicBezTo>
                <a:cubicBezTo>
                  <a:pt x="381" y="35"/>
                  <a:pt x="381" y="35"/>
                  <a:pt x="381" y="35"/>
                </a:cubicBezTo>
                <a:cubicBezTo>
                  <a:pt x="365" y="33"/>
                  <a:pt x="350" y="32"/>
                  <a:pt x="334" y="32"/>
                </a:cubicBezTo>
                <a:cubicBezTo>
                  <a:pt x="323" y="0"/>
                  <a:pt x="323" y="0"/>
                  <a:pt x="323" y="0"/>
                </a:cubicBezTo>
                <a:cubicBezTo>
                  <a:pt x="309" y="1"/>
                  <a:pt x="309" y="1"/>
                  <a:pt x="309" y="1"/>
                </a:cubicBezTo>
                <a:cubicBezTo>
                  <a:pt x="295" y="2"/>
                  <a:pt x="295" y="2"/>
                  <a:pt x="295" y="2"/>
                </a:cubicBezTo>
                <a:cubicBezTo>
                  <a:pt x="290" y="35"/>
                  <a:pt x="290" y="35"/>
                  <a:pt x="290" y="35"/>
                </a:cubicBezTo>
                <a:cubicBezTo>
                  <a:pt x="275" y="38"/>
                  <a:pt x="260" y="41"/>
                  <a:pt x="245" y="46"/>
                </a:cubicBezTo>
                <a:cubicBezTo>
                  <a:pt x="244" y="46"/>
                  <a:pt x="244" y="46"/>
                  <a:pt x="244" y="46"/>
                </a:cubicBezTo>
                <a:cubicBezTo>
                  <a:pt x="225" y="18"/>
                  <a:pt x="225" y="18"/>
                  <a:pt x="225" y="18"/>
                </a:cubicBezTo>
                <a:cubicBezTo>
                  <a:pt x="212" y="24"/>
                  <a:pt x="212" y="24"/>
                  <a:pt x="212" y="24"/>
                </a:cubicBezTo>
                <a:cubicBezTo>
                  <a:pt x="198" y="29"/>
                  <a:pt x="198" y="29"/>
                  <a:pt x="198" y="29"/>
                </a:cubicBezTo>
                <a:cubicBezTo>
                  <a:pt x="203" y="62"/>
                  <a:pt x="203" y="62"/>
                  <a:pt x="203" y="62"/>
                </a:cubicBezTo>
                <a:cubicBezTo>
                  <a:pt x="189" y="69"/>
                  <a:pt x="176" y="77"/>
                  <a:pt x="163" y="86"/>
                </a:cubicBezTo>
                <a:cubicBezTo>
                  <a:pt x="136" y="65"/>
                  <a:pt x="136" y="65"/>
                  <a:pt x="136" y="65"/>
                </a:cubicBezTo>
                <a:cubicBezTo>
                  <a:pt x="125" y="74"/>
                  <a:pt x="125" y="74"/>
                  <a:pt x="125" y="74"/>
                </a:cubicBezTo>
                <a:cubicBezTo>
                  <a:pt x="114" y="83"/>
                  <a:pt x="114" y="83"/>
                  <a:pt x="114" y="83"/>
                </a:cubicBezTo>
                <a:cubicBezTo>
                  <a:pt x="129" y="114"/>
                  <a:pt x="129" y="114"/>
                  <a:pt x="129" y="114"/>
                </a:cubicBezTo>
                <a:cubicBezTo>
                  <a:pt x="117" y="124"/>
                  <a:pt x="107" y="136"/>
                  <a:pt x="97" y="148"/>
                </a:cubicBezTo>
                <a:cubicBezTo>
                  <a:pt x="65" y="136"/>
                  <a:pt x="65" y="136"/>
                  <a:pt x="65" y="136"/>
                </a:cubicBezTo>
                <a:cubicBezTo>
                  <a:pt x="57" y="148"/>
                  <a:pt x="57" y="148"/>
                  <a:pt x="57" y="148"/>
                </a:cubicBezTo>
                <a:cubicBezTo>
                  <a:pt x="49" y="160"/>
                  <a:pt x="49" y="160"/>
                  <a:pt x="49" y="160"/>
                </a:cubicBezTo>
                <a:cubicBezTo>
                  <a:pt x="72" y="185"/>
                  <a:pt x="72" y="185"/>
                  <a:pt x="72" y="185"/>
                </a:cubicBezTo>
                <a:cubicBezTo>
                  <a:pt x="65" y="198"/>
                  <a:pt x="58" y="212"/>
                  <a:pt x="52" y="227"/>
                </a:cubicBezTo>
                <a:cubicBezTo>
                  <a:pt x="19" y="225"/>
                  <a:pt x="19" y="225"/>
                  <a:pt x="19" y="225"/>
                </a:cubicBezTo>
                <a:cubicBezTo>
                  <a:pt x="14" y="239"/>
                  <a:pt x="14" y="239"/>
                  <a:pt x="14" y="239"/>
                </a:cubicBezTo>
                <a:cubicBezTo>
                  <a:pt x="10" y="252"/>
                  <a:pt x="10" y="252"/>
                  <a:pt x="10" y="252"/>
                </a:cubicBezTo>
                <a:cubicBezTo>
                  <a:pt x="40" y="269"/>
                  <a:pt x="40" y="269"/>
                  <a:pt x="40" y="269"/>
                </a:cubicBezTo>
                <a:cubicBezTo>
                  <a:pt x="36" y="284"/>
                  <a:pt x="34" y="300"/>
                  <a:pt x="33" y="316"/>
                </a:cubicBezTo>
                <a:cubicBezTo>
                  <a:pt x="0" y="324"/>
                  <a:pt x="0" y="324"/>
                  <a:pt x="0" y="324"/>
                </a:cubicBezTo>
                <a:cubicBezTo>
                  <a:pt x="0" y="338"/>
                  <a:pt x="0" y="338"/>
                  <a:pt x="0" y="338"/>
                </a:cubicBezTo>
                <a:cubicBezTo>
                  <a:pt x="0" y="352"/>
                  <a:pt x="0" y="352"/>
                  <a:pt x="0" y="352"/>
                </a:cubicBezTo>
                <a:cubicBezTo>
                  <a:pt x="33" y="360"/>
                  <a:pt x="33" y="360"/>
                  <a:pt x="33" y="360"/>
                </a:cubicBezTo>
                <a:cubicBezTo>
                  <a:pt x="34" y="375"/>
                  <a:pt x="37" y="390"/>
                  <a:pt x="40" y="406"/>
                </a:cubicBezTo>
                <a:cubicBezTo>
                  <a:pt x="11" y="423"/>
                  <a:pt x="11" y="423"/>
                  <a:pt x="11" y="423"/>
                </a:cubicBezTo>
                <a:cubicBezTo>
                  <a:pt x="16" y="437"/>
                  <a:pt x="16" y="437"/>
                  <a:pt x="16" y="437"/>
                </a:cubicBezTo>
                <a:cubicBezTo>
                  <a:pt x="20" y="450"/>
                  <a:pt x="20" y="450"/>
                  <a:pt x="20" y="450"/>
                </a:cubicBezTo>
                <a:cubicBezTo>
                  <a:pt x="54" y="448"/>
                  <a:pt x="54" y="448"/>
                  <a:pt x="54" y="448"/>
                </a:cubicBezTo>
                <a:cubicBezTo>
                  <a:pt x="60" y="463"/>
                  <a:pt x="66" y="477"/>
                  <a:pt x="74" y="490"/>
                </a:cubicBezTo>
                <a:cubicBezTo>
                  <a:pt x="52" y="515"/>
                  <a:pt x="52" y="515"/>
                  <a:pt x="52" y="515"/>
                </a:cubicBezTo>
                <a:cubicBezTo>
                  <a:pt x="60" y="527"/>
                  <a:pt x="60" y="527"/>
                  <a:pt x="60" y="527"/>
                </a:cubicBezTo>
                <a:cubicBezTo>
                  <a:pt x="68" y="539"/>
                  <a:pt x="68" y="539"/>
                  <a:pt x="68" y="539"/>
                </a:cubicBezTo>
                <a:cubicBezTo>
                  <a:pt x="99" y="526"/>
                  <a:pt x="99" y="526"/>
                  <a:pt x="99" y="526"/>
                </a:cubicBezTo>
                <a:cubicBezTo>
                  <a:pt x="109" y="539"/>
                  <a:pt x="120" y="550"/>
                  <a:pt x="131" y="560"/>
                </a:cubicBezTo>
                <a:cubicBezTo>
                  <a:pt x="117" y="591"/>
                  <a:pt x="117" y="591"/>
                  <a:pt x="117" y="591"/>
                </a:cubicBezTo>
                <a:cubicBezTo>
                  <a:pt x="128" y="600"/>
                  <a:pt x="128" y="600"/>
                  <a:pt x="128" y="600"/>
                </a:cubicBezTo>
                <a:cubicBezTo>
                  <a:pt x="139" y="609"/>
                  <a:pt x="139" y="609"/>
                  <a:pt x="139" y="609"/>
                </a:cubicBezTo>
                <a:cubicBezTo>
                  <a:pt x="166" y="588"/>
                  <a:pt x="166" y="588"/>
                  <a:pt x="166" y="588"/>
                </a:cubicBezTo>
                <a:cubicBezTo>
                  <a:pt x="179" y="596"/>
                  <a:pt x="193" y="604"/>
                  <a:pt x="207" y="611"/>
                </a:cubicBezTo>
                <a:cubicBezTo>
                  <a:pt x="202" y="644"/>
                  <a:pt x="202" y="644"/>
                  <a:pt x="202" y="644"/>
                </a:cubicBezTo>
                <a:cubicBezTo>
                  <a:pt x="215" y="650"/>
                  <a:pt x="215" y="650"/>
                  <a:pt x="215" y="650"/>
                </a:cubicBezTo>
                <a:cubicBezTo>
                  <a:pt x="229" y="655"/>
                  <a:pt x="229" y="655"/>
                  <a:pt x="229" y="655"/>
                </a:cubicBezTo>
                <a:cubicBezTo>
                  <a:pt x="248" y="627"/>
                  <a:pt x="248" y="627"/>
                  <a:pt x="248" y="627"/>
                </a:cubicBezTo>
                <a:cubicBezTo>
                  <a:pt x="263" y="631"/>
                  <a:pt x="278" y="635"/>
                  <a:pt x="293" y="637"/>
                </a:cubicBezTo>
                <a:cubicBezTo>
                  <a:pt x="299" y="670"/>
                  <a:pt x="299" y="670"/>
                  <a:pt x="299" y="670"/>
                </a:cubicBezTo>
                <a:cubicBezTo>
                  <a:pt x="313" y="671"/>
                  <a:pt x="313" y="671"/>
                  <a:pt x="313" y="671"/>
                </a:cubicBezTo>
                <a:cubicBezTo>
                  <a:pt x="327" y="672"/>
                  <a:pt x="327" y="672"/>
                  <a:pt x="327" y="672"/>
                </a:cubicBezTo>
                <a:cubicBezTo>
                  <a:pt x="338" y="640"/>
                  <a:pt x="338" y="640"/>
                  <a:pt x="338" y="640"/>
                </a:cubicBezTo>
                <a:cubicBezTo>
                  <a:pt x="353" y="640"/>
                  <a:pt x="369" y="639"/>
                  <a:pt x="384" y="636"/>
                </a:cubicBezTo>
                <a:cubicBezTo>
                  <a:pt x="399" y="666"/>
                  <a:pt x="399" y="666"/>
                  <a:pt x="399" y="666"/>
                </a:cubicBezTo>
                <a:cubicBezTo>
                  <a:pt x="413" y="663"/>
                  <a:pt x="413" y="663"/>
                  <a:pt x="413" y="663"/>
                </a:cubicBezTo>
                <a:cubicBezTo>
                  <a:pt x="427" y="660"/>
                  <a:pt x="427" y="660"/>
                  <a:pt x="427" y="660"/>
                </a:cubicBezTo>
                <a:cubicBezTo>
                  <a:pt x="427" y="626"/>
                  <a:pt x="427" y="626"/>
                  <a:pt x="427" y="626"/>
                </a:cubicBezTo>
                <a:cubicBezTo>
                  <a:pt x="428" y="626"/>
                  <a:pt x="428" y="626"/>
                  <a:pt x="428" y="626"/>
                </a:cubicBezTo>
                <a:cubicBezTo>
                  <a:pt x="443" y="621"/>
                  <a:pt x="457" y="615"/>
                  <a:pt x="471" y="609"/>
                </a:cubicBezTo>
                <a:cubicBezTo>
                  <a:pt x="494" y="633"/>
                  <a:pt x="494" y="633"/>
                  <a:pt x="494" y="633"/>
                </a:cubicBezTo>
                <a:cubicBezTo>
                  <a:pt x="506" y="626"/>
                  <a:pt x="506" y="626"/>
                  <a:pt x="506" y="626"/>
                </a:cubicBezTo>
                <a:cubicBezTo>
                  <a:pt x="518" y="619"/>
                  <a:pt x="518" y="619"/>
                  <a:pt x="518" y="619"/>
                </a:cubicBezTo>
                <a:cubicBezTo>
                  <a:pt x="509" y="586"/>
                  <a:pt x="509" y="586"/>
                  <a:pt x="509" y="586"/>
                </a:cubicBezTo>
                <a:cubicBezTo>
                  <a:pt x="522" y="578"/>
                  <a:pt x="534" y="568"/>
                  <a:pt x="545" y="557"/>
                </a:cubicBezTo>
                <a:cubicBezTo>
                  <a:pt x="575" y="574"/>
                  <a:pt x="575" y="574"/>
                  <a:pt x="575" y="574"/>
                </a:cubicBezTo>
                <a:cubicBezTo>
                  <a:pt x="584" y="563"/>
                  <a:pt x="584" y="563"/>
                  <a:pt x="584" y="563"/>
                </a:cubicBezTo>
                <a:cubicBezTo>
                  <a:pt x="594" y="553"/>
                  <a:pt x="594" y="553"/>
                  <a:pt x="594" y="553"/>
                </a:cubicBezTo>
                <a:cubicBezTo>
                  <a:pt x="575" y="525"/>
                  <a:pt x="575" y="525"/>
                  <a:pt x="575" y="525"/>
                </a:cubicBezTo>
                <a:cubicBezTo>
                  <a:pt x="585" y="512"/>
                  <a:pt x="593" y="499"/>
                  <a:pt x="601" y="486"/>
                </a:cubicBezTo>
                <a:cubicBezTo>
                  <a:pt x="634" y="493"/>
                  <a:pt x="634" y="493"/>
                  <a:pt x="634" y="493"/>
                </a:cubicBezTo>
                <a:cubicBezTo>
                  <a:pt x="640" y="480"/>
                  <a:pt x="640" y="480"/>
                  <a:pt x="640" y="480"/>
                </a:cubicBezTo>
                <a:cubicBezTo>
                  <a:pt x="646" y="467"/>
                  <a:pt x="646" y="467"/>
                  <a:pt x="646" y="467"/>
                </a:cubicBezTo>
                <a:lnTo>
                  <a:pt x="620" y="446"/>
                </a:lnTo>
                <a:close/>
                <a:moveTo>
                  <a:pt x="579" y="437"/>
                </a:moveTo>
                <a:cubicBezTo>
                  <a:pt x="540" y="420"/>
                  <a:pt x="540" y="420"/>
                  <a:pt x="540" y="420"/>
                </a:cubicBezTo>
                <a:cubicBezTo>
                  <a:pt x="543" y="412"/>
                  <a:pt x="546" y="405"/>
                  <a:pt x="548" y="397"/>
                </a:cubicBezTo>
                <a:cubicBezTo>
                  <a:pt x="589" y="408"/>
                  <a:pt x="589" y="408"/>
                  <a:pt x="589" y="408"/>
                </a:cubicBezTo>
                <a:cubicBezTo>
                  <a:pt x="587" y="418"/>
                  <a:pt x="583" y="428"/>
                  <a:pt x="579" y="437"/>
                </a:cubicBezTo>
                <a:close/>
                <a:moveTo>
                  <a:pt x="591" y="401"/>
                </a:moveTo>
                <a:cubicBezTo>
                  <a:pt x="550" y="390"/>
                  <a:pt x="550" y="390"/>
                  <a:pt x="550" y="390"/>
                </a:cubicBezTo>
                <a:cubicBezTo>
                  <a:pt x="552" y="382"/>
                  <a:pt x="554" y="374"/>
                  <a:pt x="555" y="366"/>
                </a:cubicBezTo>
                <a:cubicBezTo>
                  <a:pt x="597" y="372"/>
                  <a:pt x="597" y="372"/>
                  <a:pt x="597" y="372"/>
                </a:cubicBezTo>
                <a:cubicBezTo>
                  <a:pt x="596" y="382"/>
                  <a:pt x="594" y="392"/>
                  <a:pt x="591" y="401"/>
                </a:cubicBezTo>
                <a:close/>
                <a:moveTo>
                  <a:pt x="598" y="364"/>
                </a:moveTo>
                <a:cubicBezTo>
                  <a:pt x="556" y="359"/>
                  <a:pt x="556" y="359"/>
                  <a:pt x="556" y="359"/>
                </a:cubicBezTo>
                <a:cubicBezTo>
                  <a:pt x="556" y="351"/>
                  <a:pt x="557" y="343"/>
                  <a:pt x="557" y="335"/>
                </a:cubicBezTo>
                <a:cubicBezTo>
                  <a:pt x="600" y="334"/>
                  <a:pt x="600" y="334"/>
                  <a:pt x="600" y="334"/>
                </a:cubicBezTo>
                <a:cubicBezTo>
                  <a:pt x="600" y="344"/>
                  <a:pt x="599" y="354"/>
                  <a:pt x="598" y="364"/>
                </a:cubicBezTo>
                <a:close/>
                <a:moveTo>
                  <a:pt x="597" y="297"/>
                </a:moveTo>
                <a:cubicBezTo>
                  <a:pt x="598" y="307"/>
                  <a:pt x="599" y="317"/>
                  <a:pt x="599" y="327"/>
                </a:cubicBezTo>
                <a:cubicBezTo>
                  <a:pt x="557" y="328"/>
                  <a:pt x="557" y="328"/>
                  <a:pt x="557" y="328"/>
                </a:cubicBezTo>
                <a:cubicBezTo>
                  <a:pt x="556" y="320"/>
                  <a:pt x="556" y="312"/>
                  <a:pt x="554" y="304"/>
                </a:cubicBezTo>
                <a:lnTo>
                  <a:pt x="597" y="297"/>
                </a:lnTo>
                <a:close/>
                <a:moveTo>
                  <a:pt x="595" y="290"/>
                </a:moveTo>
                <a:cubicBezTo>
                  <a:pt x="553" y="297"/>
                  <a:pt x="553" y="297"/>
                  <a:pt x="553" y="297"/>
                </a:cubicBezTo>
                <a:cubicBezTo>
                  <a:pt x="552" y="289"/>
                  <a:pt x="550" y="281"/>
                  <a:pt x="548" y="273"/>
                </a:cubicBezTo>
                <a:cubicBezTo>
                  <a:pt x="588" y="260"/>
                  <a:pt x="588" y="260"/>
                  <a:pt x="588" y="260"/>
                </a:cubicBezTo>
                <a:cubicBezTo>
                  <a:pt x="591" y="270"/>
                  <a:pt x="594" y="280"/>
                  <a:pt x="595" y="290"/>
                </a:cubicBezTo>
                <a:close/>
                <a:moveTo>
                  <a:pt x="586" y="253"/>
                </a:moveTo>
                <a:cubicBezTo>
                  <a:pt x="545" y="266"/>
                  <a:pt x="545" y="266"/>
                  <a:pt x="545" y="266"/>
                </a:cubicBezTo>
                <a:cubicBezTo>
                  <a:pt x="543" y="259"/>
                  <a:pt x="540" y="251"/>
                  <a:pt x="537" y="244"/>
                </a:cubicBezTo>
                <a:cubicBezTo>
                  <a:pt x="575" y="225"/>
                  <a:pt x="575" y="225"/>
                  <a:pt x="575" y="225"/>
                </a:cubicBezTo>
                <a:cubicBezTo>
                  <a:pt x="579" y="234"/>
                  <a:pt x="583" y="244"/>
                  <a:pt x="586" y="253"/>
                </a:cubicBezTo>
                <a:close/>
                <a:moveTo>
                  <a:pt x="557" y="192"/>
                </a:moveTo>
                <a:cubicBezTo>
                  <a:pt x="562" y="201"/>
                  <a:pt x="567" y="209"/>
                  <a:pt x="572" y="219"/>
                </a:cubicBezTo>
                <a:cubicBezTo>
                  <a:pt x="533" y="237"/>
                  <a:pt x="533" y="237"/>
                  <a:pt x="533" y="237"/>
                </a:cubicBezTo>
                <a:cubicBezTo>
                  <a:pt x="530" y="230"/>
                  <a:pt x="526" y="223"/>
                  <a:pt x="521" y="216"/>
                </a:cubicBezTo>
                <a:lnTo>
                  <a:pt x="557" y="192"/>
                </a:lnTo>
                <a:close/>
                <a:moveTo>
                  <a:pt x="553" y="186"/>
                </a:moveTo>
                <a:cubicBezTo>
                  <a:pt x="517" y="210"/>
                  <a:pt x="517" y="210"/>
                  <a:pt x="517" y="210"/>
                </a:cubicBezTo>
                <a:cubicBezTo>
                  <a:pt x="513" y="204"/>
                  <a:pt x="508" y="197"/>
                  <a:pt x="503" y="191"/>
                </a:cubicBezTo>
                <a:cubicBezTo>
                  <a:pt x="534" y="162"/>
                  <a:pt x="534" y="162"/>
                  <a:pt x="534" y="162"/>
                </a:cubicBezTo>
                <a:cubicBezTo>
                  <a:pt x="541" y="170"/>
                  <a:pt x="547" y="178"/>
                  <a:pt x="553" y="186"/>
                </a:cubicBezTo>
                <a:close/>
                <a:moveTo>
                  <a:pt x="530" y="157"/>
                </a:moveTo>
                <a:cubicBezTo>
                  <a:pt x="498" y="186"/>
                  <a:pt x="498" y="186"/>
                  <a:pt x="498" y="186"/>
                </a:cubicBezTo>
                <a:cubicBezTo>
                  <a:pt x="492" y="180"/>
                  <a:pt x="486" y="174"/>
                  <a:pt x="480" y="169"/>
                </a:cubicBezTo>
                <a:cubicBezTo>
                  <a:pt x="508" y="136"/>
                  <a:pt x="508" y="136"/>
                  <a:pt x="508" y="136"/>
                </a:cubicBezTo>
                <a:cubicBezTo>
                  <a:pt x="515" y="142"/>
                  <a:pt x="523" y="149"/>
                  <a:pt x="530" y="157"/>
                </a:cubicBezTo>
                <a:close/>
                <a:moveTo>
                  <a:pt x="478" y="114"/>
                </a:moveTo>
                <a:cubicBezTo>
                  <a:pt x="486" y="119"/>
                  <a:pt x="494" y="125"/>
                  <a:pt x="502" y="131"/>
                </a:cubicBezTo>
                <a:cubicBezTo>
                  <a:pt x="475" y="164"/>
                  <a:pt x="475" y="164"/>
                  <a:pt x="475" y="164"/>
                </a:cubicBezTo>
                <a:cubicBezTo>
                  <a:pt x="468" y="159"/>
                  <a:pt x="462" y="155"/>
                  <a:pt x="455" y="150"/>
                </a:cubicBezTo>
                <a:lnTo>
                  <a:pt x="478" y="114"/>
                </a:lnTo>
                <a:close/>
                <a:moveTo>
                  <a:pt x="471" y="110"/>
                </a:moveTo>
                <a:cubicBezTo>
                  <a:pt x="449" y="146"/>
                  <a:pt x="449" y="146"/>
                  <a:pt x="449" y="146"/>
                </a:cubicBezTo>
                <a:cubicBezTo>
                  <a:pt x="443" y="143"/>
                  <a:pt x="436" y="139"/>
                  <a:pt x="429" y="136"/>
                </a:cubicBezTo>
                <a:cubicBezTo>
                  <a:pt x="429" y="136"/>
                  <a:pt x="428" y="136"/>
                  <a:pt x="427" y="135"/>
                </a:cubicBezTo>
                <a:cubicBezTo>
                  <a:pt x="445" y="96"/>
                  <a:pt x="445" y="96"/>
                  <a:pt x="445" y="96"/>
                </a:cubicBezTo>
                <a:cubicBezTo>
                  <a:pt x="454" y="100"/>
                  <a:pt x="463" y="105"/>
                  <a:pt x="471" y="110"/>
                </a:cubicBezTo>
                <a:close/>
                <a:moveTo>
                  <a:pt x="438" y="93"/>
                </a:moveTo>
                <a:cubicBezTo>
                  <a:pt x="421" y="132"/>
                  <a:pt x="421" y="132"/>
                  <a:pt x="421" y="132"/>
                </a:cubicBezTo>
                <a:cubicBezTo>
                  <a:pt x="413" y="129"/>
                  <a:pt x="406" y="127"/>
                  <a:pt x="398" y="124"/>
                </a:cubicBezTo>
                <a:cubicBezTo>
                  <a:pt x="409" y="83"/>
                  <a:pt x="409" y="83"/>
                  <a:pt x="409" y="83"/>
                </a:cubicBezTo>
                <a:cubicBezTo>
                  <a:pt x="419" y="85"/>
                  <a:pt x="429" y="89"/>
                  <a:pt x="438" y="93"/>
                </a:cubicBezTo>
                <a:close/>
                <a:moveTo>
                  <a:pt x="402" y="81"/>
                </a:moveTo>
                <a:cubicBezTo>
                  <a:pt x="391" y="122"/>
                  <a:pt x="391" y="122"/>
                  <a:pt x="391" y="122"/>
                </a:cubicBezTo>
                <a:cubicBezTo>
                  <a:pt x="383" y="120"/>
                  <a:pt x="375" y="119"/>
                  <a:pt x="367" y="118"/>
                </a:cubicBezTo>
                <a:cubicBezTo>
                  <a:pt x="373" y="75"/>
                  <a:pt x="373" y="75"/>
                  <a:pt x="373" y="75"/>
                </a:cubicBezTo>
                <a:cubicBezTo>
                  <a:pt x="383" y="76"/>
                  <a:pt x="393" y="78"/>
                  <a:pt x="402" y="81"/>
                </a:cubicBezTo>
                <a:close/>
                <a:moveTo>
                  <a:pt x="365" y="74"/>
                </a:moveTo>
                <a:cubicBezTo>
                  <a:pt x="360" y="117"/>
                  <a:pt x="360" y="117"/>
                  <a:pt x="360" y="117"/>
                </a:cubicBezTo>
                <a:cubicBezTo>
                  <a:pt x="352" y="116"/>
                  <a:pt x="344" y="115"/>
                  <a:pt x="336" y="116"/>
                </a:cubicBezTo>
                <a:cubicBezTo>
                  <a:pt x="335" y="72"/>
                  <a:pt x="335" y="72"/>
                  <a:pt x="335" y="72"/>
                </a:cubicBezTo>
                <a:cubicBezTo>
                  <a:pt x="345" y="72"/>
                  <a:pt x="355" y="73"/>
                  <a:pt x="365" y="74"/>
                </a:cubicBezTo>
                <a:close/>
                <a:moveTo>
                  <a:pt x="328" y="72"/>
                </a:moveTo>
                <a:cubicBezTo>
                  <a:pt x="329" y="116"/>
                  <a:pt x="329" y="116"/>
                  <a:pt x="329" y="116"/>
                </a:cubicBezTo>
                <a:cubicBezTo>
                  <a:pt x="321" y="116"/>
                  <a:pt x="313" y="117"/>
                  <a:pt x="305" y="118"/>
                </a:cubicBezTo>
                <a:cubicBezTo>
                  <a:pt x="298" y="75"/>
                  <a:pt x="298" y="75"/>
                  <a:pt x="298" y="75"/>
                </a:cubicBezTo>
                <a:cubicBezTo>
                  <a:pt x="308" y="73"/>
                  <a:pt x="318" y="72"/>
                  <a:pt x="328" y="72"/>
                </a:cubicBezTo>
                <a:close/>
                <a:moveTo>
                  <a:pt x="290" y="76"/>
                </a:moveTo>
                <a:cubicBezTo>
                  <a:pt x="297" y="119"/>
                  <a:pt x="297" y="119"/>
                  <a:pt x="297" y="119"/>
                </a:cubicBezTo>
                <a:cubicBezTo>
                  <a:pt x="289" y="120"/>
                  <a:pt x="282" y="122"/>
                  <a:pt x="274" y="125"/>
                </a:cubicBezTo>
                <a:cubicBezTo>
                  <a:pt x="261" y="83"/>
                  <a:pt x="261" y="83"/>
                  <a:pt x="261" y="83"/>
                </a:cubicBezTo>
                <a:cubicBezTo>
                  <a:pt x="271" y="80"/>
                  <a:pt x="280" y="78"/>
                  <a:pt x="290" y="76"/>
                </a:cubicBezTo>
                <a:close/>
                <a:moveTo>
                  <a:pt x="254" y="85"/>
                </a:moveTo>
                <a:cubicBezTo>
                  <a:pt x="267" y="127"/>
                  <a:pt x="267" y="127"/>
                  <a:pt x="267" y="127"/>
                </a:cubicBezTo>
                <a:cubicBezTo>
                  <a:pt x="259" y="129"/>
                  <a:pt x="252" y="132"/>
                  <a:pt x="244" y="136"/>
                </a:cubicBezTo>
                <a:cubicBezTo>
                  <a:pt x="225" y="96"/>
                  <a:pt x="225" y="96"/>
                  <a:pt x="225" y="96"/>
                </a:cubicBezTo>
                <a:cubicBezTo>
                  <a:pt x="235" y="92"/>
                  <a:pt x="244" y="88"/>
                  <a:pt x="254" y="85"/>
                </a:cubicBezTo>
                <a:close/>
                <a:moveTo>
                  <a:pt x="219" y="99"/>
                </a:moveTo>
                <a:cubicBezTo>
                  <a:pt x="238" y="139"/>
                  <a:pt x="238" y="139"/>
                  <a:pt x="238" y="139"/>
                </a:cubicBezTo>
                <a:cubicBezTo>
                  <a:pt x="231" y="142"/>
                  <a:pt x="224" y="146"/>
                  <a:pt x="217" y="151"/>
                </a:cubicBezTo>
                <a:cubicBezTo>
                  <a:pt x="192" y="114"/>
                  <a:pt x="192" y="114"/>
                  <a:pt x="192" y="114"/>
                </a:cubicBezTo>
                <a:cubicBezTo>
                  <a:pt x="201" y="109"/>
                  <a:pt x="210" y="104"/>
                  <a:pt x="219" y="99"/>
                </a:cubicBezTo>
                <a:close/>
                <a:moveTo>
                  <a:pt x="186" y="118"/>
                </a:moveTo>
                <a:cubicBezTo>
                  <a:pt x="211" y="155"/>
                  <a:pt x="211" y="155"/>
                  <a:pt x="211" y="155"/>
                </a:cubicBezTo>
                <a:cubicBezTo>
                  <a:pt x="204" y="159"/>
                  <a:pt x="198" y="164"/>
                  <a:pt x="192" y="170"/>
                </a:cubicBezTo>
                <a:cubicBezTo>
                  <a:pt x="162" y="137"/>
                  <a:pt x="162" y="137"/>
                  <a:pt x="162" y="137"/>
                </a:cubicBezTo>
                <a:cubicBezTo>
                  <a:pt x="170" y="130"/>
                  <a:pt x="178" y="124"/>
                  <a:pt x="186" y="118"/>
                </a:cubicBezTo>
                <a:close/>
                <a:moveTo>
                  <a:pt x="157" y="142"/>
                </a:moveTo>
                <a:cubicBezTo>
                  <a:pt x="186" y="175"/>
                  <a:pt x="186" y="175"/>
                  <a:pt x="186" y="175"/>
                </a:cubicBezTo>
                <a:cubicBezTo>
                  <a:pt x="180" y="180"/>
                  <a:pt x="175" y="186"/>
                  <a:pt x="170" y="192"/>
                </a:cubicBezTo>
                <a:cubicBezTo>
                  <a:pt x="136" y="164"/>
                  <a:pt x="136" y="164"/>
                  <a:pt x="136" y="164"/>
                </a:cubicBezTo>
                <a:cubicBezTo>
                  <a:pt x="142" y="156"/>
                  <a:pt x="149" y="149"/>
                  <a:pt x="157" y="142"/>
                </a:cubicBezTo>
                <a:close/>
                <a:moveTo>
                  <a:pt x="131" y="169"/>
                </a:moveTo>
                <a:cubicBezTo>
                  <a:pt x="165" y="198"/>
                  <a:pt x="165" y="198"/>
                  <a:pt x="165" y="198"/>
                </a:cubicBezTo>
                <a:cubicBezTo>
                  <a:pt x="160" y="204"/>
                  <a:pt x="155" y="210"/>
                  <a:pt x="151" y="217"/>
                </a:cubicBezTo>
                <a:cubicBezTo>
                  <a:pt x="113" y="194"/>
                  <a:pt x="113" y="194"/>
                  <a:pt x="113" y="194"/>
                </a:cubicBezTo>
                <a:cubicBezTo>
                  <a:pt x="119" y="185"/>
                  <a:pt x="125" y="177"/>
                  <a:pt x="131" y="169"/>
                </a:cubicBezTo>
                <a:close/>
                <a:moveTo>
                  <a:pt x="109" y="200"/>
                </a:moveTo>
                <a:cubicBezTo>
                  <a:pt x="147" y="223"/>
                  <a:pt x="147" y="223"/>
                  <a:pt x="147" y="223"/>
                </a:cubicBezTo>
                <a:cubicBezTo>
                  <a:pt x="143" y="230"/>
                  <a:pt x="140" y="236"/>
                  <a:pt x="136" y="243"/>
                </a:cubicBezTo>
                <a:cubicBezTo>
                  <a:pt x="136" y="244"/>
                  <a:pt x="136" y="244"/>
                  <a:pt x="136" y="245"/>
                </a:cubicBezTo>
                <a:cubicBezTo>
                  <a:pt x="95" y="227"/>
                  <a:pt x="95" y="227"/>
                  <a:pt x="95" y="227"/>
                </a:cubicBezTo>
                <a:cubicBezTo>
                  <a:pt x="99" y="218"/>
                  <a:pt x="104" y="209"/>
                  <a:pt x="109" y="200"/>
                </a:cubicBezTo>
                <a:close/>
                <a:moveTo>
                  <a:pt x="92" y="234"/>
                </a:moveTo>
                <a:cubicBezTo>
                  <a:pt x="133" y="251"/>
                  <a:pt x="133" y="251"/>
                  <a:pt x="133" y="251"/>
                </a:cubicBezTo>
                <a:cubicBezTo>
                  <a:pt x="130" y="259"/>
                  <a:pt x="127" y="267"/>
                  <a:pt x="125" y="274"/>
                </a:cubicBezTo>
                <a:cubicBezTo>
                  <a:pt x="82" y="263"/>
                  <a:pt x="82" y="263"/>
                  <a:pt x="82" y="263"/>
                </a:cubicBezTo>
                <a:cubicBezTo>
                  <a:pt x="85" y="253"/>
                  <a:pt x="88" y="243"/>
                  <a:pt x="92" y="234"/>
                </a:cubicBezTo>
                <a:close/>
                <a:moveTo>
                  <a:pt x="80" y="270"/>
                </a:moveTo>
                <a:cubicBezTo>
                  <a:pt x="123" y="281"/>
                  <a:pt x="123" y="281"/>
                  <a:pt x="123" y="281"/>
                </a:cubicBezTo>
                <a:cubicBezTo>
                  <a:pt x="121" y="289"/>
                  <a:pt x="119" y="297"/>
                  <a:pt x="118" y="305"/>
                </a:cubicBezTo>
                <a:cubicBezTo>
                  <a:pt x="74" y="300"/>
                  <a:pt x="74" y="300"/>
                  <a:pt x="74" y="300"/>
                </a:cubicBezTo>
                <a:cubicBezTo>
                  <a:pt x="75" y="289"/>
                  <a:pt x="78" y="279"/>
                  <a:pt x="80" y="270"/>
                </a:cubicBezTo>
                <a:close/>
                <a:moveTo>
                  <a:pt x="72" y="337"/>
                </a:moveTo>
                <a:cubicBezTo>
                  <a:pt x="71" y="327"/>
                  <a:pt x="72" y="317"/>
                  <a:pt x="73" y="307"/>
                </a:cubicBezTo>
                <a:cubicBezTo>
                  <a:pt x="117" y="312"/>
                  <a:pt x="117" y="312"/>
                  <a:pt x="117" y="312"/>
                </a:cubicBezTo>
                <a:cubicBezTo>
                  <a:pt x="116" y="320"/>
                  <a:pt x="116" y="328"/>
                  <a:pt x="116" y="336"/>
                </a:cubicBezTo>
                <a:lnTo>
                  <a:pt x="72" y="337"/>
                </a:lnTo>
                <a:close/>
                <a:moveTo>
                  <a:pt x="72" y="345"/>
                </a:moveTo>
                <a:cubicBezTo>
                  <a:pt x="116" y="344"/>
                  <a:pt x="116" y="344"/>
                  <a:pt x="116" y="344"/>
                </a:cubicBezTo>
                <a:cubicBezTo>
                  <a:pt x="116" y="352"/>
                  <a:pt x="117" y="360"/>
                  <a:pt x="118" y="368"/>
                </a:cubicBezTo>
                <a:cubicBezTo>
                  <a:pt x="74" y="375"/>
                  <a:pt x="74" y="375"/>
                  <a:pt x="74" y="375"/>
                </a:cubicBezTo>
                <a:cubicBezTo>
                  <a:pt x="73" y="365"/>
                  <a:pt x="72" y="355"/>
                  <a:pt x="72" y="345"/>
                </a:cubicBezTo>
                <a:close/>
                <a:moveTo>
                  <a:pt x="76" y="382"/>
                </a:moveTo>
                <a:cubicBezTo>
                  <a:pt x="120" y="375"/>
                  <a:pt x="120" y="375"/>
                  <a:pt x="120" y="375"/>
                </a:cubicBezTo>
                <a:cubicBezTo>
                  <a:pt x="121" y="383"/>
                  <a:pt x="123" y="391"/>
                  <a:pt x="125" y="399"/>
                </a:cubicBezTo>
                <a:cubicBezTo>
                  <a:pt x="83" y="412"/>
                  <a:pt x="83" y="412"/>
                  <a:pt x="83" y="412"/>
                </a:cubicBezTo>
                <a:cubicBezTo>
                  <a:pt x="80" y="402"/>
                  <a:pt x="77" y="392"/>
                  <a:pt x="76" y="382"/>
                </a:cubicBezTo>
                <a:close/>
                <a:moveTo>
                  <a:pt x="96" y="447"/>
                </a:moveTo>
                <a:cubicBezTo>
                  <a:pt x="92" y="438"/>
                  <a:pt x="88" y="429"/>
                  <a:pt x="85" y="419"/>
                </a:cubicBezTo>
                <a:cubicBezTo>
                  <a:pt x="127" y="406"/>
                  <a:pt x="127" y="406"/>
                  <a:pt x="127" y="406"/>
                </a:cubicBezTo>
                <a:cubicBezTo>
                  <a:pt x="130" y="413"/>
                  <a:pt x="133" y="421"/>
                  <a:pt x="136" y="428"/>
                </a:cubicBezTo>
                <a:lnTo>
                  <a:pt x="96" y="447"/>
                </a:lnTo>
                <a:close/>
                <a:moveTo>
                  <a:pt x="114" y="480"/>
                </a:moveTo>
                <a:cubicBezTo>
                  <a:pt x="109" y="472"/>
                  <a:pt x="104" y="463"/>
                  <a:pt x="99" y="454"/>
                </a:cubicBezTo>
                <a:cubicBezTo>
                  <a:pt x="139" y="435"/>
                  <a:pt x="139" y="435"/>
                  <a:pt x="139" y="435"/>
                </a:cubicBezTo>
                <a:cubicBezTo>
                  <a:pt x="143" y="442"/>
                  <a:pt x="147" y="449"/>
                  <a:pt x="151" y="456"/>
                </a:cubicBezTo>
                <a:lnTo>
                  <a:pt x="114" y="480"/>
                </a:lnTo>
                <a:close/>
                <a:moveTo>
                  <a:pt x="119" y="486"/>
                </a:moveTo>
                <a:cubicBezTo>
                  <a:pt x="155" y="462"/>
                  <a:pt x="155" y="462"/>
                  <a:pt x="155" y="462"/>
                </a:cubicBezTo>
                <a:cubicBezTo>
                  <a:pt x="160" y="468"/>
                  <a:pt x="165" y="475"/>
                  <a:pt x="170" y="481"/>
                </a:cubicBezTo>
                <a:cubicBezTo>
                  <a:pt x="137" y="510"/>
                  <a:pt x="137" y="510"/>
                  <a:pt x="137" y="510"/>
                </a:cubicBezTo>
                <a:cubicBezTo>
                  <a:pt x="131" y="503"/>
                  <a:pt x="124" y="495"/>
                  <a:pt x="119" y="486"/>
                </a:cubicBezTo>
                <a:close/>
                <a:moveTo>
                  <a:pt x="142" y="516"/>
                </a:moveTo>
                <a:cubicBezTo>
                  <a:pt x="175" y="486"/>
                  <a:pt x="175" y="486"/>
                  <a:pt x="175" y="486"/>
                </a:cubicBezTo>
                <a:cubicBezTo>
                  <a:pt x="181" y="492"/>
                  <a:pt x="186" y="498"/>
                  <a:pt x="193" y="503"/>
                </a:cubicBezTo>
                <a:cubicBezTo>
                  <a:pt x="164" y="537"/>
                  <a:pt x="164" y="537"/>
                  <a:pt x="164" y="537"/>
                </a:cubicBezTo>
                <a:cubicBezTo>
                  <a:pt x="157" y="530"/>
                  <a:pt x="149" y="523"/>
                  <a:pt x="142" y="516"/>
                </a:cubicBezTo>
                <a:close/>
                <a:moveTo>
                  <a:pt x="195" y="559"/>
                </a:moveTo>
                <a:cubicBezTo>
                  <a:pt x="186" y="554"/>
                  <a:pt x="178" y="548"/>
                  <a:pt x="170" y="542"/>
                </a:cubicBezTo>
                <a:cubicBezTo>
                  <a:pt x="198" y="508"/>
                  <a:pt x="198" y="508"/>
                  <a:pt x="198" y="508"/>
                </a:cubicBezTo>
                <a:cubicBezTo>
                  <a:pt x="204" y="513"/>
                  <a:pt x="211" y="517"/>
                  <a:pt x="218" y="522"/>
                </a:cubicBezTo>
                <a:lnTo>
                  <a:pt x="195" y="559"/>
                </a:lnTo>
                <a:close/>
                <a:moveTo>
                  <a:pt x="201" y="563"/>
                </a:moveTo>
                <a:cubicBezTo>
                  <a:pt x="224" y="526"/>
                  <a:pt x="224" y="526"/>
                  <a:pt x="224" y="526"/>
                </a:cubicBezTo>
                <a:cubicBezTo>
                  <a:pt x="230" y="529"/>
                  <a:pt x="237" y="533"/>
                  <a:pt x="244" y="536"/>
                </a:cubicBezTo>
                <a:cubicBezTo>
                  <a:pt x="244" y="536"/>
                  <a:pt x="245" y="536"/>
                  <a:pt x="245" y="537"/>
                </a:cubicBezTo>
                <a:cubicBezTo>
                  <a:pt x="228" y="577"/>
                  <a:pt x="228" y="577"/>
                  <a:pt x="228" y="577"/>
                </a:cubicBezTo>
                <a:cubicBezTo>
                  <a:pt x="219" y="573"/>
                  <a:pt x="210" y="568"/>
                  <a:pt x="201" y="563"/>
                </a:cubicBezTo>
                <a:close/>
                <a:moveTo>
                  <a:pt x="251" y="521"/>
                </a:moveTo>
                <a:cubicBezTo>
                  <a:pt x="148" y="473"/>
                  <a:pt x="104" y="352"/>
                  <a:pt x="152" y="250"/>
                </a:cubicBezTo>
                <a:cubicBezTo>
                  <a:pt x="199" y="148"/>
                  <a:pt x="320" y="104"/>
                  <a:pt x="422" y="151"/>
                </a:cubicBezTo>
                <a:cubicBezTo>
                  <a:pt x="524" y="199"/>
                  <a:pt x="569" y="320"/>
                  <a:pt x="521" y="422"/>
                </a:cubicBezTo>
                <a:cubicBezTo>
                  <a:pt x="474" y="524"/>
                  <a:pt x="353" y="568"/>
                  <a:pt x="251" y="521"/>
                </a:cubicBezTo>
                <a:close/>
                <a:moveTo>
                  <a:pt x="235" y="580"/>
                </a:moveTo>
                <a:cubicBezTo>
                  <a:pt x="252" y="540"/>
                  <a:pt x="252" y="540"/>
                  <a:pt x="252" y="540"/>
                </a:cubicBezTo>
                <a:cubicBezTo>
                  <a:pt x="260" y="543"/>
                  <a:pt x="267" y="545"/>
                  <a:pt x="275" y="548"/>
                </a:cubicBezTo>
                <a:cubicBezTo>
                  <a:pt x="263" y="590"/>
                  <a:pt x="263" y="590"/>
                  <a:pt x="263" y="590"/>
                </a:cubicBezTo>
                <a:cubicBezTo>
                  <a:pt x="254" y="587"/>
                  <a:pt x="244" y="584"/>
                  <a:pt x="235" y="580"/>
                </a:cubicBezTo>
                <a:close/>
                <a:moveTo>
                  <a:pt x="271" y="592"/>
                </a:moveTo>
                <a:cubicBezTo>
                  <a:pt x="282" y="550"/>
                  <a:pt x="282" y="550"/>
                  <a:pt x="282" y="550"/>
                </a:cubicBezTo>
                <a:cubicBezTo>
                  <a:pt x="290" y="552"/>
                  <a:pt x="298" y="553"/>
                  <a:pt x="306" y="554"/>
                </a:cubicBezTo>
                <a:cubicBezTo>
                  <a:pt x="300" y="598"/>
                  <a:pt x="300" y="598"/>
                  <a:pt x="300" y="598"/>
                </a:cubicBezTo>
                <a:cubicBezTo>
                  <a:pt x="290" y="596"/>
                  <a:pt x="280" y="594"/>
                  <a:pt x="271" y="592"/>
                </a:cubicBezTo>
                <a:close/>
                <a:moveTo>
                  <a:pt x="308" y="599"/>
                </a:moveTo>
                <a:cubicBezTo>
                  <a:pt x="313" y="555"/>
                  <a:pt x="313" y="555"/>
                  <a:pt x="313" y="555"/>
                </a:cubicBezTo>
                <a:cubicBezTo>
                  <a:pt x="321" y="556"/>
                  <a:pt x="329" y="556"/>
                  <a:pt x="337" y="556"/>
                </a:cubicBezTo>
                <a:cubicBezTo>
                  <a:pt x="338" y="600"/>
                  <a:pt x="338" y="600"/>
                  <a:pt x="338" y="600"/>
                </a:cubicBezTo>
                <a:cubicBezTo>
                  <a:pt x="328" y="600"/>
                  <a:pt x="318" y="600"/>
                  <a:pt x="308" y="599"/>
                </a:cubicBezTo>
                <a:close/>
                <a:moveTo>
                  <a:pt x="345" y="600"/>
                </a:moveTo>
                <a:cubicBezTo>
                  <a:pt x="345" y="556"/>
                  <a:pt x="345" y="556"/>
                  <a:pt x="345" y="556"/>
                </a:cubicBezTo>
                <a:cubicBezTo>
                  <a:pt x="353" y="556"/>
                  <a:pt x="361" y="555"/>
                  <a:pt x="369" y="554"/>
                </a:cubicBezTo>
                <a:cubicBezTo>
                  <a:pt x="376" y="597"/>
                  <a:pt x="376" y="597"/>
                  <a:pt x="376" y="597"/>
                </a:cubicBezTo>
                <a:cubicBezTo>
                  <a:pt x="366" y="599"/>
                  <a:pt x="355" y="600"/>
                  <a:pt x="345" y="600"/>
                </a:cubicBezTo>
                <a:close/>
                <a:moveTo>
                  <a:pt x="383" y="596"/>
                </a:moveTo>
                <a:cubicBezTo>
                  <a:pt x="376" y="553"/>
                  <a:pt x="376" y="553"/>
                  <a:pt x="376" y="553"/>
                </a:cubicBezTo>
                <a:cubicBezTo>
                  <a:pt x="384" y="551"/>
                  <a:pt x="392" y="549"/>
                  <a:pt x="399" y="547"/>
                </a:cubicBezTo>
                <a:cubicBezTo>
                  <a:pt x="412" y="589"/>
                  <a:pt x="412" y="589"/>
                  <a:pt x="412" y="589"/>
                </a:cubicBezTo>
                <a:cubicBezTo>
                  <a:pt x="403" y="592"/>
                  <a:pt x="393" y="594"/>
                  <a:pt x="383" y="596"/>
                </a:cubicBezTo>
                <a:close/>
                <a:moveTo>
                  <a:pt x="419" y="586"/>
                </a:moveTo>
                <a:cubicBezTo>
                  <a:pt x="406" y="545"/>
                  <a:pt x="406" y="545"/>
                  <a:pt x="406" y="545"/>
                </a:cubicBezTo>
                <a:cubicBezTo>
                  <a:pt x="414" y="542"/>
                  <a:pt x="421" y="539"/>
                  <a:pt x="429" y="536"/>
                </a:cubicBezTo>
                <a:cubicBezTo>
                  <a:pt x="448" y="575"/>
                  <a:pt x="448" y="575"/>
                  <a:pt x="448" y="575"/>
                </a:cubicBezTo>
                <a:cubicBezTo>
                  <a:pt x="438" y="579"/>
                  <a:pt x="429" y="583"/>
                  <a:pt x="419" y="586"/>
                </a:cubicBezTo>
                <a:close/>
                <a:moveTo>
                  <a:pt x="454" y="572"/>
                </a:moveTo>
                <a:cubicBezTo>
                  <a:pt x="435" y="533"/>
                  <a:pt x="435" y="533"/>
                  <a:pt x="435" y="533"/>
                </a:cubicBezTo>
                <a:cubicBezTo>
                  <a:pt x="443" y="529"/>
                  <a:pt x="449" y="525"/>
                  <a:pt x="456" y="521"/>
                </a:cubicBezTo>
                <a:cubicBezTo>
                  <a:pt x="480" y="557"/>
                  <a:pt x="480" y="557"/>
                  <a:pt x="480" y="557"/>
                </a:cubicBezTo>
                <a:cubicBezTo>
                  <a:pt x="472" y="562"/>
                  <a:pt x="463" y="567"/>
                  <a:pt x="454" y="572"/>
                </a:cubicBezTo>
                <a:close/>
                <a:moveTo>
                  <a:pt x="487" y="553"/>
                </a:moveTo>
                <a:cubicBezTo>
                  <a:pt x="462" y="517"/>
                  <a:pt x="462" y="517"/>
                  <a:pt x="462" y="517"/>
                </a:cubicBezTo>
                <a:cubicBezTo>
                  <a:pt x="469" y="512"/>
                  <a:pt x="475" y="507"/>
                  <a:pt x="481" y="502"/>
                </a:cubicBezTo>
                <a:cubicBezTo>
                  <a:pt x="510" y="534"/>
                  <a:pt x="510" y="534"/>
                  <a:pt x="510" y="534"/>
                </a:cubicBezTo>
                <a:cubicBezTo>
                  <a:pt x="503" y="541"/>
                  <a:pt x="495" y="547"/>
                  <a:pt x="487" y="553"/>
                </a:cubicBezTo>
                <a:close/>
                <a:moveTo>
                  <a:pt x="516" y="529"/>
                </a:moveTo>
                <a:cubicBezTo>
                  <a:pt x="487" y="497"/>
                  <a:pt x="487" y="497"/>
                  <a:pt x="487" y="497"/>
                </a:cubicBezTo>
                <a:cubicBezTo>
                  <a:pt x="493" y="492"/>
                  <a:pt x="498" y="486"/>
                  <a:pt x="503" y="480"/>
                </a:cubicBezTo>
                <a:cubicBezTo>
                  <a:pt x="537" y="507"/>
                  <a:pt x="537" y="507"/>
                  <a:pt x="537" y="507"/>
                </a:cubicBezTo>
                <a:cubicBezTo>
                  <a:pt x="530" y="515"/>
                  <a:pt x="523" y="522"/>
                  <a:pt x="516" y="529"/>
                </a:cubicBezTo>
                <a:close/>
                <a:moveTo>
                  <a:pt x="541" y="501"/>
                </a:moveTo>
                <a:cubicBezTo>
                  <a:pt x="508" y="474"/>
                  <a:pt x="508" y="474"/>
                  <a:pt x="508" y="474"/>
                </a:cubicBezTo>
                <a:cubicBezTo>
                  <a:pt x="513" y="468"/>
                  <a:pt x="518" y="461"/>
                  <a:pt x="522" y="454"/>
                </a:cubicBezTo>
                <a:cubicBezTo>
                  <a:pt x="559" y="477"/>
                  <a:pt x="559" y="477"/>
                  <a:pt x="559" y="477"/>
                </a:cubicBezTo>
                <a:cubicBezTo>
                  <a:pt x="553" y="485"/>
                  <a:pt x="548" y="494"/>
                  <a:pt x="541" y="501"/>
                </a:cubicBezTo>
                <a:close/>
                <a:moveTo>
                  <a:pt x="563" y="471"/>
                </a:moveTo>
                <a:cubicBezTo>
                  <a:pt x="526" y="448"/>
                  <a:pt x="526" y="448"/>
                  <a:pt x="526" y="448"/>
                </a:cubicBezTo>
                <a:cubicBezTo>
                  <a:pt x="530" y="442"/>
                  <a:pt x="533" y="435"/>
                  <a:pt x="536" y="429"/>
                </a:cubicBezTo>
                <a:cubicBezTo>
                  <a:pt x="537" y="428"/>
                  <a:pt x="537" y="427"/>
                  <a:pt x="537" y="427"/>
                </a:cubicBezTo>
                <a:cubicBezTo>
                  <a:pt x="577" y="444"/>
                  <a:pt x="577" y="444"/>
                  <a:pt x="577" y="444"/>
                </a:cubicBezTo>
                <a:cubicBezTo>
                  <a:pt x="572" y="453"/>
                  <a:pt x="568" y="462"/>
                  <a:pt x="563" y="471"/>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45" name="Freeform 123"/>
          <p:cNvSpPr>
            <a:spLocks noEditPoints="1"/>
          </p:cNvSpPr>
          <p:nvPr/>
        </p:nvSpPr>
        <p:spPr bwMode="auto">
          <a:xfrm>
            <a:off x="6407150" y="4189413"/>
            <a:ext cx="973138" cy="969962"/>
          </a:xfrm>
          <a:custGeom>
            <a:avLst/>
            <a:gdLst>
              <a:gd name="T0" fmla="*/ 140 w 409"/>
              <a:gd name="T1" fmla="*/ 29 h 408"/>
              <a:gd name="T2" fmla="*/ 109 w 409"/>
              <a:gd name="T3" fmla="*/ 44 h 408"/>
              <a:gd name="T4" fmla="*/ 81 w 409"/>
              <a:gd name="T5" fmla="*/ 64 h 408"/>
              <a:gd name="T6" fmla="*/ 58 w 409"/>
              <a:gd name="T7" fmla="*/ 89 h 408"/>
              <a:gd name="T8" fmla="*/ 39 w 409"/>
              <a:gd name="T9" fmla="*/ 118 h 408"/>
              <a:gd name="T10" fmla="*/ 26 w 409"/>
              <a:gd name="T11" fmla="*/ 150 h 408"/>
              <a:gd name="T12" fmla="*/ 19 w 409"/>
              <a:gd name="T13" fmla="*/ 184 h 408"/>
              <a:gd name="T14" fmla="*/ 19 w 409"/>
              <a:gd name="T15" fmla="*/ 218 h 408"/>
              <a:gd name="T16" fmla="*/ 25 w 409"/>
              <a:gd name="T17" fmla="*/ 252 h 408"/>
              <a:gd name="T18" fmla="*/ 36 w 409"/>
              <a:gd name="T19" fmla="*/ 284 h 408"/>
              <a:gd name="T20" fmla="*/ 54 w 409"/>
              <a:gd name="T21" fmla="*/ 314 h 408"/>
              <a:gd name="T22" fmla="*/ 77 w 409"/>
              <a:gd name="T23" fmla="*/ 340 h 408"/>
              <a:gd name="T24" fmla="*/ 104 w 409"/>
              <a:gd name="T25" fmla="*/ 361 h 408"/>
              <a:gd name="T26" fmla="*/ 134 w 409"/>
              <a:gd name="T27" fmla="*/ 377 h 408"/>
              <a:gd name="T28" fmla="*/ 167 w 409"/>
              <a:gd name="T29" fmla="*/ 387 h 408"/>
              <a:gd name="T30" fmla="*/ 201 w 409"/>
              <a:gd name="T31" fmla="*/ 391 h 408"/>
              <a:gd name="T32" fmla="*/ 236 w 409"/>
              <a:gd name="T33" fmla="*/ 388 h 408"/>
              <a:gd name="T34" fmla="*/ 269 w 409"/>
              <a:gd name="T35" fmla="*/ 379 h 408"/>
              <a:gd name="T36" fmla="*/ 300 w 409"/>
              <a:gd name="T37" fmla="*/ 364 h 408"/>
              <a:gd name="T38" fmla="*/ 328 w 409"/>
              <a:gd name="T39" fmla="*/ 344 h 408"/>
              <a:gd name="T40" fmla="*/ 351 w 409"/>
              <a:gd name="T41" fmla="*/ 319 h 408"/>
              <a:gd name="T42" fmla="*/ 370 w 409"/>
              <a:gd name="T43" fmla="*/ 290 h 408"/>
              <a:gd name="T44" fmla="*/ 383 w 409"/>
              <a:gd name="T45" fmla="*/ 258 h 408"/>
              <a:gd name="T46" fmla="*/ 390 w 409"/>
              <a:gd name="T47" fmla="*/ 225 h 408"/>
              <a:gd name="T48" fmla="*/ 390 w 409"/>
              <a:gd name="T49" fmla="*/ 190 h 408"/>
              <a:gd name="T50" fmla="*/ 385 w 409"/>
              <a:gd name="T51" fmla="*/ 156 h 408"/>
              <a:gd name="T52" fmla="*/ 373 w 409"/>
              <a:gd name="T53" fmla="*/ 124 h 408"/>
              <a:gd name="T54" fmla="*/ 355 w 409"/>
              <a:gd name="T55" fmla="*/ 95 h 408"/>
              <a:gd name="T56" fmla="*/ 332 w 409"/>
              <a:gd name="T57" fmla="*/ 69 h 408"/>
              <a:gd name="T58" fmla="*/ 305 w 409"/>
              <a:gd name="T59" fmla="*/ 48 h 408"/>
              <a:gd name="T60" fmla="*/ 275 w 409"/>
              <a:gd name="T61" fmla="*/ 32 h 408"/>
              <a:gd name="T62" fmla="*/ 242 w 409"/>
              <a:gd name="T63" fmla="*/ 22 h 408"/>
              <a:gd name="T64" fmla="*/ 208 w 409"/>
              <a:gd name="T65" fmla="*/ 18 h 408"/>
              <a:gd name="T66" fmla="*/ 174 w 409"/>
              <a:gd name="T67" fmla="*/ 21 h 408"/>
              <a:gd name="T68" fmla="*/ 179 w 409"/>
              <a:gd name="T69" fmla="*/ 124 h 408"/>
              <a:gd name="T70" fmla="*/ 124 w 409"/>
              <a:gd name="T71" fmla="*/ 230 h 408"/>
              <a:gd name="T72" fmla="*/ 316 w 409"/>
              <a:gd name="T73" fmla="*/ 288 h 408"/>
              <a:gd name="T74" fmla="*/ 74 w 409"/>
              <a:gd name="T75" fmla="*/ 288 h 408"/>
              <a:gd name="T76" fmla="*/ 120 w 409"/>
              <a:gd name="T77" fmla="*/ 265 h 408"/>
              <a:gd name="T78" fmla="*/ 309 w 409"/>
              <a:gd name="T79" fmla="*/ 89 h 408"/>
              <a:gd name="T80" fmla="*/ 336 w 409"/>
              <a:gd name="T81" fmla="*/ 252 h 408"/>
              <a:gd name="T82" fmla="*/ 304 w 409"/>
              <a:gd name="T83" fmla="*/ 173 h 408"/>
              <a:gd name="T84" fmla="*/ 289 w 409"/>
              <a:gd name="T85" fmla="*/ 93 h 408"/>
              <a:gd name="T86" fmla="*/ 252 w 409"/>
              <a:gd name="T87" fmla="*/ 73 h 408"/>
              <a:gd name="T88" fmla="*/ 173 w 409"/>
              <a:gd name="T89" fmla="*/ 104 h 408"/>
              <a:gd name="T90" fmla="*/ 67 w 409"/>
              <a:gd name="T91" fmla="*/ 229 h 408"/>
              <a:gd name="T92" fmla="*/ 244 w 409"/>
              <a:gd name="T93" fmla="*/ 5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9" h="408">
                <a:moveTo>
                  <a:pt x="157" y="24"/>
                </a:moveTo>
                <a:cubicBezTo>
                  <a:pt x="143" y="9"/>
                  <a:pt x="143" y="9"/>
                  <a:pt x="143" y="9"/>
                </a:cubicBezTo>
                <a:cubicBezTo>
                  <a:pt x="140" y="29"/>
                  <a:pt x="140" y="29"/>
                  <a:pt x="140" y="29"/>
                </a:cubicBezTo>
                <a:cubicBezTo>
                  <a:pt x="139" y="37"/>
                  <a:pt x="131" y="40"/>
                  <a:pt x="125" y="36"/>
                </a:cubicBezTo>
                <a:cubicBezTo>
                  <a:pt x="108" y="24"/>
                  <a:pt x="108" y="24"/>
                  <a:pt x="108" y="24"/>
                </a:cubicBezTo>
                <a:cubicBezTo>
                  <a:pt x="109" y="44"/>
                  <a:pt x="109" y="44"/>
                  <a:pt x="109" y="44"/>
                </a:cubicBezTo>
                <a:cubicBezTo>
                  <a:pt x="110" y="52"/>
                  <a:pt x="102" y="57"/>
                  <a:pt x="95" y="53"/>
                </a:cubicBezTo>
                <a:cubicBezTo>
                  <a:pt x="77" y="45"/>
                  <a:pt x="77" y="45"/>
                  <a:pt x="77" y="45"/>
                </a:cubicBezTo>
                <a:cubicBezTo>
                  <a:pt x="81" y="64"/>
                  <a:pt x="81" y="64"/>
                  <a:pt x="81" y="64"/>
                </a:cubicBezTo>
                <a:cubicBezTo>
                  <a:pt x="83" y="72"/>
                  <a:pt x="76" y="78"/>
                  <a:pt x="69" y="76"/>
                </a:cubicBezTo>
                <a:cubicBezTo>
                  <a:pt x="50" y="71"/>
                  <a:pt x="50" y="71"/>
                  <a:pt x="50" y="71"/>
                </a:cubicBezTo>
                <a:cubicBezTo>
                  <a:pt x="58" y="89"/>
                  <a:pt x="58" y="89"/>
                  <a:pt x="58" y="89"/>
                </a:cubicBezTo>
                <a:cubicBezTo>
                  <a:pt x="61" y="96"/>
                  <a:pt x="55" y="104"/>
                  <a:pt x="48" y="103"/>
                </a:cubicBezTo>
                <a:cubicBezTo>
                  <a:pt x="28" y="102"/>
                  <a:pt x="28" y="102"/>
                  <a:pt x="28" y="102"/>
                </a:cubicBezTo>
                <a:cubicBezTo>
                  <a:pt x="39" y="118"/>
                  <a:pt x="39" y="118"/>
                  <a:pt x="39" y="118"/>
                </a:cubicBezTo>
                <a:cubicBezTo>
                  <a:pt x="43" y="125"/>
                  <a:pt x="40" y="133"/>
                  <a:pt x="32" y="134"/>
                </a:cubicBezTo>
                <a:cubicBezTo>
                  <a:pt x="12" y="136"/>
                  <a:pt x="12" y="136"/>
                  <a:pt x="12" y="136"/>
                </a:cubicBezTo>
                <a:cubicBezTo>
                  <a:pt x="26" y="150"/>
                  <a:pt x="26" y="150"/>
                  <a:pt x="26" y="150"/>
                </a:cubicBezTo>
                <a:cubicBezTo>
                  <a:pt x="32" y="155"/>
                  <a:pt x="29" y="164"/>
                  <a:pt x="22" y="167"/>
                </a:cubicBezTo>
                <a:cubicBezTo>
                  <a:pt x="3" y="172"/>
                  <a:pt x="3" y="172"/>
                  <a:pt x="3" y="172"/>
                </a:cubicBezTo>
                <a:cubicBezTo>
                  <a:pt x="19" y="184"/>
                  <a:pt x="19" y="184"/>
                  <a:pt x="19" y="184"/>
                </a:cubicBezTo>
                <a:cubicBezTo>
                  <a:pt x="26" y="188"/>
                  <a:pt x="25" y="197"/>
                  <a:pt x="18" y="201"/>
                </a:cubicBezTo>
                <a:cubicBezTo>
                  <a:pt x="0" y="210"/>
                  <a:pt x="0" y="210"/>
                  <a:pt x="0" y="210"/>
                </a:cubicBezTo>
                <a:cubicBezTo>
                  <a:pt x="19" y="218"/>
                  <a:pt x="19" y="218"/>
                  <a:pt x="19" y="218"/>
                </a:cubicBezTo>
                <a:cubicBezTo>
                  <a:pt x="26" y="221"/>
                  <a:pt x="27" y="230"/>
                  <a:pt x="21" y="235"/>
                </a:cubicBezTo>
                <a:cubicBezTo>
                  <a:pt x="5" y="247"/>
                  <a:pt x="5" y="247"/>
                  <a:pt x="5" y="247"/>
                </a:cubicBezTo>
                <a:cubicBezTo>
                  <a:pt x="25" y="252"/>
                  <a:pt x="25" y="252"/>
                  <a:pt x="25" y="252"/>
                </a:cubicBezTo>
                <a:cubicBezTo>
                  <a:pt x="32" y="254"/>
                  <a:pt x="35" y="263"/>
                  <a:pt x="30" y="268"/>
                </a:cubicBezTo>
                <a:cubicBezTo>
                  <a:pt x="16" y="283"/>
                  <a:pt x="16" y="283"/>
                  <a:pt x="16" y="283"/>
                </a:cubicBezTo>
                <a:cubicBezTo>
                  <a:pt x="36" y="284"/>
                  <a:pt x="36" y="284"/>
                  <a:pt x="36" y="284"/>
                </a:cubicBezTo>
                <a:cubicBezTo>
                  <a:pt x="44" y="285"/>
                  <a:pt x="48" y="293"/>
                  <a:pt x="44" y="299"/>
                </a:cubicBezTo>
                <a:cubicBezTo>
                  <a:pt x="34" y="317"/>
                  <a:pt x="34" y="317"/>
                  <a:pt x="34" y="317"/>
                </a:cubicBezTo>
                <a:cubicBezTo>
                  <a:pt x="54" y="314"/>
                  <a:pt x="54" y="314"/>
                  <a:pt x="54" y="314"/>
                </a:cubicBezTo>
                <a:cubicBezTo>
                  <a:pt x="61" y="313"/>
                  <a:pt x="67" y="320"/>
                  <a:pt x="65" y="327"/>
                </a:cubicBezTo>
                <a:cubicBezTo>
                  <a:pt x="57" y="346"/>
                  <a:pt x="57" y="346"/>
                  <a:pt x="57" y="346"/>
                </a:cubicBezTo>
                <a:cubicBezTo>
                  <a:pt x="77" y="340"/>
                  <a:pt x="77" y="340"/>
                  <a:pt x="77" y="340"/>
                </a:cubicBezTo>
                <a:cubicBezTo>
                  <a:pt x="84" y="337"/>
                  <a:pt x="91" y="343"/>
                  <a:pt x="89" y="351"/>
                </a:cubicBezTo>
                <a:cubicBezTo>
                  <a:pt x="86" y="371"/>
                  <a:pt x="86" y="371"/>
                  <a:pt x="86" y="371"/>
                </a:cubicBezTo>
                <a:cubicBezTo>
                  <a:pt x="104" y="361"/>
                  <a:pt x="104" y="361"/>
                  <a:pt x="104" y="361"/>
                </a:cubicBezTo>
                <a:cubicBezTo>
                  <a:pt x="110" y="357"/>
                  <a:pt x="118" y="362"/>
                  <a:pt x="118" y="369"/>
                </a:cubicBezTo>
                <a:cubicBezTo>
                  <a:pt x="119" y="390"/>
                  <a:pt x="119" y="390"/>
                  <a:pt x="119" y="390"/>
                </a:cubicBezTo>
                <a:cubicBezTo>
                  <a:pt x="134" y="377"/>
                  <a:pt x="134" y="377"/>
                  <a:pt x="134" y="377"/>
                </a:cubicBezTo>
                <a:cubicBezTo>
                  <a:pt x="140" y="372"/>
                  <a:pt x="149" y="375"/>
                  <a:pt x="150" y="382"/>
                </a:cubicBezTo>
                <a:cubicBezTo>
                  <a:pt x="154" y="402"/>
                  <a:pt x="154" y="402"/>
                  <a:pt x="154" y="402"/>
                </a:cubicBezTo>
                <a:cubicBezTo>
                  <a:pt x="167" y="387"/>
                  <a:pt x="167" y="387"/>
                  <a:pt x="167" y="387"/>
                </a:cubicBezTo>
                <a:cubicBezTo>
                  <a:pt x="172" y="381"/>
                  <a:pt x="181" y="383"/>
                  <a:pt x="184" y="389"/>
                </a:cubicBezTo>
                <a:cubicBezTo>
                  <a:pt x="191" y="408"/>
                  <a:pt x="191" y="408"/>
                  <a:pt x="191" y="408"/>
                </a:cubicBezTo>
                <a:cubicBezTo>
                  <a:pt x="201" y="391"/>
                  <a:pt x="201" y="391"/>
                  <a:pt x="201" y="391"/>
                </a:cubicBezTo>
                <a:cubicBezTo>
                  <a:pt x="205" y="384"/>
                  <a:pt x="214" y="384"/>
                  <a:pt x="218" y="390"/>
                </a:cubicBezTo>
                <a:cubicBezTo>
                  <a:pt x="229" y="407"/>
                  <a:pt x="229" y="407"/>
                  <a:pt x="229" y="407"/>
                </a:cubicBezTo>
                <a:cubicBezTo>
                  <a:pt x="236" y="388"/>
                  <a:pt x="236" y="388"/>
                  <a:pt x="236" y="388"/>
                </a:cubicBezTo>
                <a:cubicBezTo>
                  <a:pt x="238" y="381"/>
                  <a:pt x="247" y="379"/>
                  <a:pt x="252" y="384"/>
                </a:cubicBezTo>
                <a:cubicBezTo>
                  <a:pt x="266" y="399"/>
                  <a:pt x="266" y="399"/>
                  <a:pt x="266" y="399"/>
                </a:cubicBezTo>
                <a:cubicBezTo>
                  <a:pt x="269" y="379"/>
                  <a:pt x="269" y="379"/>
                  <a:pt x="269" y="379"/>
                </a:cubicBezTo>
                <a:cubicBezTo>
                  <a:pt x="270" y="372"/>
                  <a:pt x="278" y="368"/>
                  <a:pt x="284" y="373"/>
                </a:cubicBezTo>
                <a:cubicBezTo>
                  <a:pt x="301" y="385"/>
                  <a:pt x="301" y="385"/>
                  <a:pt x="301" y="385"/>
                </a:cubicBezTo>
                <a:cubicBezTo>
                  <a:pt x="300" y="364"/>
                  <a:pt x="300" y="364"/>
                  <a:pt x="300" y="364"/>
                </a:cubicBezTo>
                <a:cubicBezTo>
                  <a:pt x="300" y="357"/>
                  <a:pt x="307" y="352"/>
                  <a:pt x="314" y="355"/>
                </a:cubicBezTo>
                <a:cubicBezTo>
                  <a:pt x="332" y="364"/>
                  <a:pt x="332" y="364"/>
                  <a:pt x="332" y="364"/>
                </a:cubicBezTo>
                <a:cubicBezTo>
                  <a:pt x="328" y="344"/>
                  <a:pt x="328" y="344"/>
                  <a:pt x="328" y="344"/>
                </a:cubicBezTo>
                <a:cubicBezTo>
                  <a:pt x="326" y="337"/>
                  <a:pt x="333" y="330"/>
                  <a:pt x="340" y="332"/>
                </a:cubicBezTo>
                <a:cubicBezTo>
                  <a:pt x="359" y="338"/>
                  <a:pt x="359" y="338"/>
                  <a:pt x="359" y="338"/>
                </a:cubicBezTo>
                <a:cubicBezTo>
                  <a:pt x="351" y="319"/>
                  <a:pt x="351" y="319"/>
                  <a:pt x="351" y="319"/>
                </a:cubicBezTo>
                <a:cubicBezTo>
                  <a:pt x="348" y="312"/>
                  <a:pt x="354" y="305"/>
                  <a:pt x="361" y="305"/>
                </a:cubicBezTo>
                <a:cubicBezTo>
                  <a:pt x="381" y="307"/>
                  <a:pt x="381" y="307"/>
                  <a:pt x="381" y="307"/>
                </a:cubicBezTo>
                <a:cubicBezTo>
                  <a:pt x="370" y="290"/>
                  <a:pt x="370" y="290"/>
                  <a:pt x="370" y="290"/>
                </a:cubicBezTo>
                <a:cubicBezTo>
                  <a:pt x="366" y="284"/>
                  <a:pt x="370" y="276"/>
                  <a:pt x="377" y="275"/>
                </a:cubicBezTo>
                <a:cubicBezTo>
                  <a:pt x="397" y="273"/>
                  <a:pt x="397" y="273"/>
                  <a:pt x="397" y="273"/>
                </a:cubicBezTo>
                <a:cubicBezTo>
                  <a:pt x="383" y="258"/>
                  <a:pt x="383" y="258"/>
                  <a:pt x="383" y="258"/>
                </a:cubicBezTo>
                <a:cubicBezTo>
                  <a:pt x="378" y="253"/>
                  <a:pt x="380" y="244"/>
                  <a:pt x="387" y="242"/>
                </a:cubicBezTo>
                <a:cubicBezTo>
                  <a:pt x="406" y="236"/>
                  <a:pt x="406" y="236"/>
                  <a:pt x="406" y="236"/>
                </a:cubicBezTo>
                <a:cubicBezTo>
                  <a:pt x="390" y="225"/>
                  <a:pt x="390" y="225"/>
                  <a:pt x="390" y="225"/>
                </a:cubicBezTo>
                <a:cubicBezTo>
                  <a:pt x="384" y="220"/>
                  <a:pt x="384" y="211"/>
                  <a:pt x="391" y="208"/>
                </a:cubicBezTo>
                <a:cubicBezTo>
                  <a:pt x="409" y="199"/>
                  <a:pt x="409" y="199"/>
                  <a:pt x="409" y="199"/>
                </a:cubicBezTo>
                <a:cubicBezTo>
                  <a:pt x="390" y="190"/>
                  <a:pt x="390" y="190"/>
                  <a:pt x="390" y="190"/>
                </a:cubicBezTo>
                <a:cubicBezTo>
                  <a:pt x="384" y="187"/>
                  <a:pt x="382" y="178"/>
                  <a:pt x="388" y="174"/>
                </a:cubicBezTo>
                <a:cubicBezTo>
                  <a:pt x="404" y="161"/>
                  <a:pt x="404" y="161"/>
                  <a:pt x="404" y="161"/>
                </a:cubicBezTo>
                <a:cubicBezTo>
                  <a:pt x="385" y="156"/>
                  <a:pt x="385" y="156"/>
                  <a:pt x="385" y="156"/>
                </a:cubicBezTo>
                <a:cubicBezTo>
                  <a:pt x="377" y="155"/>
                  <a:pt x="375" y="146"/>
                  <a:pt x="380" y="140"/>
                </a:cubicBezTo>
                <a:cubicBezTo>
                  <a:pt x="393" y="125"/>
                  <a:pt x="393" y="125"/>
                  <a:pt x="393" y="125"/>
                </a:cubicBezTo>
                <a:cubicBezTo>
                  <a:pt x="373" y="124"/>
                  <a:pt x="373" y="124"/>
                  <a:pt x="373" y="124"/>
                </a:cubicBezTo>
                <a:cubicBezTo>
                  <a:pt x="365" y="124"/>
                  <a:pt x="361" y="116"/>
                  <a:pt x="365" y="109"/>
                </a:cubicBezTo>
                <a:cubicBezTo>
                  <a:pt x="375" y="92"/>
                  <a:pt x="375" y="92"/>
                  <a:pt x="375" y="92"/>
                </a:cubicBezTo>
                <a:cubicBezTo>
                  <a:pt x="355" y="95"/>
                  <a:pt x="355" y="95"/>
                  <a:pt x="355" y="95"/>
                </a:cubicBezTo>
                <a:cubicBezTo>
                  <a:pt x="348" y="96"/>
                  <a:pt x="342" y="88"/>
                  <a:pt x="345" y="81"/>
                </a:cubicBezTo>
                <a:cubicBezTo>
                  <a:pt x="352" y="62"/>
                  <a:pt x="352" y="62"/>
                  <a:pt x="352" y="62"/>
                </a:cubicBezTo>
                <a:cubicBezTo>
                  <a:pt x="332" y="69"/>
                  <a:pt x="332" y="69"/>
                  <a:pt x="332" y="69"/>
                </a:cubicBezTo>
                <a:cubicBezTo>
                  <a:pt x="325" y="71"/>
                  <a:pt x="318" y="65"/>
                  <a:pt x="320" y="58"/>
                </a:cubicBezTo>
                <a:cubicBezTo>
                  <a:pt x="323" y="38"/>
                  <a:pt x="323" y="38"/>
                  <a:pt x="323" y="38"/>
                </a:cubicBezTo>
                <a:cubicBezTo>
                  <a:pt x="305" y="48"/>
                  <a:pt x="305" y="48"/>
                  <a:pt x="305" y="48"/>
                </a:cubicBezTo>
                <a:cubicBezTo>
                  <a:pt x="299" y="51"/>
                  <a:pt x="291" y="47"/>
                  <a:pt x="291" y="39"/>
                </a:cubicBezTo>
                <a:cubicBezTo>
                  <a:pt x="291" y="19"/>
                  <a:pt x="291" y="19"/>
                  <a:pt x="291" y="19"/>
                </a:cubicBezTo>
                <a:cubicBezTo>
                  <a:pt x="275" y="32"/>
                  <a:pt x="275" y="32"/>
                  <a:pt x="275" y="32"/>
                </a:cubicBezTo>
                <a:cubicBezTo>
                  <a:pt x="269" y="36"/>
                  <a:pt x="260" y="33"/>
                  <a:pt x="259" y="26"/>
                </a:cubicBezTo>
                <a:cubicBezTo>
                  <a:pt x="255" y="6"/>
                  <a:pt x="255" y="6"/>
                  <a:pt x="255" y="6"/>
                </a:cubicBezTo>
                <a:cubicBezTo>
                  <a:pt x="242" y="22"/>
                  <a:pt x="242" y="22"/>
                  <a:pt x="242" y="22"/>
                </a:cubicBezTo>
                <a:cubicBezTo>
                  <a:pt x="237" y="27"/>
                  <a:pt x="228" y="26"/>
                  <a:pt x="225" y="19"/>
                </a:cubicBezTo>
                <a:cubicBezTo>
                  <a:pt x="218" y="0"/>
                  <a:pt x="218" y="0"/>
                  <a:pt x="218" y="0"/>
                </a:cubicBezTo>
                <a:cubicBezTo>
                  <a:pt x="208" y="18"/>
                  <a:pt x="208" y="18"/>
                  <a:pt x="208" y="18"/>
                </a:cubicBezTo>
                <a:cubicBezTo>
                  <a:pt x="204" y="24"/>
                  <a:pt x="195" y="25"/>
                  <a:pt x="191" y="18"/>
                </a:cubicBezTo>
                <a:cubicBezTo>
                  <a:pt x="180" y="1"/>
                  <a:pt x="180" y="1"/>
                  <a:pt x="180" y="1"/>
                </a:cubicBezTo>
                <a:cubicBezTo>
                  <a:pt x="174" y="21"/>
                  <a:pt x="174" y="21"/>
                  <a:pt x="174" y="21"/>
                </a:cubicBezTo>
                <a:cubicBezTo>
                  <a:pt x="171" y="28"/>
                  <a:pt x="162" y="30"/>
                  <a:pt x="157" y="24"/>
                </a:cubicBezTo>
                <a:close/>
                <a:moveTo>
                  <a:pt x="124" y="230"/>
                </a:moveTo>
                <a:cubicBezTo>
                  <a:pt x="110" y="185"/>
                  <a:pt x="135" y="138"/>
                  <a:pt x="179" y="124"/>
                </a:cubicBezTo>
                <a:cubicBezTo>
                  <a:pt x="224" y="110"/>
                  <a:pt x="271" y="134"/>
                  <a:pt x="285" y="179"/>
                </a:cubicBezTo>
                <a:cubicBezTo>
                  <a:pt x="299" y="223"/>
                  <a:pt x="274" y="271"/>
                  <a:pt x="230" y="285"/>
                </a:cubicBezTo>
                <a:cubicBezTo>
                  <a:pt x="185" y="299"/>
                  <a:pt x="138" y="274"/>
                  <a:pt x="124" y="230"/>
                </a:cubicBezTo>
                <a:close/>
                <a:moveTo>
                  <a:pt x="278" y="279"/>
                </a:moveTo>
                <a:cubicBezTo>
                  <a:pt x="282" y="275"/>
                  <a:pt x="288" y="274"/>
                  <a:pt x="293" y="276"/>
                </a:cubicBezTo>
                <a:cubicBezTo>
                  <a:pt x="316" y="288"/>
                  <a:pt x="316" y="288"/>
                  <a:pt x="316" y="288"/>
                </a:cubicBezTo>
                <a:cubicBezTo>
                  <a:pt x="324" y="292"/>
                  <a:pt x="326" y="302"/>
                  <a:pt x="320" y="308"/>
                </a:cubicBezTo>
                <a:cubicBezTo>
                  <a:pt x="302" y="328"/>
                  <a:pt x="279" y="344"/>
                  <a:pt x="251" y="352"/>
                </a:cubicBezTo>
                <a:cubicBezTo>
                  <a:pt x="183" y="374"/>
                  <a:pt x="110" y="346"/>
                  <a:pt x="74" y="288"/>
                </a:cubicBezTo>
                <a:cubicBezTo>
                  <a:pt x="69" y="281"/>
                  <a:pt x="72" y="271"/>
                  <a:pt x="81" y="268"/>
                </a:cubicBezTo>
                <a:cubicBezTo>
                  <a:pt x="105" y="261"/>
                  <a:pt x="105" y="261"/>
                  <a:pt x="105" y="261"/>
                </a:cubicBezTo>
                <a:cubicBezTo>
                  <a:pt x="110" y="259"/>
                  <a:pt x="116" y="261"/>
                  <a:pt x="120" y="265"/>
                </a:cubicBezTo>
                <a:cubicBezTo>
                  <a:pt x="145" y="301"/>
                  <a:pt x="192" y="318"/>
                  <a:pt x="236" y="304"/>
                </a:cubicBezTo>
                <a:cubicBezTo>
                  <a:pt x="252" y="299"/>
                  <a:pt x="267" y="290"/>
                  <a:pt x="278" y="279"/>
                </a:cubicBezTo>
                <a:close/>
                <a:moveTo>
                  <a:pt x="309" y="89"/>
                </a:moveTo>
                <a:cubicBezTo>
                  <a:pt x="329" y="107"/>
                  <a:pt x="344" y="130"/>
                  <a:pt x="353" y="158"/>
                </a:cubicBezTo>
                <a:cubicBezTo>
                  <a:pt x="362" y="187"/>
                  <a:pt x="362" y="216"/>
                  <a:pt x="355" y="244"/>
                </a:cubicBezTo>
                <a:cubicBezTo>
                  <a:pt x="353" y="252"/>
                  <a:pt x="344" y="256"/>
                  <a:pt x="336" y="252"/>
                </a:cubicBezTo>
                <a:cubicBezTo>
                  <a:pt x="314" y="240"/>
                  <a:pt x="314" y="240"/>
                  <a:pt x="314" y="240"/>
                </a:cubicBezTo>
                <a:cubicBezTo>
                  <a:pt x="309" y="238"/>
                  <a:pt x="306" y="232"/>
                  <a:pt x="307" y="226"/>
                </a:cubicBezTo>
                <a:cubicBezTo>
                  <a:pt x="311" y="209"/>
                  <a:pt x="310" y="191"/>
                  <a:pt x="304" y="173"/>
                </a:cubicBezTo>
                <a:cubicBezTo>
                  <a:pt x="299" y="156"/>
                  <a:pt x="290" y="142"/>
                  <a:pt x="279" y="131"/>
                </a:cubicBezTo>
                <a:cubicBezTo>
                  <a:pt x="275" y="127"/>
                  <a:pt x="274" y="121"/>
                  <a:pt x="277" y="116"/>
                </a:cubicBezTo>
                <a:cubicBezTo>
                  <a:pt x="289" y="93"/>
                  <a:pt x="289" y="93"/>
                  <a:pt x="289" y="93"/>
                </a:cubicBezTo>
                <a:cubicBezTo>
                  <a:pt x="293" y="85"/>
                  <a:pt x="302" y="83"/>
                  <a:pt x="309" y="89"/>
                </a:cubicBezTo>
                <a:close/>
                <a:moveTo>
                  <a:pt x="244" y="54"/>
                </a:moveTo>
                <a:cubicBezTo>
                  <a:pt x="252" y="56"/>
                  <a:pt x="256" y="65"/>
                  <a:pt x="252" y="73"/>
                </a:cubicBezTo>
                <a:cubicBezTo>
                  <a:pt x="241" y="95"/>
                  <a:pt x="241" y="95"/>
                  <a:pt x="241" y="95"/>
                </a:cubicBezTo>
                <a:cubicBezTo>
                  <a:pt x="238" y="100"/>
                  <a:pt x="232" y="103"/>
                  <a:pt x="227" y="102"/>
                </a:cubicBezTo>
                <a:cubicBezTo>
                  <a:pt x="209" y="98"/>
                  <a:pt x="191" y="99"/>
                  <a:pt x="173" y="104"/>
                </a:cubicBezTo>
                <a:cubicBezTo>
                  <a:pt x="127" y="119"/>
                  <a:pt x="98" y="163"/>
                  <a:pt x="100" y="209"/>
                </a:cubicBezTo>
                <a:cubicBezTo>
                  <a:pt x="100" y="215"/>
                  <a:pt x="96" y="220"/>
                  <a:pt x="91" y="222"/>
                </a:cubicBezTo>
                <a:cubicBezTo>
                  <a:pt x="67" y="229"/>
                  <a:pt x="67" y="229"/>
                  <a:pt x="67" y="229"/>
                </a:cubicBezTo>
                <a:cubicBezTo>
                  <a:pt x="59" y="232"/>
                  <a:pt x="51" y="226"/>
                  <a:pt x="50" y="218"/>
                </a:cubicBezTo>
                <a:cubicBezTo>
                  <a:pt x="43" y="147"/>
                  <a:pt x="87" y="78"/>
                  <a:pt x="158" y="56"/>
                </a:cubicBezTo>
                <a:cubicBezTo>
                  <a:pt x="187" y="47"/>
                  <a:pt x="217" y="47"/>
                  <a:pt x="244" y="5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91181" name="Freeform 124"/>
          <p:cNvSpPr>
            <a:spLocks noEditPoints="1"/>
          </p:cNvSpPr>
          <p:nvPr/>
        </p:nvSpPr>
        <p:spPr bwMode="auto">
          <a:xfrm>
            <a:off x="5899150" y="1274763"/>
            <a:ext cx="2008188" cy="2009775"/>
          </a:xfrm>
          <a:custGeom>
            <a:avLst/>
            <a:gdLst>
              <a:gd name="T0" fmla="*/ 1934663 w 845"/>
              <a:gd name="T1" fmla="*/ 1265690 h 845"/>
              <a:gd name="T2" fmla="*/ 1792059 w 845"/>
              <a:gd name="T3" fmla="*/ 1161009 h 845"/>
              <a:gd name="T4" fmla="*/ 1841970 w 845"/>
              <a:gd name="T5" fmla="*/ 1023020 h 845"/>
              <a:gd name="T6" fmla="*/ 2003589 w 845"/>
              <a:gd name="T7" fmla="*/ 949268 h 845"/>
              <a:gd name="T8" fmla="*/ 1929910 w 845"/>
              <a:gd name="T9" fmla="*/ 732768 h 845"/>
              <a:gd name="T10" fmla="*/ 1761161 w 845"/>
              <a:gd name="T11" fmla="*/ 716114 h 845"/>
              <a:gd name="T12" fmla="*/ 1758785 w 845"/>
              <a:gd name="T13" fmla="*/ 623329 h 845"/>
              <a:gd name="T14" fmla="*/ 1865738 w 845"/>
              <a:gd name="T15" fmla="*/ 487719 h 845"/>
              <a:gd name="T16" fmla="*/ 1696990 w 845"/>
              <a:gd name="T17" fmla="*/ 328318 h 845"/>
              <a:gd name="T18" fmla="*/ 1544878 w 845"/>
              <a:gd name="T19" fmla="*/ 392554 h 845"/>
              <a:gd name="T20" fmla="*/ 1466446 w 845"/>
              <a:gd name="T21" fmla="*/ 290252 h 845"/>
              <a:gd name="T22" fmla="*/ 1487837 w 845"/>
              <a:gd name="T23" fmla="*/ 126093 h 845"/>
              <a:gd name="T24" fmla="*/ 1262047 w 845"/>
              <a:gd name="T25" fmla="*/ 73753 h 845"/>
              <a:gd name="T26" fmla="*/ 1166977 w 845"/>
              <a:gd name="T27" fmla="*/ 197467 h 845"/>
              <a:gd name="T28" fmla="*/ 1017243 w 845"/>
              <a:gd name="T29" fmla="*/ 147505 h 845"/>
              <a:gd name="T30" fmla="*/ 948318 w 845"/>
              <a:gd name="T31" fmla="*/ 4758 h 845"/>
              <a:gd name="T32" fmla="*/ 729658 w 845"/>
              <a:gd name="T33" fmla="*/ 78511 h 845"/>
              <a:gd name="T34" fmla="*/ 715398 w 845"/>
              <a:gd name="T35" fmla="*/ 230774 h 845"/>
              <a:gd name="T36" fmla="*/ 613198 w 845"/>
              <a:gd name="T37" fmla="*/ 237912 h 845"/>
              <a:gd name="T38" fmla="*/ 487231 w 845"/>
              <a:gd name="T39" fmla="*/ 145126 h 845"/>
              <a:gd name="T40" fmla="*/ 327990 w 845"/>
              <a:gd name="T41" fmla="*/ 311664 h 845"/>
              <a:gd name="T42" fmla="*/ 385031 w 845"/>
              <a:gd name="T43" fmla="*/ 454411 h 845"/>
              <a:gd name="T44" fmla="*/ 280455 w 845"/>
              <a:gd name="T45" fmla="*/ 540060 h 845"/>
              <a:gd name="T46" fmla="*/ 125967 w 845"/>
              <a:gd name="T47" fmla="*/ 521027 h 845"/>
              <a:gd name="T48" fmla="*/ 71302 w 845"/>
              <a:gd name="T49" fmla="*/ 747043 h 845"/>
              <a:gd name="T50" fmla="*/ 197269 w 845"/>
              <a:gd name="T51" fmla="*/ 842207 h 845"/>
              <a:gd name="T52" fmla="*/ 147358 w 845"/>
              <a:gd name="T53" fmla="*/ 992092 h 845"/>
              <a:gd name="T54" fmla="*/ 2377 w 845"/>
              <a:gd name="T55" fmla="*/ 1061086 h 845"/>
              <a:gd name="T56" fmla="*/ 76056 w 845"/>
              <a:gd name="T57" fmla="*/ 1279965 h 845"/>
              <a:gd name="T58" fmla="*/ 237674 w 845"/>
              <a:gd name="T59" fmla="*/ 1294240 h 845"/>
              <a:gd name="T60" fmla="*/ 244804 w 845"/>
              <a:gd name="T61" fmla="*/ 1389404 h 845"/>
              <a:gd name="T62" fmla="*/ 144981 w 845"/>
              <a:gd name="T63" fmla="*/ 1522635 h 845"/>
              <a:gd name="T64" fmla="*/ 311352 w 845"/>
              <a:gd name="T65" fmla="*/ 1682036 h 845"/>
              <a:gd name="T66" fmla="*/ 465840 w 845"/>
              <a:gd name="T67" fmla="*/ 1613041 h 845"/>
              <a:gd name="T68" fmla="*/ 544273 w 845"/>
              <a:gd name="T69" fmla="*/ 1712964 h 845"/>
              <a:gd name="T70" fmla="*/ 520505 w 845"/>
              <a:gd name="T71" fmla="*/ 1884261 h 845"/>
              <a:gd name="T72" fmla="*/ 743918 w 845"/>
              <a:gd name="T73" fmla="*/ 1936601 h 845"/>
              <a:gd name="T74" fmla="*/ 846118 w 845"/>
              <a:gd name="T75" fmla="*/ 1796233 h 845"/>
              <a:gd name="T76" fmla="*/ 986345 w 845"/>
              <a:gd name="T77" fmla="*/ 1843816 h 845"/>
              <a:gd name="T78" fmla="*/ 1060024 w 845"/>
              <a:gd name="T79" fmla="*/ 2007975 h 845"/>
              <a:gd name="T80" fmla="*/ 1276307 w 845"/>
              <a:gd name="T81" fmla="*/ 1934222 h 845"/>
              <a:gd name="T82" fmla="*/ 1290568 w 845"/>
              <a:gd name="T83" fmla="*/ 1755788 h 845"/>
              <a:gd name="T84" fmla="*/ 1378507 w 845"/>
              <a:gd name="T85" fmla="*/ 1753409 h 845"/>
              <a:gd name="T86" fmla="*/ 1521111 w 845"/>
              <a:gd name="T87" fmla="*/ 1867607 h 845"/>
              <a:gd name="T88" fmla="*/ 1680352 w 845"/>
              <a:gd name="T89" fmla="*/ 1701069 h 845"/>
              <a:gd name="T90" fmla="*/ 1606674 w 845"/>
              <a:gd name="T91" fmla="*/ 1536910 h 845"/>
              <a:gd name="T92" fmla="*/ 1701743 w 845"/>
              <a:gd name="T93" fmla="*/ 1463157 h 845"/>
              <a:gd name="T94" fmla="*/ 1882375 w 845"/>
              <a:gd name="T95" fmla="*/ 1489327 h 845"/>
              <a:gd name="T96" fmla="*/ 1440302 w 845"/>
              <a:gd name="T97" fmla="*/ 1582113 h 845"/>
              <a:gd name="T98" fmla="*/ 579924 w 845"/>
              <a:gd name="T99" fmla="*/ 409208 h 845"/>
              <a:gd name="T100" fmla="*/ 1440302 w 845"/>
              <a:gd name="T101" fmla="*/ 1582113 h 84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45" h="845">
                <a:moveTo>
                  <a:pt x="823" y="555"/>
                </a:moveTo>
                <a:cubicBezTo>
                  <a:pt x="826" y="546"/>
                  <a:pt x="823" y="536"/>
                  <a:pt x="814" y="532"/>
                </a:cubicBezTo>
                <a:cubicBezTo>
                  <a:pt x="764" y="508"/>
                  <a:pt x="764" y="508"/>
                  <a:pt x="764" y="508"/>
                </a:cubicBezTo>
                <a:cubicBezTo>
                  <a:pt x="757" y="504"/>
                  <a:pt x="753" y="496"/>
                  <a:pt x="754" y="488"/>
                </a:cubicBezTo>
                <a:cubicBezTo>
                  <a:pt x="757" y="474"/>
                  <a:pt x="759" y="460"/>
                  <a:pt x="761" y="446"/>
                </a:cubicBezTo>
                <a:cubicBezTo>
                  <a:pt x="761" y="438"/>
                  <a:pt x="767" y="431"/>
                  <a:pt x="775" y="430"/>
                </a:cubicBezTo>
                <a:cubicBezTo>
                  <a:pt x="829" y="420"/>
                  <a:pt x="829" y="420"/>
                  <a:pt x="829" y="420"/>
                </a:cubicBezTo>
                <a:cubicBezTo>
                  <a:pt x="838" y="418"/>
                  <a:pt x="845" y="409"/>
                  <a:pt x="843" y="399"/>
                </a:cubicBezTo>
                <a:cubicBezTo>
                  <a:pt x="832" y="323"/>
                  <a:pt x="832" y="323"/>
                  <a:pt x="832" y="323"/>
                </a:cubicBezTo>
                <a:cubicBezTo>
                  <a:pt x="830" y="313"/>
                  <a:pt x="822" y="307"/>
                  <a:pt x="812" y="308"/>
                </a:cubicBezTo>
                <a:cubicBezTo>
                  <a:pt x="760" y="313"/>
                  <a:pt x="760" y="313"/>
                  <a:pt x="760" y="313"/>
                </a:cubicBezTo>
                <a:cubicBezTo>
                  <a:pt x="752" y="314"/>
                  <a:pt x="744" y="309"/>
                  <a:pt x="741" y="301"/>
                </a:cubicBezTo>
                <a:cubicBezTo>
                  <a:pt x="739" y="295"/>
                  <a:pt x="737" y="289"/>
                  <a:pt x="734" y="283"/>
                </a:cubicBezTo>
                <a:cubicBezTo>
                  <a:pt x="731" y="276"/>
                  <a:pt x="733" y="267"/>
                  <a:pt x="740" y="262"/>
                </a:cubicBezTo>
                <a:cubicBezTo>
                  <a:pt x="781" y="229"/>
                  <a:pt x="781" y="229"/>
                  <a:pt x="781" y="229"/>
                </a:cubicBezTo>
                <a:cubicBezTo>
                  <a:pt x="789" y="223"/>
                  <a:pt x="790" y="213"/>
                  <a:pt x="785" y="205"/>
                </a:cubicBezTo>
                <a:cubicBezTo>
                  <a:pt x="739" y="142"/>
                  <a:pt x="739" y="142"/>
                  <a:pt x="739" y="142"/>
                </a:cubicBezTo>
                <a:cubicBezTo>
                  <a:pt x="733" y="135"/>
                  <a:pt x="722" y="133"/>
                  <a:pt x="714" y="138"/>
                </a:cubicBezTo>
                <a:cubicBezTo>
                  <a:pt x="672" y="167"/>
                  <a:pt x="672" y="167"/>
                  <a:pt x="672" y="167"/>
                </a:cubicBezTo>
                <a:cubicBezTo>
                  <a:pt x="666" y="171"/>
                  <a:pt x="657" y="170"/>
                  <a:pt x="650" y="165"/>
                </a:cubicBezTo>
                <a:cubicBezTo>
                  <a:pt x="642" y="157"/>
                  <a:pt x="633" y="150"/>
                  <a:pt x="623" y="143"/>
                </a:cubicBezTo>
                <a:cubicBezTo>
                  <a:pt x="617" y="138"/>
                  <a:pt x="614" y="130"/>
                  <a:pt x="617" y="122"/>
                </a:cubicBezTo>
                <a:cubicBezTo>
                  <a:pt x="635" y="76"/>
                  <a:pt x="635" y="76"/>
                  <a:pt x="635" y="76"/>
                </a:cubicBezTo>
                <a:cubicBezTo>
                  <a:pt x="639" y="67"/>
                  <a:pt x="634" y="57"/>
                  <a:pt x="626" y="53"/>
                </a:cubicBezTo>
                <a:cubicBezTo>
                  <a:pt x="555" y="22"/>
                  <a:pt x="555" y="22"/>
                  <a:pt x="555" y="22"/>
                </a:cubicBezTo>
                <a:cubicBezTo>
                  <a:pt x="546" y="19"/>
                  <a:pt x="536" y="22"/>
                  <a:pt x="531" y="31"/>
                </a:cubicBezTo>
                <a:cubicBezTo>
                  <a:pt x="511" y="74"/>
                  <a:pt x="511" y="74"/>
                  <a:pt x="511" y="74"/>
                </a:cubicBezTo>
                <a:cubicBezTo>
                  <a:pt x="507" y="81"/>
                  <a:pt x="499" y="85"/>
                  <a:pt x="491" y="83"/>
                </a:cubicBezTo>
                <a:cubicBezTo>
                  <a:pt x="475" y="80"/>
                  <a:pt x="460" y="78"/>
                  <a:pt x="444" y="77"/>
                </a:cubicBezTo>
                <a:cubicBezTo>
                  <a:pt x="436" y="76"/>
                  <a:pt x="429" y="70"/>
                  <a:pt x="428" y="62"/>
                </a:cubicBezTo>
                <a:cubicBezTo>
                  <a:pt x="419" y="16"/>
                  <a:pt x="419" y="16"/>
                  <a:pt x="419" y="16"/>
                </a:cubicBezTo>
                <a:cubicBezTo>
                  <a:pt x="417" y="7"/>
                  <a:pt x="408" y="0"/>
                  <a:pt x="399" y="2"/>
                </a:cubicBezTo>
                <a:cubicBezTo>
                  <a:pt x="322" y="13"/>
                  <a:pt x="322" y="13"/>
                  <a:pt x="322" y="13"/>
                </a:cubicBezTo>
                <a:cubicBezTo>
                  <a:pt x="313" y="15"/>
                  <a:pt x="306" y="23"/>
                  <a:pt x="307" y="33"/>
                </a:cubicBezTo>
                <a:cubicBezTo>
                  <a:pt x="312" y="78"/>
                  <a:pt x="312" y="78"/>
                  <a:pt x="312" y="78"/>
                </a:cubicBezTo>
                <a:cubicBezTo>
                  <a:pt x="313" y="86"/>
                  <a:pt x="308" y="94"/>
                  <a:pt x="301" y="97"/>
                </a:cubicBezTo>
                <a:cubicBezTo>
                  <a:pt x="293" y="99"/>
                  <a:pt x="286" y="102"/>
                  <a:pt x="279" y="106"/>
                </a:cubicBezTo>
                <a:cubicBezTo>
                  <a:pt x="272" y="109"/>
                  <a:pt x="263" y="107"/>
                  <a:pt x="258" y="100"/>
                </a:cubicBezTo>
                <a:cubicBezTo>
                  <a:pt x="229" y="65"/>
                  <a:pt x="229" y="65"/>
                  <a:pt x="229" y="65"/>
                </a:cubicBezTo>
                <a:cubicBezTo>
                  <a:pt x="223" y="57"/>
                  <a:pt x="213" y="56"/>
                  <a:pt x="205" y="61"/>
                </a:cubicBezTo>
                <a:cubicBezTo>
                  <a:pt x="143" y="107"/>
                  <a:pt x="143" y="107"/>
                  <a:pt x="143" y="107"/>
                </a:cubicBezTo>
                <a:cubicBezTo>
                  <a:pt x="135" y="113"/>
                  <a:pt x="133" y="124"/>
                  <a:pt x="138" y="131"/>
                </a:cubicBezTo>
                <a:cubicBezTo>
                  <a:pt x="164" y="169"/>
                  <a:pt x="164" y="169"/>
                  <a:pt x="164" y="169"/>
                </a:cubicBezTo>
                <a:cubicBezTo>
                  <a:pt x="168" y="176"/>
                  <a:pt x="168" y="185"/>
                  <a:pt x="162" y="191"/>
                </a:cubicBezTo>
                <a:cubicBezTo>
                  <a:pt x="154" y="201"/>
                  <a:pt x="146" y="210"/>
                  <a:pt x="139" y="220"/>
                </a:cubicBezTo>
                <a:cubicBezTo>
                  <a:pt x="135" y="227"/>
                  <a:pt x="126" y="230"/>
                  <a:pt x="118" y="227"/>
                </a:cubicBezTo>
                <a:cubicBezTo>
                  <a:pt x="76" y="210"/>
                  <a:pt x="76" y="210"/>
                  <a:pt x="76" y="210"/>
                </a:cubicBezTo>
                <a:cubicBezTo>
                  <a:pt x="67" y="207"/>
                  <a:pt x="57" y="211"/>
                  <a:pt x="53" y="219"/>
                </a:cubicBezTo>
                <a:cubicBezTo>
                  <a:pt x="22" y="290"/>
                  <a:pt x="22" y="290"/>
                  <a:pt x="22" y="290"/>
                </a:cubicBezTo>
                <a:cubicBezTo>
                  <a:pt x="18" y="299"/>
                  <a:pt x="22" y="309"/>
                  <a:pt x="30" y="314"/>
                </a:cubicBezTo>
                <a:cubicBezTo>
                  <a:pt x="73" y="334"/>
                  <a:pt x="73" y="334"/>
                  <a:pt x="73" y="334"/>
                </a:cubicBezTo>
                <a:cubicBezTo>
                  <a:pt x="80" y="338"/>
                  <a:pt x="84" y="346"/>
                  <a:pt x="83" y="354"/>
                </a:cubicBezTo>
                <a:cubicBezTo>
                  <a:pt x="80" y="369"/>
                  <a:pt x="78" y="385"/>
                  <a:pt x="77" y="401"/>
                </a:cubicBezTo>
                <a:cubicBezTo>
                  <a:pt x="76" y="409"/>
                  <a:pt x="70" y="416"/>
                  <a:pt x="62" y="417"/>
                </a:cubicBezTo>
                <a:cubicBezTo>
                  <a:pt x="16" y="426"/>
                  <a:pt x="16" y="426"/>
                  <a:pt x="16" y="426"/>
                </a:cubicBezTo>
                <a:cubicBezTo>
                  <a:pt x="6" y="428"/>
                  <a:pt x="0" y="437"/>
                  <a:pt x="1" y="446"/>
                </a:cubicBezTo>
                <a:cubicBezTo>
                  <a:pt x="13" y="523"/>
                  <a:pt x="13" y="523"/>
                  <a:pt x="13" y="523"/>
                </a:cubicBezTo>
                <a:cubicBezTo>
                  <a:pt x="14" y="532"/>
                  <a:pt x="23" y="539"/>
                  <a:pt x="32" y="538"/>
                </a:cubicBezTo>
                <a:cubicBezTo>
                  <a:pt x="82" y="532"/>
                  <a:pt x="82" y="532"/>
                  <a:pt x="82" y="532"/>
                </a:cubicBezTo>
                <a:cubicBezTo>
                  <a:pt x="89" y="532"/>
                  <a:pt x="97" y="536"/>
                  <a:pt x="100" y="544"/>
                </a:cubicBezTo>
                <a:cubicBezTo>
                  <a:pt x="102" y="550"/>
                  <a:pt x="105" y="556"/>
                  <a:pt x="108" y="563"/>
                </a:cubicBezTo>
                <a:cubicBezTo>
                  <a:pt x="112" y="570"/>
                  <a:pt x="110" y="579"/>
                  <a:pt x="103" y="584"/>
                </a:cubicBezTo>
                <a:cubicBezTo>
                  <a:pt x="64" y="615"/>
                  <a:pt x="64" y="615"/>
                  <a:pt x="64" y="615"/>
                </a:cubicBezTo>
                <a:cubicBezTo>
                  <a:pt x="57" y="621"/>
                  <a:pt x="55" y="632"/>
                  <a:pt x="61" y="640"/>
                </a:cubicBezTo>
                <a:cubicBezTo>
                  <a:pt x="107" y="702"/>
                  <a:pt x="107" y="702"/>
                  <a:pt x="107" y="702"/>
                </a:cubicBezTo>
                <a:cubicBezTo>
                  <a:pt x="112" y="710"/>
                  <a:pt x="123" y="712"/>
                  <a:pt x="131" y="707"/>
                </a:cubicBezTo>
                <a:cubicBezTo>
                  <a:pt x="175" y="677"/>
                  <a:pt x="175" y="677"/>
                  <a:pt x="175" y="677"/>
                </a:cubicBezTo>
                <a:cubicBezTo>
                  <a:pt x="181" y="673"/>
                  <a:pt x="190" y="673"/>
                  <a:pt x="196" y="678"/>
                </a:cubicBezTo>
                <a:cubicBezTo>
                  <a:pt x="204" y="686"/>
                  <a:pt x="213" y="693"/>
                  <a:pt x="222" y="699"/>
                </a:cubicBezTo>
                <a:cubicBezTo>
                  <a:pt x="229" y="704"/>
                  <a:pt x="232" y="712"/>
                  <a:pt x="229" y="720"/>
                </a:cubicBezTo>
                <a:cubicBezTo>
                  <a:pt x="209" y="769"/>
                  <a:pt x="209" y="769"/>
                  <a:pt x="209" y="769"/>
                </a:cubicBezTo>
                <a:cubicBezTo>
                  <a:pt x="206" y="778"/>
                  <a:pt x="210" y="788"/>
                  <a:pt x="219" y="792"/>
                </a:cubicBezTo>
                <a:cubicBezTo>
                  <a:pt x="290" y="823"/>
                  <a:pt x="290" y="823"/>
                  <a:pt x="290" y="823"/>
                </a:cubicBezTo>
                <a:cubicBezTo>
                  <a:pt x="299" y="827"/>
                  <a:pt x="309" y="823"/>
                  <a:pt x="313" y="814"/>
                </a:cubicBezTo>
                <a:cubicBezTo>
                  <a:pt x="337" y="765"/>
                  <a:pt x="337" y="765"/>
                  <a:pt x="337" y="765"/>
                </a:cubicBezTo>
                <a:cubicBezTo>
                  <a:pt x="341" y="758"/>
                  <a:pt x="348" y="754"/>
                  <a:pt x="356" y="755"/>
                </a:cubicBezTo>
                <a:cubicBezTo>
                  <a:pt x="370" y="758"/>
                  <a:pt x="384" y="760"/>
                  <a:pt x="399" y="760"/>
                </a:cubicBezTo>
                <a:cubicBezTo>
                  <a:pt x="407" y="761"/>
                  <a:pt x="413" y="767"/>
                  <a:pt x="415" y="775"/>
                </a:cubicBezTo>
                <a:cubicBezTo>
                  <a:pt x="425" y="829"/>
                  <a:pt x="425" y="829"/>
                  <a:pt x="425" y="829"/>
                </a:cubicBezTo>
                <a:cubicBezTo>
                  <a:pt x="427" y="839"/>
                  <a:pt x="436" y="845"/>
                  <a:pt x="446" y="844"/>
                </a:cubicBezTo>
                <a:cubicBezTo>
                  <a:pt x="522" y="832"/>
                  <a:pt x="522" y="832"/>
                  <a:pt x="522" y="832"/>
                </a:cubicBezTo>
                <a:cubicBezTo>
                  <a:pt x="532" y="831"/>
                  <a:pt x="538" y="822"/>
                  <a:pt x="537" y="813"/>
                </a:cubicBezTo>
                <a:cubicBezTo>
                  <a:pt x="531" y="757"/>
                  <a:pt x="531" y="757"/>
                  <a:pt x="531" y="757"/>
                </a:cubicBezTo>
                <a:cubicBezTo>
                  <a:pt x="530" y="749"/>
                  <a:pt x="535" y="741"/>
                  <a:pt x="543" y="738"/>
                </a:cubicBezTo>
                <a:cubicBezTo>
                  <a:pt x="548" y="736"/>
                  <a:pt x="553" y="734"/>
                  <a:pt x="559" y="732"/>
                </a:cubicBezTo>
                <a:cubicBezTo>
                  <a:pt x="566" y="729"/>
                  <a:pt x="575" y="731"/>
                  <a:pt x="580" y="737"/>
                </a:cubicBezTo>
                <a:cubicBezTo>
                  <a:pt x="616" y="782"/>
                  <a:pt x="616" y="782"/>
                  <a:pt x="616" y="782"/>
                </a:cubicBezTo>
                <a:cubicBezTo>
                  <a:pt x="622" y="789"/>
                  <a:pt x="632" y="791"/>
                  <a:pt x="640" y="785"/>
                </a:cubicBezTo>
                <a:cubicBezTo>
                  <a:pt x="702" y="739"/>
                  <a:pt x="702" y="739"/>
                  <a:pt x="702" y="739"/>
                </a:cubicBezTo>
                <a:cubicBezTo>
                  <a:pt x="710" y="734"/>
                  <a:pt x="712" y="723"/>
                  <a:pt x="707" y="715"/>
                </a:cubicBezTo>
                <a:cubicBezTo>
                  <a:pt x="675" y="667"/>
                  <a:pt x="675" y="667"/>
                  <a:pt x="675" y="667"/>
                </a:cubicBezTo>
                <a:cubicBezTo>
                  <a:pt x="670" y="661"/>
                  <a:pt x="671" y="652"/>
                  <a:pt x="676" y="646"/>
                </a:cubicBezTo>
                <a:cubicBezTo>
                  <a:pt x="683" y="638"/>
                  <a:pt x="689" y="630"/>
                  <a:pt x="695" y="621"/>
                </a:cubicBezTo>
                <a:cubicBezTo>
                  <a:pt x="700" y="615"/>
                  <a:pt x="709" y="612"/>
                  <a:pt x="716" y="615"/>
                </a:cubicBezTo>
                <a:cubicBezTo>
                  <a:pt x="769" y="636"/>
                  <a:pt x="769" y="636"/>
                  <a:pt x="769" y="636"/>
                </a:cubicBezTo>
                <a:cubicBezTo>
                  <a:pt x="778" y="639"/>
                  <a:pt x="788" y="635"/>
                  <a:pt x="792" y="626"/>
                </a:cubicBezTo>
                <a:lnTo>
                  <a:pt x="823" y="555"/>
                </a:lnTo>
                <a:close/>
                <a:moveTo>
                  <a:pt x="606" y="665"/>
                </a:moveTo>
                <a:cubicBezTo>
                  <a:pt x="470" y="765"/>
                  <a:pt x="278" y="736"/>
                  <a:pt x="178" y="599"/>
                </a:cubicBezTo>
                <a:cubicBezTo>
                  <a:pt x="79" y="463"/>
                  <a:pt x="108" y="272"/>
                  <a:pt x="244" y="172"/>
                </a:cubicBezTo>
                <a:cubicBezTo>
                  <a:pt x="380" y="72"/>
                  <a:pt x="571" y="102"/>
                  <a:pt x="671" y="238"/>
                </a:cubicBezTo>
                <a:cubicBezTo>
                  <a:pt x="771" y="374"/>
                  <a:pt x="742" y="565"/>
                  <a:pt x="606" y="665"/>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1182" name="Freeform 126"/>
          <p:cNvSpPr>
            <a:spLocks noEditPoints="1"/>
          </p:cNvSpPr>
          <p:nvPr/>
        </p:nvSpPr>
        <p:spPr bwMode="auto">
          <a:xfrm>
            <a:off x="6086475" y="1446213"/>
            <a:ext cx="1646238" cy="1647825"/>
          </a:xfrm>
          <a:custGeom>
            <a:avLst/>
            <a:gdLst>
              <a:gd name="T0" fmla="*/ 1408238 w 692"/>
              <a:gd name="T1" fmla="*/ 394790 h 693"/>
              <a:gd name="T2" fmla="*/ 392499 w 692"/>
              <a:gd name="T3" fmla="*/ 237825 h 693"/>
              <a:gd name="T4" fmla="*/ 235499 w 692"/>
              <a:gd name="T5" fmla="*/ 1253338 h 693"/>
              <a:gd name="T6" fmla="*/ 1253617 w 692"/>
              <a:gd name="T7" fmla="*/ 1410303 h 693"/>
              <a:gd name="T8" fmla="*/ 1408238 w 692"/>
              <a:gd name="T9" fmla="*/ 394790 h 693"/>
              <a:gd name="T10" fmla="*/ 1217936 w 692"/>
              <a:gd name="T11" fmla="*/ 1362738 h 693"/>
              <a:gd name="T12" fmla="*/ 283075 w 692"/>
              <a:gd name="T13" fmla="*/ 1220043 h 693"/>
              <a:gd name="T14" fmla="*/ 428180 w 692"/>
              <a:gd name="T15" fmla="*/ 285390 h 693"/>
              <a:gd name="T16" fmla="*/ 1363041 w 692"/>
              <a:gd name="T17" fmla="*/ 428085 h 693"/>
              <a:gd name="T18" fmla="*/ 1217936 w 692"/>
              <a:gd name="T19" fmla="*/ 1362738 h 6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92" h="693">
                <a:moveTo>
                  <a:pt x="592" y="166"/>
                </a:moveTo>
                <a:cubicBezTo>
                  <a:pt x="492" y="30"/>
                  <a:pt x="301" y="0"/>
                  <a:pt x="165" y="100"/>
                </a:cubicBezTo>
                <a:cubicBezTo>
                  <a:pt x="29" y="200"/>
                  <a:pt x="0" y="391"/>
                  <a:pt x="99" y="527"/>
                </a:cubicBezTo>
                <a:cubicBezTo>
                  <a:pt x="199" y="664"/>
                  <a:pt x="391" y="693"/>
                  <a:pt x="527" y="593"/>
                </a:cubicBezTo>
                <a:cubicBezTo>
                  <a:pt x="663" y="493"/>
                  <a:pt x="692" y="302"/>
                  <a:pt x="592" y="166"/>
                </a:cubicBezTo>
                <a:close/>
                <a:moveTo>
                  <a:pt x="512" y="573"/>
                </a:moveTo>
                <a:cubicBezTo>
                  <a:pt x="387" y="665"/>
                  <a:pt x="211" y="638"/>
                  <a:pt x="119" y="513"/>
                </a:cubicBezTo>
                <a:cubicBezTo>
                  <a:pt x="27" y="388"/>
                  <a:pt x="54" y="212"/>
                  <a:pt x="180" y="120"/>
                </a:cubicBezTo>
                <a:cubicBezTo>
                  <a:pt x="305" y="28"/>
                  <a:pt x="481" y="55"/>
                  <a:pt x="573" y="180"/>
                </a:cubicBezTo>
                <a:cubicBezTo>
                  <a:pt x="664" y="305"/>
                  <a:pt x="637" y="481"/>
                  <a:pt x="512" y="573"/>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1183" name="Freeform 127"/>
          <p:cNvSpPr>
            <a:spLocks noEditPoints="1"/>
          </p:cNvSpPr>
          <p:nvPr/>
        </p:nvSpPr>
        <p:spPr bwMode="auto">
          <a:xfrm>
            <a:off x="4286250" y="5260975"/>
            <a:ext cx="1165225" cy="1165225"/>
          </a:xfrm>
          <a:custGeom>
            <a:avLst/>
            <a:gdLst>
              <a:gd name="T0" fmla="*/ 1122359 w 490"/>
              <a:gd name="T1" fmla="*/ 734764 h 490"/>
              <a:gd name="T2" fmla="*/ 1041511 w 490"/>
              <a:gd name="T3" fmla="*/ 672939 h 490"/>
              <a:gd name="T4" fmla="*/ 1070046 w 490"/>
              <a:gd name="T5" fmla="*/ 592092 h 490"/>
              <a:gd name="T6" fmla="*/ 1162783 w 490"/>
              <a:gd name="T7" fmla="*/ 551668 h 490"/>
              <a:gd name="T8" fmla="*/ 1119981 w 490"/>
              <a:gd name="T9" fmla="*/ 425640 h 490"/>
              <a:gd name="T10" fmla="*/ 1022488 w 490"/>
              <a:gd name="T11" fmla="*/ 416129 h 490"/>
              <a:gd name="T12" fmla="*/ 1020110 w 490"/>
              <a:gd name="T13" fmla="*/ 361437 h 490"/>
              <a:gd name="T14" fmla="*/ 1081935 w 490"/>
              <a:gd name="T15" fmla="*/ 282967 h 490"/>
              <a:gd name="T16" fmla="*/ 986820 w 490"/>
              <a:gd name="T17" fmla="*/ 190230 h 490"/>
              <a:gd name="T18" fmla="*/ 896461 w 490"/>
              <a:gd name="T19" fmla="*/ 228276 h 490"/>
              <a:gd name="T20" fmla="*/ 851281 w 490"/>
              <a:gd name="T21" fmla="*/ 168829 h 490"/>
              <a:gd name="T22" fmla="*/ 863170 w 490"/>
              <a:gd name="T23" fmla="*/ 73714 h 490"/>
              <a:gd name="T24" fmla="*/ 732387 w 490"/>
              <a:gd name="T25" fmla="*/ 42802 h 490"/>
              <a:gd name="T26" fmla="*/ 677696 w 490"/>
              <a:gd name="T27" fmla="*/ 114138 h 490"/>
              <a:gd name="T28" fmla="*/ 589714 w 490"/>
              <a:gd name="T29" fmla="*/ 85604 h 490"/>
              <a:gd name="T30" fmla="*/ 551668 w 490"/>
              <a:gd name="T31" fmla="*/ 2378 h 490"/>
              <a:gd name="T32" fmla="*/ 423263 w 490"/>
              <a:gd name="T33" fmla="*/ 45180 h 490"/>
              <a:gd name="T34" fmla="*/ 416129 w 490"/>
              <a:gd name="T35" fmla="*/ 133161 h 490"/>
              <a:gd name="T36" fmla="*/ 356682 w 490"/>
              <a:gd name="T37" fmla="*/ 137917 h 490"/>
              <a:gd name="T38" fmla="*/ 282968 w 490"/>
              <a:gd name="T39" fmla="*/ 85604 h 490"/>
              <a:gd name="T40" fmla="*/ 190230 w 490"/>
              <a:gd name="T41" fmla="*/ 180719 h 490"/>
              <a:gd name="T42" fmla="*/ 223521 w 490"/>
              <a:gd name="T43" fmla="*/ 263944 h 490"/>
              <a:gd name="T44" fmla="*/ 164074 w 490"/>
              <a:gd name="T45" fmla="*/ 311502 h 490"/>
              <a:gd name="T46" fmla="*/ 73714 w 490"/>
              <a:gd name="T47" fmla="*/ 301990 h 490"/>
              <a:gd name="T48" fmla="*/ 42802 w 490"/>
              <a:gd name="T49" fmla="*/ 432774 h 490"/>
              <a:gd name="T50" fmla="*/ 114138 w 490"/>
              <a:gd name="T51" fmla="*/ 487465 h 490"/>
              <a:gd name="T52" fmla="*/ 85604 w 490"/>
              <a:gd name="T53" fmla="*/ 575446 h 490"/>
              <a:gd name="T54" fmla="*/ 2378 w 490"/>
              <a:gd name="T55" fmla="*/ 615870 h 490"/>
              <a:gd name="T56" fmla="*/ 45180 w 490"/>
              <a:gd name="T57" fmla="*/ 741898 h 490"/>
              <a:gd name="T58" fmla="*/ 137917 w 490"/>
              <a:gd name="T59" fmla="*/ 749031 h 490"/>
              <a:gd name="T60" fmla="*/ 142673 w 490"/>
              <a:gd name="T61" fmla="*/ 806100 h 490"/>
              <a:gd name="T62" fmla="*/ 85604 w 490"/>
              <a:gd name="T63" fmla="*/ 882193 h 490"/>
              <a:gd name="T64" fmla="*/ 180719 w 490"/>
              <a:gd name="T65" fmla="*/ 974930 h 490"/>
              <a:gd name="T66" fmla="*/ 271078 w 490"/>
              <a:gd name="T67" fmla="*/ 936884 h 490"/>
              <a:gd name="T68" fmla="*/ 316258 w 490"/>
              <a:gd name="T69" fmla="*/ 993953 h 490"/>
              <a:gd name="T70" fmla="*/ 301991 w 490"/>
              <a:gd name="T71" fmla="*/ 1091446 h 490"/>
              <a:gd name="T72" fmla="*/ 432774 w 490"/>
              <a:gd name="T73" fmla="*/ 1122358 h 490"/>
              <a:gd name="T74" fmla="*/ 492221 w 490"/>
              <a:gd name="T75" fmla="*/ 1041510 h 490"/>
              <a:gd name="T76" fmla="*/ 573069 w 490"/>
              <a:gd name="T77" fmla="*/ 1067667 h 490"/>
              <a:gd name="T78" fmla="*/ 615871 w 490"/>
              <a:gd name="T79" fmla="*/ 1162782 h 490"/>
              <a:gd name="T80" fmla="*/ 741898 w 490"/>
              <a:gd name="T81" fmla="*/ 1122358 h 490"/>
              <a:gd name="T82" fmla="*/ 749032 w 490"/>
              <a:gd name="T83" fmla="*/ 1017732 h 490"/>
              <a:gd name="T84" fmla="*/ 798968 w 490"/>
              <a:gd name="T85" fmla="*/ 1015354 h 490"/>
              <a:gd name="T86" fmla="*/ 882193 w 490"/>
              <a:gd name="T87" fmla="*/ 1081934 h 490"/>
              <a:gd name="T88" fmla="*/ 974931 w 490"/>
              <a:gd name="T89" fmla="*/ 986819 h 490"/>
              <a:gd name="T90" fmla="*/ 932129 w 490"/>
              <a:gd name="T91" fmla="*/ 891704 h 490"/>
              <a:gd name="T92" fmla="*/ 989198 w 490"/>
              <a:gd name="T93" fmla="*/ 848902 h 490"/>
              <a:gd name="T94" fmla="*/ 1091447 w 490"/>
              <a:gd name="T95" fmla="*/ 863170 h 490"/>
              <a:gd name="T96" fmla="*/ 837014 w 490"/>
              <a:gd name="T97" fmla="*/ 917861 h 490"/>
              <a:gd name="T98" fmla="*/ 337659 w 490"/>
              <a:gd name="T99" fmla="*/ 237788 h 490"/>
              <a:gd name="T100" fmla="*/ 837014 w 490"/>
              <a:gd name="T101" fmla="*/ 917861 h 4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90" h="490">
                <a:moveTo>
                  <a:pt x="477" y="322"/>
                </a:moveTo>
                <a:cubicBezTo>
                  <a:pt x="479" y="317"/>
                  <a:pt x="477" y="311"/>
                  <a:pt x="472" y="309"/>
                </a:cubicBezTo>
                <a:cubicBezTo>
                  <a:pt x="443" y="295"/>
                  <a:pt x="443" y="295"/>
                  <a:pt x="443" y="295"/>
                </a:cubicBezTo>
                <a:cubicBezTo>
                  <a:pt x="439" y="293"/>
                  <a:pt x="437" y="288"/>
                  <a:pt x="438" y="283"/>
                </a:cubicBezTo>
                <a:cubicBezTo>
                  <a:pt x="439" y="275"/>
                  <a:pt x="441" y="267"/>
                  <a:pt x="441" y="259"/>
                </a:cubicBezTo>
                <a:cubicBezTo>
                  <a:pt x="442" y="254"/>
                  <a:pt x="445" y="250"/>
                  <a:pt x="450" y="249"/>
                </a:cubicBezTo>
                <a:cubicBezTo>
                  <a:pt x="481" y="243"/>
                  <a:pt x="481" y="243"/>
                  <a:pt x="481" y="243"/>
                </a:cubicBezTo>
                <a:cubicBezTo>
                  <a:pt x="486" y="242"/>
                  <a:pt x="490" y="237"/>
                  <a:pt x="489" y="232"/>
                </a:cubicBezTo>
                <a:cubicBezTo>
                  <a:pt x="483" y="187"/>
                  <a:pt x="483" y="187"/>
                  <a:pt x="483" y="187"/>
                </a:cubicBezTo>
                <a:cubicBezTo>
                  <a:pt x="482" y="182"/>
                  <a:pt x="477" y="178"/>
                  <a:pt x="471" y="179"/>
                </a:cubicBezTo>
                <a:cubicBezTo>
                  <a:pt x="441" y="182"/>
                  <a:pt x="441" y="182"/>
                  <a:pt x="441" y="182"/>
                </a:cubicBezTo>
                <a:cubicBezTo>
                  <a:pt x="436" y="182"/>
                  <a:pt x="432" y="179"/>
                  <a:pt x="430" y="175"/>
                </a:cubicBezTo>
                <a:cubicBezTo>
                  <a:pt x="429" y="171"/>
                  <a:pt x="428" y="168"/>
                  <a:pt x="426" y="164"/>
                </a:cubicBezTo>
                <a:cubicBezTo>
                  <a:pt x="424" y="160"/>
                  <a:pt x="426" y="155"/>
                  <a:pt x="429" y="152"/>
                </a:cubicBezTo>
                <a:cubicBezTo>
                  <a:pt x="453" y="133"/>
                  <a:pt x="453" y="133"/>
                  <a:pt x="453" y="133"/>
                </a:cubicBezTo>
                <a:cubicBezTo>
                  <a:pt x="458" y="130"/>
                  <a:pt x="458" y="123"/>
                  <a:pt x="455" y="119"/>
                </a:cubicBezTo>
                <a:cubicBezTo>
                  <a:pt x="429" y="83"/>
                  <a:pt x="429" y="83"/>
                  <a:pt x="429" y="83"/>
                </a:cubicBezTo>
                <a:cubicBezTo>
                  <a:pt x="425" y="78"/>
                  <a:pt x="419" y="77"/>
                  <a:pt x="415" y="80"/>
                </a:cubicBezTo>
                <a:cubicBezTo>
                  <a:pt x="390" y="97"/>
                  <a:pt x="390" y="97"/>
                  <a:pt x="390" y="97"/>
                </a:cubicBezTo>
                <a:cubicBezTo>
                  <a:pt x="386" y="99"/>
                  <a:pt x="381" y="99"/>
                  <a:pt x="377" y="96"/>
                </a:cubicBezTo>
                <a:cubicBezTo>
                  <a:pt x="372" y="91"/>
                  <a:pt x="367" y="87"/>
                  <a:pt x="362" y="83"/>
                </a:cubicBezTo>
                <a:cubicBezTo>
                  <a:pt x="358" y="80"/>
                  <a:pt x="357" y="75"/>
                  <a:pt x="358" y="71"/>
                </a:cubicBezTo>
                <a:cubicBezTo>
                  <a:pt x="369" y="44"/>
                  <a:pt x="369" y="44"/>
                  <a:pt x="369" y="44"/>
                </a:cubicBezTo>
                <a:cubicBezTo>
                  <a:pt x="371" y="39"/>
                  <a:pt x="368" y="33"/>
                  <a:pt x="363" y="31"/>
                </a:cubicBezTo>
                <a:cubicBezTo>
                  <a:pt x="322" y="13"/>
                  <a:pt x="322" y="13"/>
                  <a:pt x="322" y="13"/>
                </a:cubicBezTo>
                <a:cubicBezTo>
                  <a:pt x="317" y="11"/>
                  <a:pt x="311" y="13"/>
                  <a:pt x="308" y="18"/>
                </a:cubicBezTo>
                <a:cubicBezTo>
                  <a:pt x="296" y="43"/>
                  <a:pt x="296" y="43"/>
                  <a:pt x="296" y="43"/>
                </a:cubicBezTo>
                <a:cubicBezTo>
                  <a:pt x="294" y="47"/>
                  <a:pt x="290" y="49"/>
                  <a:pt x="285" y="48"/>
                </a:cubicBezTo>
                <a:cubicBezTo>
                  <a:pt x="276" y="46"/>
                  <a:pt x="267" y="45"/>
                  <a:pt x="258" y="45"/>
                </a:cubicBezTo>
                <a:cubicBezTo>
                  <a:pt x="253" y="44"/>
                  <a:pt x="249" y="41"/>
                  <a:pt x="248" y="36"/>
                </a:cubicBezTo>
                <a:cubicBezTo>
                  <a:pt x="243" y="9"/>
                  <a:pt x="243" y="9"/>
                  <a:pt x="243" y="9"/>
                </a:cubicBezTo>
                <a:cubicBezTo>
                  <a:pt x="242" y="4"/>
                  <a:pt x="237" y="0"/>
                  <a:pt x="232" y="1"/>
                </a:cubicBezTo>
                <a:cubicBezTo>
                  <a:pt x="187" y="8"/>
                  <a:pt x="187" y="8"/>
                  <a:pt x="187" y="8"/>
                </a:cubicBezTo>
                <a:cubicBezTo>
                  <a:pt x="182" y="9"/>
                  <a:pt x="178" y="14"/>
                  <a:pt x="178" y="19"/>
                </a:cubicBezTo>
                <a:cubicBezTo>
                  <a:pt x="181" y="45"/>
                  <a:pt x="181" y="45"/>
                  <a:pt x="181" y="45"/>
                </a:cubicBezTo>
                <a:cubicBezTo>
                  <a:pt x="182" y="50"/>
                  <a:pt x="179" y="55"/>
                  <a:pt x="175" y="56"/>
                </a:cubicBezTo>
                <a:cubicBezTo>
                  <a:pt x="170" y="58"/>
                  <a:pt x="166" y="59"/>
                  <a:pt x="162" y="61"/>
                </a:cubicBezTo>
                <a:cubicBezTo>
                  <a:pt x="158" y="63"/>
                  <a:pt x="153" y="62"/>
                  <a:pt x="150" y="58"/>
                </a:cubicBezTo>
                <a:cubicBezTo>
                  <a:pt x="133" y="38"/>
                  <a:pt x="133" y="38"/>
                  <a:pt x="133" y="38"/>
                </a:cubicBezTo>
                <a:cubicBezTo>
                  <a:pt x="130" y="33"/>
                  <a:pt x="124" y="32"/>
                  <a:pt x="119" y="36"/>
                </a:cubicBezTo>
                <a:cubicBezTo>
                  <a:pt x="83" y="62"/>
                  <a:pt x="83" y="62"/>
                  <a:pt x="83" y="62"/>
                </a:cubicBezTo>
                <a:cubicBezTo>
                  <a:pt x="78" y="66"/>
                  <a:pt x="77" y="72"/>
                  <a:pt x="80" y="76"/>
                </a:cubicBezTo>
                <a:cubicBezTo>
                  <a:pt x="95" y="98"/>
                  <a:pt x="95" y="98"/>
                  <a:pt x="95" y="98"/>
                </a:cubicBezTo>
                <a:cubicBezTo>
                  <a:pt x="98" y="102"/>
                  <a:pt x="98" y="107"/>
                  <a:pt x="94" y="111"/>
                </a:cubicBezTo>
                <a:cubicBezTo>
                  <a:pt x="90" y="116"/>
                  <a:pt x="85" y="122"/>
                  <a:pt x="81" y="128"/>
                </a:cubicBezTo>
                <a:cubicBezTo>
                  <a:pt x="78" y="132"/>
                  <a:pt x="73" y="133"/>
                  <a:pt x="69" y="131"/>
                </a:cubicBezTo>
                <a:cubicBezTo>
                  <a:pt x="44" y="122"/>
                  <a:pt x="44" y="122"/>
                  <a:pt x="44" y="122"/>
                </a:cubicBezTo>
                <a:cubicBezTo>
                  <a:pt x="39" y="120"/>
                  <a:pt x="33" y="122"/>
                  <a:pt x="31" y="127"/>
                </a:cubicBezTo>
                <a:cubicBezTo>
                  <a:pt x="13" y="169"/>
                  <a:pt x="13" y="169"/>
                  <a:pt x="13" y="169"/>
                </a:cubicBezTo>
                <a:cubicBezTo>
                  <a:pt x="11" y="174"/>
                  <a:pt x="13" y="179"/>
                  <a:pt x="18" y="182"/>
                </a:cubicBezTo>
                <a:cubicBezTo>
                  <a:pt x="42" y="194"/>
                  <a:pt x="42" y="194"/>
                  <a:pt x="42" y="194"/>
                </a:cubicBezTo>
                <a:cubicBezTo>
                  <a:pt x="47" y="196"/>
                  <a:pt x="49" y="201"/>
                  <a:pt x="48" y="205"/>
                </a:cubicBezTo>
                <a:cubicBezTo>
                  <a:pt x="46" y="214"/>
                  <a:pt x="45" y="223"/>
                  <a:pt x="45" y="232"/>
                </a:cubicBezTo>
                <a:cubicBezTo>
                  <a:pt x="44" y="237"/>
                  <a:pt x="41" y="241"/>
                  <a:pt x="36" y="242"/>
                </a:cubicBezTo>
                <a:cubicBezTo>
                  <a:pt x="9" y="247"/>
                  <a:pt x="9" y="247"/>
                  <a:pt x="9" y="247"/>
                </a:cubicBezTo>
                <a:cubicBezTo>
                  <a:pt x="4" y="248"/>
                  <a:pt x="0" y="253"/>
                  <a:pt x="1" y="259"/>
                </a:cubicBezTo>
                <a:cubicBezTo>
                  <a:pt x="7" y="303"/>
                  <a:pt x="7" y="303"/>
                  <a:pt x="7" y="303"/>
                </a:cubicBezTo>
                <a:cubicBezTo>
                  <a:pt x="8" y="309"/>
                  <a:pt x="13" y="313"/>
                  <a:pt x="19" y="312"/>
                </a:cubicBezTo>
                <a:cubicBezTo>
                  <a:pt x="47" y="309"/>
                  <a:pt x="47" y="309"/>
                  <a:pt x="47" y="309"/>
                </a:cubicBezTo>
                <a:cubicBezTo>
                  <a:pt x="52" y="308"/>
                  <a:pt x="56" y="311"/>
                  <a:pt x="58" y="315"/>
                </a:cubicBezTo>
                <a:cubicBezTo>
                  <a:pt x="60" y="319"/>
                  <a:pt x="61" y="323"/>
                  <a:pt x="63" y="326"/>
                </a:cubicBezTo>
                <a:cubicBezTo>
                  <a:pt x="65" y="331"/>
                  <a:pt x="64" y="336"/>
                  <a:pt x="60" y="339"/>
                </a:cubicBezTo>
                <a:cubicBezTo>
                  <a:pt x="37" y="357"/>
                  <a:pt x="37" y="357"/>
                  <a:pt x="37" y="357"/>
                </a:cubicBezTo>
                <a:cubicBezTo>
                  <a:pt x="33" y="360"/>
                  <a:pt x="32" y="367"/>
                  <a:pt x="36" y="371"/>
                </a:cubicBezTo>
                <a:cubicBezTo>
                  <a:pt x="62" y="407"/>
                  <a:pt x="62" y="407"/>
                  <a:pt x="62" y="407"/>
                </a:cubicBezTo>
                <a:cubicBezTo>
                  <a:pt x="65" y="412"/>
                  <a:pt x="72" y="413"/>
                  <a:pt x="76" y="410"/>
                </a:cubicBezTo>
                <a:cubicBezTo>
                  <a:pt x="101" y="393"/>
                  <a:pt x="101" y="393"/>
                  <a:pt x="101" y="393"/>
                </a:cubicBezTo>
                <a:cubicBezTo>
                  <a:pt x="105" y="390"/>
                  <a:pt x="110" y="391"/>
                  <a:pt x="114" y="394"/>
                </a:cubicBezTo>
                <a:cubicBezTo>
                  <a:pt x="119" y="398"/>
                  <a:pt x="124" y="402"/>
                  <a:pt x="129" y="405"/>
                </a:cubicBezTo>
                <a:cubicBezTo>
                  <a:pt x="133" y="408"/>
                  <a:pt x="135" y="413"/>
                  <a:pt x="133" y="418"/>
                </a:cubicBezTo>
                <a:cubicBezTo>
                  <a:pt x="122" y="446"/>
                  <a:pt x="122" y="446"/>
                  <a:pt x="122" y="446"/>
                </a:cubicBezTo>
                <a:cubicBezTo>
                  <a:pt x="120" y="451"/>
                  <a:pt x="122" y="457"/>
                  <a:pt x="127" y="459"/>
                </a:cubicBezTo>
                <a:cubicBezTo>
                  <a:pt x="168" y="477"/>
                  <a:pt x="168" y="477"/>
                  <a:pt x="168" y="477"/>
                </a:cubicBezTo>
                <a:cubicBezTo>
                  <a:pt x="173" y="480"/>
                  <a:pt x="179" y="477"/>
                  <a:pt x="182" y="472"/>
                </a:cubicBezTo>
                <a:cubicBezTo>
                  <a:pt x="196" y="444"/>
                  <a:pt x="196" y="444"/>
                  <a:pt x="196" y="444"/>
                </a:cubicBezTo>
                <a:cubicBezTo>
                  <a:pt x="198" y="440"/>
                  <a:pt x="202" y="437"/>
                  <a:pt x="207" y="438"/>
                </a:cubicBezTo>
                <a:cubicBezTo>
                  <a:pt x="215" y="440"/>
                  <a:pt x="223" y="441"/>
                  <a:pt x="231" y="441"/>
                </a:cubicBezTo>
                <a:cubicBezTo>
                  <a:pt x="236" y="441"/>
                  <a:pt x="240" y="445"/>
                  <a:pt x="241" y="449"/>
                </a:cubicBezTo>
                <a:cubicBezTo>
                  <a:pt x="247" y="481"/>
                  <a:pt x="247" y="481"/>
                  <a:pt x="247" y="481"/>
                </a:cubicBezTo>
                <a:cubicBezTo>
                  <a:pt x="248" y="487"/>
                  <a:pt x="253" y="490"/>
                  <a:pt x="259" y="489"/>
                </a:cubicBezTo>
                <a:cubicBezTo>
                  <a:pt x="303" y="483"/>
                  <a:pt x="303" y="483"/>
                  <a:pt x="303" y="483"/>
                </a:cubicBezTo>
                <a:cubicBezTo>
                  <a:pt x="308" y="482"/>
                  <a:pt x="312" y="477"/>
                  <a:pt x="312" y="472"/>
                </a:cubicBezTo>
                <a:cubicBezTo>
                  <a:pt x="308" y="439"/>
                  <a:pt x="308" y="439"/>
                  <a:pt x="308" y="439"/>
                </a:cubicBezTo>
                <a:cubicBezTo>
                  <a:pt x="308" y="434"/>
                  <a:pt x="311" y="430"/>
                  <a:pt x="315" y="428"/>
                </a:cubicBezTo>
                <a:cubicBezTo>
                  <a:pt x="318" y="427"/>
                  <a:pt x="321" y="426"/>
                  <a:pt x="324" y="424"/>
                </a:cubicBezTo>
                <a:cubicBezTo>
                  <a:pt x="329" y="423"/>
                  <a:pt x="334" y="424"/>
                  <a:pt x="336" y="427"/>
                </a:cubicBezTo>
                <a:cubicBezTo>
                  <a:pt x="357" y="453"/>
                  <a:pt x="357" y="453"/>
                  <a:pt x="357" y="453"/>
                </a:cubicBezTo>
                <a:cubicBezTo>
                  <a:pt x="361" y="458"/>
                  <a:pt x="367" y="459"/>
                  <a:pt x="371" y="455"/>
                </a:cubicBezTo>
                <a:cubicBezTo>
                  <a:pt x="408" y="429"/>
                  <a:pt x="408" y="429"/>
                  <a:pt x="408" y="429"/>
                </a:cubicBezTo>
                <a:cubicBezTo>
                  <a:pt x="412" y="426"/>
                  <a:pt x="413" y="419"/>
                  <a:pt x="410" y="415"/>
                </a:cubicBezTo>
                <a:cubicBezTo>
                  <a:pt x="391" y="387"/>
                  <a:pt x="391" y="387"/>
                  <a:pt x="391" y="387"/>
                </a:cubicBezTo>
                <a:cubicBezTo>
                  <a:pt x="389" y="383"/>
                  <a:pt x="389" y="378"/>
                  <a:pt x="392" y="375"/>
                </a:cubicBezTo>
                <a:cubicBezTo>
                  <a:pt x="396" y="370"/>
                  <a:pt x="400" y="365"/>
                  <a:pt x="404" y="361"/>
                </a:cubicBezTo>
                <a:cubicBezTo>
                  <a:pt x="406" y="357"/>
                  <a:pt x="411" y="355"/>
                  <a:pt x="416" y="357"/>
                </a:cubicBezTo>
                <a:cubicBezTo>
                  <a:pt x="446" y="369"/>
                  <a:pt x="446" y="369"/>
                  <a:pt x="446" y="369"/>
                </a:cubicBezTo>
                <a:cubicBezTo>
                  <a:pt x="451" y="371"/>
                  <a:pt x="457" y="368"/>
                  <a:pt x="459" y="363"/>
                </a:cubicBezTo>
                <a:lnTo>
                  <a:pt x="477" y="322"/>
                </a:lnTo>
                <a:close/>
                <a:moveTo>
                  <a:pt x="352" y="386"/>
                </a:moveTo>
                <a:cubicBezTo>
                  <a:pt x="273" y="444"/>
                  <a:pt x="162" y="427"/>
                  <a:pt x="104" y="348"/>
                </a:cubicBezTo>
                <a:cubicBezTo>
                  <a:pt x="46" y="269"/>
                  <a:pt x="63" y="158"/>
                  <a:pt x="142" y="100"/>
                </a:cubicBezTo>
                <a:cubicBezTo>
                  <a:pt x="221" y="42"/>
                  <a:pt x="332" y="59"/>
                  <a:pt x="390" y="138"/>
                </a:cubicBezTo>
                <a:cubicBezTo>
                  <a:pt x="447" y="217"/>
                  <a:pt x="430" y="328"/>
                  <a:pt x="352" y="386"/>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1184" name="Freeform 129"/>
          <p:cNvSpPr>
            <a:spLocks noEditPoints="1"/>
          </p:cNvSpPr>
          <p:nvPr/>
        </p:nvSpPr>
        <p:spPr bwMode="auto">
          <a:xfrm>
            <a:off x="4395788" y="5362575"/>
            <a:ext cx="954087" cy="955675"/>
          </a:xfrm>
          <a:custGeom>
            <a:avLst/>
            <a:gdLst>
              <a:gd name="T0" fmla="*/ 818276 w 401"/>
              <a:gd name="T1" fmla="*/ 228268 h 402"/>
              <a:gd name="T2" fmla="*/ 228356 w 401"/>
              <a:gd name="T3" fmla="*/ 137912 h 402"/>
              <a:gd name="T4" fmla="*/ 137965 w 401"/>
              <a:gd name="T5" fmla="*/ 727606 h 402"/>
              <a:gd name="T6" fmla="*/ 727885 w 401"/>
              <a:gd name="T7" fmla="*/ 817962 h 402"/>
              <a:gd name="T8" fmla="*/ 818276 w 401"/>
              <a:gd name="T9" fmla="*/ 228268 h 402"/>
              <a:gd name="T10" fmla="*/ 706476 w 401"/>
              <a:gd name="T11" fmla="*/ 789428 h 402"/>
              <a:gd name="T12" fmla="*/ 164131 w 401"/>
              <a:gd name="T13" fmla="*/ 706205 h 402"/>
              <a:gd name="T14" fmla="*/ 247386 w 401"/>
              <a:gd name="T15" fmla="*/ 164068 h 402"/>
              <a:gd name="T16" fmla="*/ 789731 w 401"/>
              <a:gd name="T17" fmla="*/ 247291 h 402"/>
              <a:gd name="T18" fmla="*/ 706476 w 401"/>
              <a:gd name="T19" fmla="*/ 789428 h 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1" h="402">
                <a:moveTo>
                  <a:pt x="344" y="96"/>
                </a:moveTo>
                <a:cubicBezTo>
                  <a:pt x="286" y="17"/>
                  <a:pt x="175" y="0"/>
                  <a:pt x="96" y="58"/>
                </a:cubicBezTo>
                <a:cubicBezTo>
                  <a:pt x="17" y="116"/>
                  <a:pt x="0" y="227"/>
                  <a:pt x="58" y="306"/>
                </a:cubicBezTo>
                <a:cubicBezTo>
                  <a:pt x="116" y="385"/>
                  <a:pt x="227" y="402"/>
                  <a:pt x="306" y="344"/>
                </a:cubicBezTo>
                <a:cubicBezTo>
                  <a:pt x="384" y="286"/>
                  <a:pt x="401" y="175"/>
                  <a:pt x="344" y="96"/>
                </a:cubicBezTo>
                <a:close/>
                <a:moveTo>
                  <a:pt x="297" y="332"/>
                </a:moveTo>
                <a:cubicBezTo>
                  <a:pt x="224" y="386"/>
                  <a:pt x="122" y="370"/>
                  <a:pt x="69" y="297"/>
                </a:cubicBezTo>
                <a:cubicBezTo>
                  <a:pt x="16" y="225"/>
                  <a:pt x="32" y="123"/>
                  <a:pt x="104" y="69"/>
                </a:cubicBezTo>
                <a:cubicBezTo>
                  <a:pt x="177" y="16"/>
                  <a:pt x="279" y="32"/>
                  <a:pt x="332" y="104"/>
                </a:cubicBezTo>
                <a:cubicBezTo>
                  <a:pt x="385" y="177"/>
                  <a:pt x="370" y="279"/>
                  <a:pt x="297" y="332"/>
                </a:cubicBezTo>
                <a:close/>
              </a:path>
            </a:pathLst>
          </a:custGeom>
          <a:solidFill>
            <a:srgbClr val="F3534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53" name="Freeform 130"/>
          <p:cNvSpPr>
            <a:spLocks noEditPoints="1"/>
          </p:cNvSpPr>
          <p:nvPr/>
        </p:nvSpPr>
        <p:spPr bwMode="auto">
          <a:xfrm>
            <a:off x="5322888" y="4629150"/>
            <a:ext cx="1219200" cy="1217613"/>
          </a:xfrm>
          <a:custGeom>
            <a:avLst/>
            <a:gdLst>
              <a:gd name="T0" fmla="*/ 136 w 513"/>
              <a:gd name="T1" fmla="*/ 29 h 512"/>
              <a:gd name="T2" fmla="*/ 119 w 513"/>
              <a:gd name="T3" fmla="*/ 66 h 512"/>
              <a:gd name="T4" fmla="*/ 102 w 513"/>
              <a:gd name="T5" fmla="*/ 80 h 512"/>
              <a:gd name="T6" fmla="*/ 62 w 513"/>
              <a:gd name="T7" fmla="*/ 88 h 512"/>
              <a:gd name="T8" fmla="*/ 60 w 513"/>
              <a:gd name="T9" fmla="*/ 129 h 512"/>
              <a:gd name="T10" fmla="*/ 49 w 513"/>
              <a:gd name="T11" fmla="*/ 148 h 512"/>
              <a:gd name="T12" fmla="*/ 15 w 513"/>
              <a:gd name="T13" fmla="*/ 170 h 512"/>
              <a:gd name="T14" fmla="*/ 27 w 513"/>
              <a:gd name="T15" fmla="*/ 208 h 512"/>
              <a:gd name="T16" fmla="*/ 24 w 513"/>
              <a:gd name="T17" fmla="*/ 230 h 512"/>
              <a:gd name="T18" fmla="*/ 0 w 513"/>
              <a:gd name="T19" fmla="*/ 263 h 512"/>
              <a:gd name="T20" fmla="*/ 26 w 513"/>
              <a:gd name="T21" fmla="*/ 294 h 512"/>
              <a:gd name="T22" fmla="*/ 30 w 513"/>
              <a:gd name="T23" fmla="*/ 316 h 512"/>
              <a:gd name="T24" fmla="*/ 20 w 513"/>
              <a:gd name="T25" fmla="*/ 355 h 512"/>
              <a:gd name="T26" fmla="*/ 55 w 513"/>
              <a:gd name="T27" fmla="*/ 375 h 512"/>
              <a:gd name="T28" fmla="*/ 67 w 513"/>
              <a:gd name="T29" fmla="*/ 393 h 512"/>
              <a:gd name="T30" fmla="*/ 72 w 513"/>
              <a:gd name="T31" fmla="*/ 434 h 512"/>
              <a:gd name="T32" fmla="*/ 112 w 513"/>
              <a:gd name="T33" fmla="*/ 440 h 512"/>
              <a:gd name="T34" fmla="*/ 130 w 513"/>
              <a:gd name="T35" fmla="*/ 452 h 512"/>
              <a:gd name="T36" fmla="*/ 148 w 513"/>
              <a:gd name="T37" fmla="*/ 488 h 512"/>
              <a:gd name="T38" fmla="*/ 188 w 513"/>
              <a:gd name="T39" fmla="*/ 479 h 512"/>
              <a:gd name="T40" fmla="*/ 209 w 513"/>
              <a:gd name="T41" fmla="*/ 485 h 512"/>
              <a:gd name="T42" fmla="*/ 240 w 513"/>
              <a:gd name="T43" fmla="*/ 512 h 512"/>
              <a:gd name="T44" fmla="*/ 273 w 513"/>
              <a:gd name="T45" fmla="*/ 489 h 512"/>
              <a:gd name="T46" fmla="*/ 295 w 513"/>
              <a:gd name="T47" fmla="*/ 486 h 512"/>
              <a:gd name="T48" fmla="*/ 333 w 513"/>
              <a:gd name="T49" fmla="*/ 500 h 512"/>
              <a:gd name="T50" fmla="*/ 357 w 513"/>
              <a:gd name="T51" fmla="*/ 467 h 512"/>
              <a:gd name="T52" fmla="*/ 376 w 513"/>
              <a:gd name="T53" fmla="*/ 457 h 512"/>
              <a:gd name="T54" fmla="*/ 417 w 513"/>
              <a:gd name="T55" fmla="*/ 456 h 512"/>
              <a:gd name="T56" fmla="*/ 426 w 513"/>
              <a:gd name="T57" fmla="*/ 417 h 512"/>
              <a:gd name="T58" fmla="*/ 441 w 513"/>
              <a:gd name="T59" fmla="*/ 400 h 512"/>
              <a:gd name="T60" fmla="*/ 478 w 513"/>
              <a:gd name="T61" fmla="*/ 385 h 512"/>
              <a:gd name="T62" fmla="*/ 473 w 513"/>
              <a:gd name="T63" fmla="*/ 344 h 512"/>
              <a:gd name="T64" fmla="*/ 480 w 513"/>
              <a:gd name="T65" fmla="*/ 324 h 512"/>
              <a:gd name="T66" fmla="*/ 510 w 513"/>
              <a:gd name="T67" fmla="*/ 296 h 512"/>
              <a:gd name="T68" fmla="*/ 490 w 513"/>
              <a:gd name="T69" fmla="*/ 260 h 512"/>
              <a:gd name="T70" fmla="*/ 490 w 513"/>
              <a:gd name="T71" fmla="*/ 238 h 512"/>
              <a:gd name="T72" fmla="*/ 507 w 513"/>
              <a:gd name="T73" fmla="*/ 202 h 512"/>
              <a:gd name="T74" fmla="*/ 476 w 513"/>
              <a:gd name="T75" fmla="*/ 175 h 512"/>
              <a:gd name="T76" fmla="*/ 468 w 513"/>
              <a:gd name="T77" fmla="*/ 155 h 512"/>
              <a:gd name="T78" fmla="*/ 471 w 513"/>
              <a:gd name="T79" fmla="*/ 115 h 512"/>
              <a:gd name="T80" fmla="*/ 432 w 513"/>
              <a:gd name="T81" fmla="*/ 101 h 512"/>
              <a:gd name="T82" fmla="*/ 417 w 513"/>
              <a:gd name="T83" fmla="*/ 86 h 512"/>
              <a:gd name="T84" fmla="*/ 405 w 513"/>
              <a:gd name="T85" fmla="*/ 47 h 512"/>
              <a:gd name="T86" fmla="*/ 365 w 513"/>
              <a:gd name="T87" fmla="*/ 48 h 512"/>
              <a:gd name="T88" fmla="*/ 345 w 513"/>
              <a:gd name="T89" fmla="*/ 39 h 512"/>
              <a:gd name="T90" fmla="*/ 320 w 513"/>
              <a:gd name="T91" fmla="*/ 7 h 512"/>
              <a:gd name="T92" fmla="*/ 282 w 513"/>
              <a:gd name="T93" fmla="*/ 23 h 512"/>
              <a:gd name="T94" fmla="*/ 260 w 513"/>
              <a:gd name="T95" fmla="*/ 22 h 512"/>
              <a:gd name="T96" fmla="*/ 226 w 513"/>
              <a:gd name="T97" fmla="*/ 1 h 512"/>
              <a:gd name="T98" fmla="*/ 197 w 513"/>
              <a:gd name="T99" fmla="*/ 30 h 512"/>
              <a:gd name="T100" fmla="*/ 176 w 513"/>
              <a:gd name="T101" fmla="*/ 36 h 512"/>
              <a:gd name="T102" fmla="*/ 407 w 513"/>
              <a:gd name="T103" fmla="*/ 207 h 512"/>
              <a:gd name="T104" fmla="*/ 106 w 513"/>
              <a:gd name="T105" fmla="*/ 304 h 512"/>
              <a:gd name="T106" fmla="*/ 407 w 513"/>
              <a:gd name="T107" fmla="*/ 2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3" h="512">
                <a:moveTo>
                  <a:pt x="156" y="44"/>
                </a:moveTo>
                <a:cubicBezTo>
                  <a:pt x="136" y="29"/>
                  <a:pt x="136" y="29"/>
                  <a:pt x="136" y="29"/>
                </a:cubicBezTo>
                <a:cubicBezTo>
                  <a:pt x="137" y="55"/>
                  <a:pt x="137" y="55"/>
                  <a:pt x="137" y="55"/>
                </a:cubicBezTo>
                <a:cubicBezTo>
                  <a:pt x="137" y="64"/>
                  <a:pt x="127" y="70"/>
                  <a:pt x="119" y="66"/>
                </a:cubicBezTo>
                <a:cubicBezTo>
                  <a:pt x="96" y="55"/>
                  <a:pt x="96" y="55"/>
                  <a:pt x="96" y="55"/>
                </a:cubicBezTo>
                <a:cubicBezTo>
                  <a:pt x="102" y="80"/>
                  <a:pt x="102" y="80"/>
                  <a:pt x="102" y="80"/>
                </a:cubicBezTo>
                <a:cubicBezTo>
                  <a:pt x="104" y="89"/>
                  <a:pt x="96" y="97"/>
                  <a:pt x="87" y="95"/>
                </a:cubicBezTo>
                <a:cubicBezTo>
                  <a:pt x="62" y="88"/>
                  <a:pt x="62" y="88"/>
                  <a:pt x="62" y="88"/>
                </a:cubicBezTo>
                <a:cubicBezTo>
                  <a:pt x="72" y="111"/>
                  <a:pt x="72" y="111"/>
                  <a:pt x="72" y="111"/>
                </a:cubicBezTo>
                <a:cubicBezTo>
                  <a:pt x="76" y="120"/>
                  <a:pt x="69" y="129"/>
                  <a:pt x="60" y="129"/>
                </a:cubicBezTo>
                <a:cubicBezTo>
                  <a:pt x="35" y="127"/>
                  <a:pt x="35" y="127"/>
                  <a:pt x="35" y="127"/>
                </a:cubicBezTo>
                <a:cubicBezTo>
                  <a:pt x="49" y="148"/>
                  <a:pt x="49" y="148"/>
                  <a:pt x="49" y="148"/>
                </a:cubicBezTo>
                <a:cubicBezTo>
                  <a:pt x="54" y="156"/>
                  <a:pt x="49" y="166"/>
                  <a:pt x="40" y="167"/>
                </a:cubicBezTo>
                <a:cubicBezTo>
                  <a:pt x="15" y="170"/>
                  <a:pt x="15" y="170"/>
                  <a:pt x="15" y="170"/>
                </a:cubicBezTo>
                <a:cubicBezTo>
                  <a:pt x="32" y="188"/>
                  <a:pt x="32" y="188"/>
                  <a:pt x="32" y="188"/>
                </a:cubicBezTo>
                <a:cubicBezTo>
                  <a:pt x="39" y="194"/>
                  <a:pt x="36" y="206"/>
                  <a:pt x="27" y="208"/>
                </a:cubicBezTo>
                <a:cubicBezTo>
                  <a:pt x="3" y="216"/>
                  <a:pt x="3" y="216"/>
                  <a:pt x="3" y="216"/>
                </a:cubicBezTo>
                <a:cubicBezTo>
                  <a:pt x="24" y="230"/>
                  <a:pt x="24" y="230"/>
                  <a:pt x="24" y="230"/>
                </a:cubicBezTo>
                <a:cubicBezTo>
                  <a:pt x="32" y="235"/>
                  <a:pt x="31" y="247"/>
                  <a:pt x="22" y="251"/>
                </a:cubicBezTo>
                <a:cubicBezTo>
                  <a:pt x="0" y="263"/>
                  <a:pt x="0" y="263"/>
                  <a:pt x="0" y="263"/>
                </a:cubicBezTo>
                <a:cubicBezTo>
                  <a:pt x="23" y="273"/>
                  <a:pt x="23" y="273"/>
                  <a:pt x="23" y="273"/>
                </a:cubicBezTo>
                <a:cubicBezTo>
                  <a:pt x="32" y="277"/>
                  <a:pt x="33" y="289"/>
                  <a:pt x="26" y="294"/>
                </a:cubicBezTo>
                <a:cubicBezTo>
                  <a:pt x="6" y="310"/>
                  <a:pt x="6" y="310"/>
                  <a:pt x="6" y="310"/>
                </a:cubicBezTo>
                <a:cubicBezTo>
                  <a:pt x="30" y="316"/>
                  <a:pt x="30" y="316"/>
                  <a:pt x="30" y="316"/>
                </a:cubicBezTo>
                <a:cubicBezTo>
                  <a:pt x="39" y="318"/>
                  <a:pt x="43" y="329"/>
                  <a:pt x="37" y="336"/>
                </a:cubicBezTo>
                <a:cubicBezTo>
                  <a:pt x="20" y="355"/>
                  <a:pt x="20" y="355"/>
                  <a:pt x="20" y="355"/>
                </a:cubicBezTo>
                <a:cubicBezTo>
                  <a:pt x="45" y="356"/>
                  <a:pt x="45" y="356"/>
                  <a:pt x="45" y="356"/>
                </a:cubicBezTo>
                <a:cubicBezTo>
                  <a:pt x="54" y="357"/>
                  <a:pt x="60" y="367"/>
                  <a:pt x="55" y="375"/>
                </a:cubicBezTo>
                <a:cubicBezTo>
                  <a:pt x="42" y="397"/>
                  <a:pt x="42" y="397"/>
                  <a:pt x="42" y="397"/>
                </a:cubicBezTo>
                <a:cubicBezTo>
                  <a:pt x="67" y="393"/>
                  <a:pt x="67" y="393"/>
                  <a:pt x="67" y="393"/>
                </a:cubicBezTo>
                <a:cubicBezTo>
                  <a:pt x="76" y="392"/>
                  <a:pt x="84" y="401"/>
                  <a:pt x="80" y="410"/>
                </a:cubicBezTo>
                <a:cubicBezTo>
                  <a:pt x="72" y="434"/>
                  <a:pt x="72" y="434"/>
                  <a:pt x="72" y="434"/>
                </a:cubicBezTo>
                <a:cubicBezTo>
                  <a:pt x="96" y="426"/>
                  <a:pt x="96" y="426"/>
                  <a:pt x="96" y="426"/>
                </a:cubicBezTo>
                <a:cubicBezTo>
                  <a:pt x="105" y="423"/>
                  <a:pt x="113" y="430"/>
                  <a:pt x="112" y="440"/>
                </a:cubicBezTo>
                <a:cubicBezTo>
                  <a:pt x="108" y="465"/>
                  <a:pt x="108" y="465"/>
                  <a:pt x="108" y="465"/>
                </a:cubicBezTo>
                <a:cubicBezTo>
                  <a:pt x="130" y="452"/>
                  <a:pt x="130" y="452"/>
                  <a:pt x="130" y="452"/>
                </a:cubicBezTo>
                <a:cubicBezTo>
                  <a:pt x="138" y="448"/>
                  <a:pt x="148" y="454"/>
                  <a:pt x="148" y="463"/>
                </a:cubicBezTo>
                <a:cubicBezTo>
                  <a:pt x="148" y="488"/>
                  <a:pt x="148" y="488"/>
                  <a:pt x="148" y="488"/>
                </a:cubicBezTo>
                <a:cubicBezTo>
                  <a:pt x="168" y="472"/>
                  <a:pt x="168" y="472"/>
                  <a:pt x="168" y="472"/>
                </a:cubicBezTo>
                <a:cubicBezTo>
                  <a:pt x="175" y="466"/>
                  <a:pt x="186" y="470"/>
                  <a:pt x="188" y="479"/>
                </a:cubicBezTo>
                <a:cubicBezTo>
                  <a:pt x="193" y="504"/>
                  <a:pt x="193" y="504"/>
                  <a:pt x="193" y="504"/>
                </a:cubicBezTo>
                <a:cubicBezTo>
                  <a:pt x="209" y="485"/>
                  <a:pt x="209" y="485"/>
                  <a:pt x="209" y="485"/>
                </a:cubicBezTo>
                <a:cubicBezTo>
                  <a:pt x="215" y="478"/>
                  <a:pt x="227" y="479"/>
                  <a:pt x="230" y="488"/>
                </a:cubicBezTo>
                <a:cubicBezTo>
                  <a:pt x="240" y="512"/>
                  <a:pt x="240" y="512"/>
                  <a:pt x="240" y="512"/>
                </a:cubicBezTo>
                <a:cubicBezTo>
                  <a:pt x="252" y="490"/>
                  <a:pt x="252" y="490"/>
                  <a:pt x="252" y="490"/>
                </a:cubicBezTo>
                <a:cubicBezTo>
                  <a:pt x="257" y="481"/>
                  <a:pt x="268" y="481"/>
                  <a:pt x="273" y="489"/>
                </a:cubicBezTo>
                <a:cubicBezTo>
                  <a:pt x="287" y="510"/>
                  <a:pt x="287" y="510"/>
                  <a:pt x="287" y="510"/>
                </a:cubicBezTo>
                <a:cubicBezTo>
                  <a:pt x="295" y="486"/>
                  <a:pt x="295" y="486"/>
                  <a:pt x="295" y="486"/>
                </a:cubicBezTo>
                <a:cubicBezTo>
                  <a:pt x="298" y="477"/>
                  <a:pt x="310" y="475"/>
                  <a:pt x="316" y="482"/>
                </a:cubicBezTo>
                <a:cubicBezTo>
                  <a:pt x="333" y="500"/>
                  <a:pt x="333" y="500"/>
                  <a:pt x="333" y="500"/>
                </a:cubicBezTo>
                <a:cubicBezTo>
                  <a:pt x="337" y="475"/>
                  <a:pt x="337" y="475"/>
                  <a:pt x="337" y="475"/>
                </a:cubicBezTo>
                <a:cubicBezTo>
                  <a:pt x="338" y="466"/>
                  <a:pt x="349" y="462"/>
                  <a:pt x="357" y="467"/>
                </a:cubicBezTo>
                <a:cubicBezTo>
                  <a:pt x="377" y="482"/>
                  <a:pt x="377" y="482"/>
                  <a:pt x="377" y="482"/>
                </a:cubicBezTo>
                <a:cubicBezTo>
                  <a:pt x="376" y="457"/>
                  <a:pt x="376" y="457"/>
                  <a:pt x="376" y="457"/>
                </a:cubicBezTo>
                <a:cubicBezTo>
                  <a:pt x="376" y="447"/>
                  <a:pt x="385" y="441"/>
                  <a:pt x="394" y="445"/>
                </a:cubicBezTo>
                <a:cubicBezTo>
                  <a:pt x="417" y="456"/>
                  <a:pt x="417" y="456"/>
                  <a:pt x="417" y="456"/>
                </a:cubicBezTo>
                <a:cubicBezTo>
                  <a:pt x="411" y="431"/>
                  <a:pt x="411" y="431"/>
                  <a:pt x="411" y="431"/>
                </a:cubicBezTo>
                <a:cubicBezTo>
                  <a:pt x="409" y="422"/>
                  <a:pt x="417" y="414"/>
                  <a:pt x="426" y="417"/>
                </a:cubicBezTo>
                <a:cubicBezTo>
                  <a:pt x="451" y="423"/>
                  <a:pt x="451" y="423"/>
                  <a:pt x="451" y="423"/>
                </a:cubicBezTo>
                <a:cubicBezTo>
                  <a:pt x="441" y="400"/>
                  <a:pt x="441" y="400"/>
                  <a:pt x="441" y="400"/>
                </a:cubicBezTo>
                <a:cubicBezTo>
                  <a:pt x="437" y="391"/>
                  <a:pt x="444" y="382"/>
                  <a:pt x="453" y="383"/>
                </a:cubicBezTo>
                <a:cubicBezTo>
                  <a:pt x="478" y="385"/>
                  <a:pt x="478" y="385"/>
                  <a:pt x="478" y="385"/>
                </a:cubicBezTo>
                <a:cubicBezTo>
                  <a:pt x="464" y="364"/>
                  <a:pt x="464" y="364"/>
                  <a:pt x="464" y="364"/>
                </a:cubicBezTo>
                <a:cubicBezTo>
                  <a:pt x="459" y="356"/>
                  <a:pt x="464" y="345"/>
                  <a:pt x="473" y="344"/>
                </a:cubicBezTo>
                <a:cubicBezTo>
                  <a:pt x="498" y="342"/>
                  <a:pt x="498" y="342"/>
                  <a:pt x="498" y="342"/>
                </a:cubicBezTo>
                <a:cubicBezTo>
                  <a:pt x="480" y="324"/>
                  <a:pt x="480" y="324"/>
                  <a:pt x="480" y="324"/>
                </a:cubicBezTo>
                <a:cubicBezTo>
                  <a:pt x="474" y="317"/>
                  <a:pt x="476" y="306"/>
                  <a:pt x="485" y="303"/>
                </a:cubicBezTo>
                <a:cubicBezTo>
                  <a:pt x="510" y="296"/>
                  <a:pt x="510" y="296"/>
                  <a:pt x="510" y="296"/>
                </a:cubicBezTo>
                <a:cubicBezTo>
                  <a:pt x="489" y="281"/>
                  <a:pt x="489" y="281"/>
                  <a:pt x="489" y="281"/>
                </a:cubicBezTo>
                <a:cubicBezTo>
                  <a:pt x="481" y="276"/>
                  <a:pt x="482" y="264"/>
                  <a:pt x="490" y="260"/>
                </a:cubicBezTo>
                <a:cubicBezTo>
                  <a:pt x="513" y="249"/>
                  <a:pt x="513" y="249"/>
                  <a:pt x="513" y="249"/>
                </a:cubicBezTo>
                <a:cubicBezTo>
                  <a:pt x="490" y="238"/>
                  <a:pt x="490" y="238"/>
                  <a:pt x="490" y="238"/>
                </a:cubicBezTo>
                <a:cubicBezTo>
                  <a:pt x="481" y="234"/>
                  <a:pt x="480" y="223"/>
                  <a:pt x="487" y="217"/>
                </a:cubicBezTo>
                <a:cubicBezTo>
                  <a:pt x="507" y="202"/>
                  <a:pt x="507" y="202"/>
                  <a:pt x="507" y="202"/>
                </a:cubicBezTo>
                <a:cubicBezTo>
                  <a:pt x="482" y="196"/>
                  <a:pt x="482" y="196"/>
                  <a:pt x="482" y="196"/>
                </a:cubicBezTo>
                <a:cubicBezTo>
                  <a:pt x="473" y="193"/>
                  <a:pt x="470" y="182"/>
                  <a:pt x="476" y="175"/>
                </a:cubicBezTo>
                <a:cubicBezTo>
                  <a:pt x="493" y="156"/>
                  <a:pt x="493" y="156"/>
                  <a:pt x="493" y="156"/>
                </a:cubicBezTo>
                <a:cubicBezTo>
                  <a:pt x="468" y="155"/>
                  <a:pt x="468" y="155"/>
                  <a:pt x="468" y="155"/>
                </a:cubicBezTo>
                <a:cubicBezTo>
                  <a:pt x="458" y="155"/>
                  <a:pt x="453" y="144"/>
                  <a:pt x="458" y="136"/>
                </a:cubicBezTo>
                <a:cubicBezTo>
                  <a:pt x="471" y="115"/>
                  <a:pt x="471" y="115"/>
                  <a:pt x="471" y="115"/>
                </a:cubicBezTo>
                <a:cubicBezTo>
                  <a:pt x="445" y="118"/>
                  <a:pt x="445" y="118"/>
                  <a:pt x="445" y="118"/>
                </a:cubicBezTo>
                <a:cubicBezTo>
                  <a:pt x="436" y="119"/>
                  <a:pt x="429" y="110"/>
                  <a:pt x="432" y="101"/>
                </a:cubicBezTo>
                <a:cubicBezTo>
                  <a:pt x="441" y="78"/>
                  <a:pt x="441" y="78"/>
                  <a:pt x="441" y="78"/>
                </a:cubicBezTo>
                <a:cubicBezTo>
                  <a:pt x="417" y="86"/>
                  <a:pt x="417" y="86"/>
                  <a:pt x="417" y="86"/>
                </a:cubicBezTo>
                <a:cubicBezTo>
                  <a:pt x="408" y="89"/>
                  <a:pt x="399" y="81"/>
                  <a:pt x="401" y="72"/>
                </a:cubicBezTo>
                <a:cubicBezTo>
                  <a:pt x="405" y="47"/>
                  <a:pt x="405" y="47"/>
                  <a:pt x="405" y="47"/>
                </a:cubicBezTo>
                <a:cubicBezTo>
                  <a:pt x="383" y="59"/>
                  <a:pt x="383" y="59"/>
                  <a:pt x="383" y="59"/>
                </a:cubicBezTo>
                <a:cubicBezTo>
                  <a:pt x="375" y="63"/>
                  <a:pt x="365" y="58"/>
                  <a:pt x="365" y="48"/>
                </a:cubicBezTo>
                <a:cubicBezTo>
                  <a:pt x="364" y="23"/>
                  <a:pt x="364" y="23"/>
                  <a:pt x="364" y="23"/>
                </a:cubicBezTo>
                <a:cubicBezTo>
                  <a:pt x="345" y="39"/>
                  <a:pt x="345" y="39"/>
                  <a:pt x="345" y="39"/>
                </a:cubicBezTo>
                <a:cubicBezTo>
                  <a:pt x="337" y="45"/>
                  <a:pt x="326" y="41"/>
                  <a:pt x="325" y="32"/>
                </a:cubicBezTo>
                <a:cubicBezTo>
                  <a:pt x="320" y="7"/>
                  <a:pt x="320" y="7"/>
                  <a:pt x="320" y="7"/>
                </a:cubicBezTo>
                <a:cubicBezTo>
                  <a:pt x="303" y="27"/>
                  <a:pt x="303" y="27"/>
                  <a:pt x="303" y="27"/>
                </a:cubicBezTo>
                <a:cubicBezTo>
                  <a:pt x="297" y="34"/>
                  <a:pt x="286" y="32"/>
                  <a:pt x="282" y="23"/>
                </a:cubicBezTo>
                <a:cubicBezTo>
                  <a:pt x="273" y="0"/>
                  <a:pt x="273" y="0"/>
                  <a:pt x="273" y="0"/>
                </a:cubicBezTo>
                <a:cubicBezTo>
                  <a:pt x="260" y="22"/>
                  <a:pt x="260" y="22"/>
                  <a:pt x="260" y="22"/>
                </a:cubicBezTo>
                <a:cubicBezTo>
                  <a:pt x="256" y="30"/>
                  <a:pt x="244" y="30"/>
                  <a:pt x="239" y="22"/>
                </a:cubicBezTo>
                <a:cubicBezTo>
                  <a:pt x="226" y="1"/>
                  <a:pt x="226" y="1"/>
                  <a:pt x="226" y="1"/>
                </a:cubicBezTo>
                <a:cubicBezTo>
                  <a:pt x="217" y="25"/>
                  <a:pt x="217" y="25"/>
                  <a:pt x="217" y="25"/>
                </a:cubicBezTo>
                <a:cubicBezTo>
                  <a:pt x="214" y="34"/>
                  <a:pt x="203" y="36"/>
                  <a:pt x="197" y="30"/>
                </a:cubicBezTo>
                <a:cubicBezTo>
                  <a:pt x="179" y="11"/>
                  <a:pt x="179" y="11"/>
                  <a:pt x="179" y="11"/>
                </a:cubicBezTo>
                <a:cubicBezTo>
                  <a:pt x="176" y="36"/>
                  <a:pt x="176" y="36"/>
                  <a:pt x="176" y="36"/>
                </a:cubicBezTo>
                <a:cubicBezTo>
                  <a:pt x="174" y="45"/>
                  <a:pt x="164" y="50"/>
                  <a:pt x="156" y="44"/>
                </a:cubicBezTo>
                <a:close/>
                <a:moveTo>
                  <a:pt x="407" y="207"/>
                </a:moveTo>
                <a:cubicBezTo>
                  <a:pt x="434" y="290"/>
                  <a:pt x="388" y="379"/>
                  <a:pt x="305" y="406"/>
                </a:cubicBezTo>
                <a:cubicBezTo>
                  <a:pt x="222" y="433"/>
                  <a:pt x="133" y="387"/>
                  <a:pt x="106" y="304"/>
                </a:cubicBezTo>
                <a:cubicBezTo>
                  <a:pt x="79" y="221"/>
                  <a:pt x="125" y="132"/>
                  <a:pt x="208" y="105"/>
                </a:cubicBezTo>
                <a:cubicBezTo>
                  <a:pt x="291" y="78"/>
                  <a:pt x="380" y="124"/>
                  <a:pt x="407" y="207"/>
                </a:cubicBezTo>
                <a:close/>
              </a:path>
            </a:pathLst>
          </a:custGeom>
          <a:solidFill>
            <a:schemeClr val="bg1">
              <a:lumMod val="50000"/>
            </a:schemeClr>
          </a:solidFill>
          <a:ln>
            <a:noFill/>
          </a:ln>
        </p:spPr>
        <p:txBody>
          <a:bodyPr/>
          <a:lstStyle/>
          <a:p>
            <a:pPr defTabSz="1172078" eaLnBrk="1" fontAlgn="auto" hangingPunct="1">
              <a:spcBef>
                <a:spcPts val="0"/>
              </a:spcBef>
              <a:spcAft>
                <a:spcPts val="0"/>
              </a:spcAft>
              <a:defRPr/>
            </a:pPr>
            <a:endParaRPr lang="en-US">
              <a:latin typeface="+mn-lt"/>
            </a:endParaRPr>
          </a:p>
        </p:txBody>
      </p:sp>
      <p:sp>
        <p:nvSpPr>
          <p:cNvPr id="254" name="Freeform 131"/>
          <p:cNvSpPr>
            <a:spLocks noEditPoints="1"/>
          </p:cNvSpPr>
          <p:nvPr/>
        </p:nvSpPr>
        <p:spPr bwMode="auto">
          <a:xfrm>
            <a:off x="7872413" y="4667250"/>
            <a:ext cx="230187" cy="217488"/>
          </a:xfrm>
          <a:custGeom>
            <a:avLst/>
            <a:gdLst>
              <a:gd name="T0" fmla="*/ 89 w 97"/>
              <a:gd name="T1" fmla="*/ 0 h 92"/>
              <a:gd name="T2" fmla="*/ 8 w 97"/>
              <a:gd name="T3" fmla="*/ 0 h 92"/>
              <a:gd name="T4" fmla="*/ 0 w 97"/>
              <a:gd name="T5" fmla="*/ 8 h 92"/>
              <a:gd name="T6" fmla="*/ 0 w 97"/>
              <a:gd name="T7" fmla="*/ 64 h 92"/>
              <a:gd name="T8" fmla="*/ 8 w 97"/>
              <a:gd name="T9" fmla="*/ 72 h 92"/>
              <a:gd name="T10" fmla="*/ 41 w 97"/>
              <a:gd name="T11" fmla="*/ 72 h 92"/>
              <a:gd name="T12" fmla="*/ 41 w 97"/>
              <a:gd name="T13" fmla="*/ 85 h 92"/>
              <a:gd name="T14" fmla="*/ 9 w 97"/>
              <a:gd name="T15" fmla="*/ 85 h 92"/>
              <a:gd name="T16" fmla="*/ 9 w 97"/>
              <a:gd name="T17" fmla="*/ 92 h 92"/>
              <a:gd name="T18" fmla="*/ 85 w 97"/>
              <a:gd name="T19" fmla="*/ 92 h 92"/>
              <a:gd name="T20" fmla="*/ 85 w 97"/>
              <a:gd name="T21" fmla="*/ 85 h 92"/>
              <a:gd name="T22" fmla="*/ 54 w 97"/>
              <a:gd name="T23" fmla="*/ 85 h 92"/>
              <a:gd name="T24" fmla="*/ 54 w 97"/>
              <a:gd name="T25" fmla="*/ 72 h 92"/>
              <a:gd name="T26" fmla="*/ 89 w 97"/>
              <a:gd name="T27" fmla="*/ 72 h 92"/>
              <a:gd name="T28" fmla="*/ 97 w 97"/>
              <a:gd name="T29" fmla="*/ 64 h 92"/>
              <a:gd name="T30" fmla="*/ 97 w 97"/>
              <a:gd name="T31" fmla="*/ 8 h 92"/>
              <a:gd name="T32" fmla="*/ 89 w 97"/>
              <a:gd name="T33" fmla="*/ 0 h 92"/>
              <a:gd name="T34" fmla="*/ 44 w 97"/>
              <a:gd name="T35" fmla="*/ 66 h 92"/>
              <a:gd name="T36" fmla="*/ 47 w 97"/>
              <a:gd name="T37" fmla="*/ 62 h 92"/>
              <a:gd name="T38" fmla="*/ 51 w 97"/>
              <a:gd name="T39" fmla="*/ 66 h 92"/>
              <a:gd name="T40" fmla="*/ 47 w 97"/>
              <a:gd name="T41" fmla="*/ 69 h 92"/>
              <a:gd name="T42" fmla="*/ 44 w 97"/>
              <a:gd name="T43" fmla="*/ 66 h 92"/>
              <a:gd name="T44" fmla="*/ 89 w 97"/>
              <a:gd name="T45" fmla="*/ 57 h 92"/>
              <a:gd name="T46" fmla="*/ 8 w 97"/>
              <a:gd name="T47" fmla="*/ 57 h 92"/>
              <a:gd name="T48" fmla="*/ 8 w 97"/>
              <a:gd name="T49" fmla="*/ 11 h 92"/>
              <a:gd name="T50" fmla="*/ 89 w 97"/>
              <a:gd name="T51" fmla="*/ 11 h 92"/>
              <a:gd name="T52" fmla="*/ 89 w 97"/>
              <a:gd name="T53" fmla="*/ 5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 h="92">
                <a:moveTo>
                  <a:pt x="89" y="0"/>
                </a:moveTo>
                <a:cubicBezTo>
                  <a:pt x="8" y="0"/>
                  <a:pt x="8" y="0"/>
                  <a:pt x="8" y="0"/>
                </a:cubicBezTo>
                <a:cubicBezTo>
                  <a:pt x="3" y="0"/>
                  <a:pt x="0" y="3"/>
                  <a:pt x="0" y="8"/>
                </a:cubicBezTo>
                <a:cubicBezTo>
                  <a:pt x="0" y="64"/>
                  <a:pt x="0" y="64"/>
                  <a:pt x="0" y="64"/>
                </a:cubicBezTo>
                <a:cubicBezTo>
                  <a:pt x="0" y="69"/>
                  <a:pt x="3" y="72"/>
                  <a:pt x="8" y="72"/>
                </a:cubicBezTo>
                <a:cubicBezTo>
                  <a:pt x="41" y="72"/>
                  <a:pt x="41" y="72"/>
                  <a:pt x="41" y="72"/>
                </a:cubicBezTo>
                <a:cubicBezTo>
                  <a:pt x="41" y="85"/>
                  <a:pt x="41" y="85"/>
                  <a:pt x="41" y="85"/>
                </a:cubicBezTo>
                <a:cubicBezTo>
                  <a:pt x="9" y="85"/>
                  <a:pt x="9" y="85"/>
                  <a:pt x="9" y="85"/>
                </a:cubicBezTo>
                <a:cubicBezTo>
                  <a:pt x="9" y="92"/>
                  <a:pt x="9" y="92"/>
                  <a:pt x="9" y="92"/>
                </a:cubicBezTo>
                <a:cubicBezTo>
                  <a:pt x="85" y="92"/>
                  <a:pt x="85" y="92"/>
                  <a:pt x="85" y="92"/>
                </a:cubicBezTo>
                <a:cubicBezTo>
                  <a:pt x="85" y="85"/>
                  <a:pt x="85" y="85"/>
                  <a:pt x="85" y="85"/>
                </a:cubicBezTo>
                <a:cubicBezTo>
                  <a:pt x="54" y="85"/>
                  <a:pt x="54" y="85"/>
                  <a:pt x="54" y="85"/>
                </a:cubicBezTo>
                <a:cubicBezTo>
                  <a:pt x="54" y="72"/>
                  <a:pt x="54" y="72"/>
                  <a:pt x="54" y="72"/>
                </a:cubicBezTo>
                <a:cubicBezTo>
                  <a:pt x="89" y="72"/>
                  <a:pt x="89" y="72"/>
                  <a:pt x="89" y="72"/>
                </a:cubicBezTo>
                <a:cubicBezTo>
                  <a:pt x="94" y="72"/>
                  <a:pt x="97" y="69"/>
                  <a:pt x="97" y="64"/>
                </a:cubicBezTo>
                <a:cubicBezTo>
                  <a:pt x="97" y="8"/>
                  <a:pt x="97" y="8"/>
                  <a:pt x="97" y="8"/>
                </a:cubicBezTo>
                <a:cubicBezTo>
                  <a:pt x="97" y="3"/>
                  <a:pt x="94" y="0"/>
                  <a:pt x="89" y="0"/>
                </a:cubicBezTo>
                <a:close/>
                <a:moveTo>
                  <a:pt x="44" y="66"/>
                </a:moveTo>
                <a:cubicBezTo>
                  <a:pt x="44" y="64"/>
                  <a:pt x="45" y="62"/>
                  <a:pt x="47" y="62"/>
                </a:cubicBezTo>
                <a:cubicBezTo>
                  <a:pt x="49" y="62"/>
                  <a:pt x="51" y="64"/>
                  <a:pt x="51" y="66"/>
                </a:cubicBezTo>
                <a:cubicBezTo>
                  <a:pt x="51" y="68"/>
                  <a:pt x="49" y="69"/>
                  <a:pt x="47" y="69"/>
                </a:cubicBezTo>
                <a:cubicBezTo>
                  <a:pt x="45" y="69"/>
                  <a:pt x="44" y="68"/>
                  <a:pt x="44" y="66"/>
                </a:cubicBezTo>
                <a:close/>
                <a:moveTo>
                  <a:pt x="89" y="57"/>
                </a:moveTo>
                <a:cubicBezTo>
                  <a:pt x="8" y="57"/>
                  <a:pt x="8" y="57"/>
                  <a:pt x="8" y="57"/>
                </a:cubicBezTo>
                <a:cubicBezTo>
                  <a:pt x="8" y="11"/>
                  <a:pt x="8" y="11"/>
                  <a:pt x="8" y="11"/>
                </a:cubicBezTo>
                <a:cubicBezTo>
                  <a:pt x="89" y="11"/>
                  <a:pt x="89" y="11"/>
                  <a:pt x="89" y="11"/>
                </a:cubicBezTo>
                <a:lnTo>
                  <a:pt x="89" y="5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172078" eaLnBrk="1" fontAlgn="auto" hangingPunct="1">
              <a:spcBef>
                <a:spcPts val="0"/>
              </a:spcBef>
              <a:spcAft>
                <a:spcPts val="0"/>
              </a:spcAft>
              <a:defRPr/>
            </a:pPr>
            <a:endParaRPr lang="en-US">
              <a:latin typeface="+mn-lt"/>
            </a:endParaRPr>
          </a:p>
        </p:txBody>
      </p:sp>
      <p:sp>
        <p:nvSpPr>
          <p:cNvPr id="382" name="Rectangle 381"/>
          <p:cNvSpPr/>
          <p:nvPr/>
        </p:nvSpPr>
        <p:spPr>
          <a:xfrm>
            <a:off x="827088" y="595313"/>
            <a:ext cx="6592887"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172078" eaLnBrk="1" fontAlgn="auto" hangingPunct="1">
              <a:spcBef>
                <a:spcPts val="0"/>
              </a:spcBef>
              <a:spcAft>
                <a:spcPts val="0"/>
              </a:spcAft>
              <a:defRPr/>
            </a:pPr>
            <a:r>
              <a:rPr lang="en-US" sz="3600" dirty="0">
                <a:solidFill>
                  <a:schemeClr val="tx1">
                    <a:lumMod val="75000"/>
                    <a:lumOff val="25000"/>
                  </a:schemeClr>
                </a:solidFill>
                <a:latin typeface="Adobe Garamond Pro" panose="02020502060506020403" pitchFamily="18" charset="0"/>
                <a:ea typeface="Open Sans Extrabold" pitchFamily="34" charset="0"/>
                <a:cs typeface="Open Sans Extrabold" pitchFamily="34" charset="0"/>
              </a:rPr>
              <a:t>EDITABLE </a:t>
            </a:r>
            <a:r>
              <a:rPr lang="en-US" sz="3600" dirty="0">
                <a:solidFill>
                  <a:srgbClr val="F3534B"/>
                </a:solidFill>
                <a:latin typeface="Adobe Garamond Pro" panose="02020502060506020403" pitchFamily="18" charset="0"/>
                <a:ea typeface="Open Sans" pitchFamily="34" charset="0"/>
                <a:cs typeface="Open Sans" pitchFamily="34" charset="0"/>
              </a:rPr>
              <a:t>INFOGRAPHICS</a:t>
            </a:r>
            <a:endParaRPr lang="en-US" sz="3600" b="1" dirty="0">
              <a:solidFill>
                <a:srgbClr val="F3534B"/>
              </a:solidFill>
              <a:latin typeface="Adobe Garamond Pro" panose="02020502060506020403" pitchFamily="18" charset="0"/>
              <a:ea typeface="Open Sans" pitchFamily="34" charset="0"/>
              <a:cs typeface="Open Sans" pitchFamily="34" charset="0"/>
            </a:endParaRPr>
          </a:p>
        </p:txBody>
      </p:sp>
      <p:sp>
        <p:nvSpPr>
          <p:cNvPr id="91188" name="Rectangle 382"/>
          <p:cNvSpPr>
            <a:spLocks noChangeArrowheads="1"/>
          </p:cNvSpPr>
          <p:nvPr/>
        </p:nvSpPr>
        <p:spPr bwMode="auto">
          <a:xfrm>
            <a:off x="827088" y="990600"/>
            <a:ext cx="50387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7208" tIns="58604" rIns="117208" bIns="58604">
            <a:spAutoFit/>
          </a:bodyPr>
          <a:lstStyle>
            <a:lvl1pPr>
              <a:defRPr sz="2300">
                <a:solidFill>
                  <a:schemeClr val="tx1"/>
                </a:solidFill>
                <a:latin typeface="Open Sans" pitchFamily="34" charset="0"/>
              </a:defRPr>
            </a:lvl1pPr>
            <a:lvl2pPr marL="742950" indent="-285750">
              <a:defRPr sz="2300">
                <a:solidFill>
                  <a:schemeClr val="tx1"/>
                </a:solidFill>
                <a:latin typeface="Open Sans" pitchFamily="34" charset="0"/>
              </a:defRPr>
            </a:lvl2pPr>
            <a:lvl3pPr marL="1143000" indent="-228600">
              <a:defRPr sz="2300">
                <a:solidFill>
                  <a:schemeClr val="tx1"/>
                </a:solidFill>
                <a:latin typeface="Open Sans" pitchFamily="34" charset="0"/>
              </a:defRPr>
            </a:lvl3pPr>
            <a:lvl4pPr marL="1600200" indent="-228600">
              <a:defRPr sz="2300">
                <a:solidFill>
                  <a:schemeClr val="tx1"/>
                </a:solidFill>
                <a:latin typeface="Open Sans" pitchFamily="34" charset="0"/>
              </a:defRPr>
            </a:lvl4pPr>
            <a:lvl5pPr marL="2057400" indent="-228600">
              <a:defRPr sz="2300">
                <a:solidFill>
                  <a:schemeClr val="tx1"/>
                </a:solidFill>
                <a:latin typeface="Open Sans" pitchFamily="34" charset="0"/>
              </a:defRPr>
            </a:lvl5pPr>
            <a:lvl6pPr marL="2514600" indent="-228600" defTabSz="1171575" fontAlgn="base">
              <a:spcBef>
                <a:spcPct val="0"/>
              </a:spcBef>
              <a:spcAft>
                <a:spcPct val="0"/>
              </a:spcAft>
              <a:defRPr sz="2300">
                <a:solidFill>
                  <a:schemeClr val="tx1"/>
                </a:solidFill>
                <a:latin typeface="Open Sans" pitchFamily="34" charset="0"/>
              </a:defRPr>
            </a:lvl6pPr>
            <a:lvl7pPr marL="2971800" indent="-228600" defTabSz="1171575" fontAlgn="base">
              <a:spcBef>
                <a:spcPct val="0"/>
              </a:spcBef>
              <a:spcAft>
                <a:spcPct val="0"/>
              </a:spcAft>
              <a:defRPr sz="2300">
                <a:solidFill>
                  <a:schemeClr val="tx1"/>
                </a:solidFill>
                <a:latin typeface="Open Sans" pitchFamily="34" charset="0"/>
              </a:defRPr>
            </a:lvl7pPr>
            <a:lvl8pPr marL="3429000" indent="-228600" defTabSz="1171575" fontAlgn="base">
              <a:spcBef>
                <a:spcPct val="0"/>
              </a:spcBef>
              <a:spcAft>
                <a:spcPct val="0"/>
              </a:spcAft>
              <a:defRPr sz="2300">
                <a:solidFill>
                  <a:schemeClr val="tx1"/>
                </a:solidFill>
                <a:latin typeface="Open Sans" pitchFamily="34" charset="0"/>
              </a:defRPr>
            </a:lvl8pPr>
            <a:lvl9pPr marL="3886200" indent="-228600" defTabSz="1171575" fontAlgn="base">
              <a:spcBef>
                <a:spcPct val="0"/>
              </a:spcBef>
              <a:spcAft>
                <a:spcPct val="0"/>
              </a:spcAft>
              <a:defRPr sz="2300">
                <a:solidFill>
                  <a:schemeClr val="tx1"/>
                </a:solidFill>
                <a:latin typeface="Open Sans" pitchFamily="34" charset="0"/>
              </a:defRPr>
            </a:lvl9pPr>
          </a:lstStyle>
          <a:p>
            <a:pPr eaLnBrk="1" hangingPunct="1"/>
            <a:r>
              <a:rPr lang="en-US" altLang="fr-FR" sz="1200">
                <a:latin typeface="Open Sans Light" pitchFamily="34" charset="0"/>
                <a:ea typeface="Open Sans Light" pitchFamily="34" charset="0"/>
                <a:cs typeface="Open Sans Light" pitchFamily="34" charset="0"/>
              </a:rPr>
              <a:t>Lorem Ipsum is simply dummy text of the printing industry. </a:t>
            </a:r>
          </a:p>
        </p:txBody>
      </p:sp>
      <p:sp>
        <p:nvSpPr>
          <p:cNvPr id="384" name="Rectangle 383"/>
          <p:cNvSpPr/>
          <p:nvPr/>
        </p:nvSpPr>
        <p:spPr>
          <a:xfrm>
            <a:off x="912813" y="1316038"/>
            <a:ext cx="1336675" cy="46037"/>
          </a:xfrm>
          <a:prstGeom prst="rect">
            <a:avLst/>
          </a:prstGeom>
          <a:solidFill>
            <a:srgbClr val="F353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078" eaLnBrk="1" fontAlgn="auto" hangingPunct="1">
              <a:spcBef>
                <a:spcPts val="0"/>
              </a:spcBef>
              <a:spcAft>
                <a:spcPts val="0"/>
              </a:spcAft>
              <a:defRPr/>
            </a:pPr>
            <a:endParaRPr lang="en-US"/>
          </a:p>
        </p:txBody>
      </p:sp>
      <p:grpSp>
        <p:nvGrpSpPr>
          <p:cNvPr id="91190" name="Group 2088"/>
          <p:cNvGrpSpPr>
            <a:grpSpLocks/>
          </p:cNvGrpSpPr>
          <p:nvPr/>
        </p:nvGrpSpPr>
        <p:grpSpPr bwMode="auto">
          <a:xfrm>
            <a:off x="3346450" y="4768850"/>
            <a:ext cx="1757363" cy="374650"/>
            <a:chOff x="3346472" y="4769414"/>
            <a:chExt cx="1757367" cy="373294"/>
          </a:xfrm>
        </p:grpSpPr>
        <p:cxnSp>
          <p:nvCxnSpPr>
            <p:cNvPr id="2081" name="Straight Connector 2080"/>
            <p:cNvCxnSpPr/>
            <p:nvPr/>
          </p:nvCxnSpPr>
          <p:spPr>
            <a:xfrm>
              <a:off x="3346472" y="4769414"/>
              <a:ext cx="0" cy="3732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83" name="Straight Connector 2082"/>
            <p:cNvCxnSpPr/>
            <p:nvPr/>
          </p:nvCxnSpPr>
          <p:spPr>
            <a:xfrm>
              <a:off x="3346472" y="5142708"/>
              <a:ext cx="1757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91" name="Subtitle 2"/>
          <p:cNvSpPr txBox="1">
            <a:spLocks/>
          </p:cNvSpPr>
          <p:nvPr/>
        </p:nvSpPr>
        <p:spPr>
          <a:xfrm>
            <a:off x="1382713" y="3856038"/>
            <a:ext cx="2740025" cy="898525"/>
          </a:xfrm>
          <a:prstGeom prst="rect">
            <a:avLst/>
          </a:prstGeom>
        </p:spPr>
        <p:txBody>
          <a:bodyPr lIns="91420" tIns="45709" rIns="91420" bIns="45709">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fontAlgn="auto">
              <a:spcAft>
                <a:spcPts val="0"/>
              </a:spcAft>
              <a:buFont typeface="Arial"/>
              <a:buNone/>
              <a:defRPr/>
            </a:pPr>
            <a:r>
              <a:rPr lang="en-US" sz="1400" dirty="0">
                <a:solidFill>
                  <a:schemeClr val="tx1">
                    <a:lumMod val="65000"/>
                    <a:lumOff val="35000"/>
                  </a:schemeClr>
                </a:solidFill>
                <a:cs typeface="Calibri"/>
              </a:rPr>
              <a:t>SUITABLE STATISTICS</a:t>
            </a:r>
            <a:endParaRPr lang="en-US" sz="1050" dirty="0">
              <a:solidFill>
                <a:schemeClr val="tx1">
                  <a:lumMod val="65000"/>
                  <a:lumOff val="35000"/>
                </a:schemeClr>
              </a:solidFill>
              <a:cs typeface="Calibri"/>
            </a:endParaRPr>
          </a:p>
          <a:p>
            <a:pPr marL="0" indent="0" algn="r" fontAlgn="auto">
              <a:spcAft>
                <a:spcPts val="0"/>
              </a:spcAft>
              <a:buFont typeface="Arial"/>
              <a:buNone/>
              <a:defRPr/>
            </a:pP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Lore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psu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dolor si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me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onsectetu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dipiscing</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eli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Integer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ulvina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nulla</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ltrices</a:t>
            </a:r>
            <a:endPar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91192" name="Group 395"/>
          <p:cNvGrpSpPr>
            <a:grpSpLocks/>
          </p:cNvGrpSpPr>
          <p:nvPr/>
        </p:nvGrpSpPr>
        <p:grpSpPr bwMode="auto">
          <a:xfrm>
            <a:off x="3481388" y="2819400"/>
            <a:ext cx="1757362" cy="373063"/>
            <a:chOff x="3346472" y="4769414"/>
            <a:chExt cx="1757367" cy="373294"/>
          </a:xfrm>
        </p:grpSpPr>
        <p:cxnSp>
          <p:nvCxnSpPr>
            <p:cNvPr id="397" name="Straight Connector 396"/>
            <p:cNvCxnSpPr/>
            <p:nvPr/>
          </p:nvCxnSpPr>
          <p:spPr>
            <a:xfrm>
              <a:off x="3346472" y="4769414"/>
              <a:ext cx="0" cy="37329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46472" y="5142708"/>
              <a:ext cx="175736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99" name="Subtitle 2"/>
          <p:cNvSpPr txBox="1">
            <a:spLocks/>
          </p:cNvSpPr>
          <p:nvPr/>
        </p:nvSpPr>
        <p:spPr>
          <a:xfrm>
            <a:off x="2271713" y="1879600"/>
            <a:ext cx="2738437" cy="898525"/>
          </a:xfrm>
          <a:prstGeom prst="rect">
            <a:avLst/>
          </a:prstGeom>
        </p:spPr>
        <p:txBody>
          <a:bodyPr lIns="91420" tIns="45709" rIns="91420" bIns="45709">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fontAlgn="auto">
              <a:spcAft>
                <a:spcPts val="0"/>
              </a:spcAft>
              <a:buFont typeface="Arial"/>
              <a:buNone/>
              <a:defRPr/>
            </a:pPr>
            <a:r>
              <a:rPr lang="en-US" sz="1400" dirty="0">
                <a:solidFill>
                  <a:schemeClr val="tx1">
                    <a:lumMod val="65000"/>
                    <a:lumOff val="35000"/>
                  </a:schemeClr>
                </a:solidFill>
                <a:cs typeface="Calibri"/>
              </a:rPr>
              <a:t>DATA CHARTS</a:t>
            </a:r>
            <a:endParaRPr lang="en-US" sz="1050" dirty="0">
              <a:solidFill>
                <a:schemeClr val="tx1">
                  <a:lumMod val="65000"/>
                  <a:lumOff val="35000"/>
                </a:schemeClr>
              </a:solidFill>
              <a:cs typeface="Calibri"/>
            </a:endParaRPr>
          </a:p>
          <a:p>
            <a:pPr marL="0" indent="0" algn="r" fontAlgn="auto">
              <a:spcAft>
                <a:spcPts val="0"/>
              </a:spcAft>
              <a:buFont typeface="Arial"/>
              <a:buNone/>
              <a:defRPr/>
            </a:pP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Lore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psu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dolor si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me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onsectetu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dipiscing</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eli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Integer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ulvina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nulla</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ltrices</a:t>
            </a:r>
            <a:endPar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3" name="Subtitle 2"/>
          <p:cNvSpPr txBox="1">
            <a:spLocks/>
          </p:cNvSpPr>
          <p:nvPr/>
        </p:nvSpPr>
        <p:spPr>
          <a:xfrm>
            <a:off x="8523288" y="5426075"/>
            <a:ext cx="2738437" cy="898525"/>
          </a:xfrm>
          <a:prstGeom prst="rect">
            <a:avLst/>
          </a:prstGeom>
        </p:spPr>
        <p:txBody>
          <a:bodyPr lIns="91420" tIns="45709" rIns="91420" bIns="45709">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Font typeface="Arial"/>
              <a:buNone/>
              <a:defRPr/>
            </a:pPr>
            <a:r>
              <a:rPr lang="en-US" sz="1400" dirty="0">
                <a:solidFill>
                  <a:schemeClr val="tx1">
                    <a:lumMod val="65000"/>
                    <a:lumOff val="35000"/>
                  </a:schemeClr>
                </a:solidFill>
                <a:cs typeface="Calibri"/>
              </a:rPr>
              <a:t>FINANCE</a:t>
            </a:r>
            <a:endParaRPr lang="en-US" sz="1050" dirty="0">
              <a:solidFill>
                <a:schemeClr val="tx1">
                  <a:lumMod val="65000"/>
                  <a:lumOff val="35000"/>
                </a:schemeClr>
              </a:solidFill>
              <a:cs typeface="Calibri"/>
            </a:endParaRPr>
          </a:p>
          <a:p>
            <a:pPr marL="0" indent="0" fontAlgn="auto">
              <a:spcAft>
                <a:spcPts val="0"/>
              </a:spcAft>
              <a:buFont typeface="Arial"/>
              <a:buNone/>
              <a:defRPr/>
            </a:pP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Lore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psu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dolor si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me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onsectetu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dipiscing</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eli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Integer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ulvina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nulla</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ltrices</a:t>
            </a:r>
            <a:endPar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06" name="Straight Connector 405"/>
          <p:cNvCxnSpPr/>
          <p:nvPr/>
        </p:nvCxnSpPr>
        <p:spPr>
          <a:xfrm flipV="1">
            <a:off x="9083675" y="4473575"/>
            <a:ext cx="0" cy="86677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H="1">
            <a:off x="8583613" y="4473575"/>
            <a:ext cx="50006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1197" name="Group 2092"/>
          <p:cNvGrpSpPr>
            <a:grpSpLocks/>
          </p:cNvGrpSpPr>
          <p:nvPr/>
        </p:nvGrpSpPr>
        <p:grpSpPr bwMode="auto">
          <a:xfrm>
            <a:off x="9437688" y="2316163"/>
            <a:ext cx="501650" cy="866775"/>
            <a:chOff x="9860919" y="4474066"/>
            <a:chExt cx="500853" cy="866390"/>
          </a:xfrm>
        </p:grpSpPr>
        <p:cxnSp>
          <p:nvCxnSpPr>
            <p:cNvPr id="410" name="Straight Connector 409"/>
            <p:cNvCxnSpPr/>
            <p:nvPr/>
          </p:nvCxnSpPr>
          <p:spPr>
            <a:xfrm flipV="1">
              <a:off x="10361772" y="4474066"/>
              <a:ext cx="0" cy="8663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flipH="1">
              <a:off x="9860919" y="4474066"/>
              <a:ext cx="5008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13" name="Subtitle 2"/>
          <p:cNvSpPr txBox="1">
            <a:spLocks/>
          </p:cNvSpPr>
          <p:nvPr/>
        </p:nvSpPr>
        <p:spPr>
          <a:xfrm>
            <a:off x="9224963" y="3289300"/>
            <a:ext cx="2740025" cy="898525"/>
          </a:xfrm>
          <a:prstGeom prst="rect">
            <a:avLst/>
          </a:prstGeom>
        </p:spPr>
        <p:txBody>
          <a:bodyPr lIns="91420" tIns="45709" rIns="91420" bIns="45709">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Font typeface="Arial"/>
              <a:buNone/>
              <a:defRPr/>
            </a:pPr>
            <a:r>
              <a:rPr lang="en-US" sz="1400" dirty="0">
                <a:solidFill>
                  <a:schemeClr val="tx1">
                    <a:lumMod val="65000"/>
                    <a:lumOff val="35000"/>
                  </a:schemeClr>
                </a:solidFill>
                <a:cs typeface="Calibri"/>
              </a:rPr>
              <a:t>MARKETING</a:t>
            </a:r>
            <a:endParaRPr lang="en-US" sz="1050" dirty="0">
              <a:solidFill>
                <a:schemeClr val="tx1">
                  <a:lumMod val="65000"/>
                  <a:lumOff val="35000"/>
                </a:schemeClr>
              </a:solidFill>
              <a:cs typeface="Calibri"/>
            </a:endParaRPr>
          </a:p>
          <a:p>
            <a:pPr marL="0" indent="0" fontAlgn="auto">
              <a:spcAft>
                <a:spcPts val="0"/>
              </a:spcAft>
              <a:buFont typeface="Arial"/>
              <a:buNone/>
              <a:defRPr/>
            </a:pP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Lore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ipsum</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dolor si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me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onsectetu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adipiscing</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eli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Integer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pulvinar</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nulla</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t</a:t>
            </a:r>
            <a:r>
              <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dirty="0" err="1">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ultrices</a:t>
            </a:r>
            <a:endPar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2692508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p:cNvSpPr>
            <a:spLocks noGrp="1"/>
          </p:cNvSpPr>
          <p:nvPr>
            <p:ph type="pic" sz="quarter" idx="33"/>
          </p:nvPr>
        </p:nvSpPr>
        <p:spPr/>
      </p:sp>
      <p:sp>
        <p:nvSpPr>
          <p:cNvPr id="3" name="Espace réservé pour une image  2"/>
          <p:cNvSpPr>
            <a:spLocks noGrp="1"/>
          </p:cNvSpPr>
          <p:nvPr>
            <p:ph type="pic" sz="quarter" idx="32"/>
          </p:nvPr>
        </p:nvSpPr>
        <p:spPr/>
      </p:sp>
      <p:sp>
        <p:nvSpPr>
          <p:cNvPr id="4" name="Espace réservé pour une image  3"/>
          <p:cNvSpPr>
            <a:spLocks noGrp="1"/>
          </p:cNvSpPr>
          <p:nvPr>
            <p:ph type="pic" sz="quarter" idx="31"/>
          </p:nvPr>
        </p:nvSpPr>
        <p:spPr/>
      </p:sp>
      <p:sp>
        <p:nvSpPr>
          <p:cNvPr id="5" name="Espace réservé pour une image  4"/>
          <p:cNvSpPr>
            <a:spLocks noGrp="1"/>
          </p:cNvSpPr>
          <p:nvPr>
            <p:ph type="pic" sz="quarter" idx="22"/>
          </p:nvPr>
        </p:nvSpPr>
        <p:spPr/>
      </p:sp>
      <p:sp>
        <p:nvSpPr>
          <p:cNvPr id="6" name="Titre 5"/>
          <p:cNvSpPr>
            <a:spLocks noGrp="1"/>
          </p:cNvSpPr>
          <p:nvPr>
            <p:ph type="title"/>
          </p:nvPr>
        </p:nvSpPr>
        <p:spPr/>
        <p:txBody>
          <a:bodyPr/>
          <a:lstStyle/>
          <a:p>
            <a:r>
              <a:rPr lang="fr-FR" dirty="0"/>
              <a:t>Prioriser els solutions étudier leur faisabilité </a:t>
            </a:r>
          </a:p>
        </p:txBody>
      </p:sp>
      <p:sp>
        <p:nvSpPr>
          <p:cNvPr id="7" name="Espace réservé du texte 6"/>
          <p:cNvSpPr>
            <a:spLocks noGrp="1"/>
          </p:cNvSpPr>
          <p:nvPr>
            <p:ph type="body" sz="quarter" idx="23"/>
          </p:nvPr>
        </p:nvSpPr>
        <p:spPr/>
        <p:txBody>
          <a:bodyPr/>
          <a:lstStyle/>
          <a:p>
            <a:endParaRPr lang="fr-FR" dirty="0"/>
          </a:p>
        </p:txBody>
      </p:sp>
      <p:sp>
        <p:nvSpPr>
          <p:cNvPr id="8" name="Espace réservé du contenu 7"/>
          <p:cNvSpPr>
            <a:spLocks noGrp="1"/>
          </p:cNvSpPr>
          <p:nvPr>
            <p:ph sz="quarter" idx="16"/>
          </p:nvPr>
        </p:nvSpPr>
        <p:spPr/>
        <p:txBody>
          <a:bodyPr/>
          <a:lstStyle/>
          <a:p>
            <a:endParaRPr lang="fr-FR"/>
          </a:p>
        </p:txBody>
      </p:sp>
      <p:sp>
        <p:nvSpPr>
          <p:cNvPr id="9" name="Espace réservé du texte 8"/>
          <p:cNvSpPr>
            <a:spLocks noGrp="1"/>
          </p:cNvSpPr>
          <p:nvPr>
            <p:ph type="body" sz="quarter" idx="34"/>
          </p:nvPr>
        </p:nvSpPr>
        <p:spPr/>
        <p:txBody>
          <a:bodyPr/>
          <a:lstStyle/>
          <a:p>
            <a:endParaRPr lang="fr-FR"/>
          </a:p>
        </p:txBody>
      </p:sp>
      <p:sp>
        <p:nvSpPr>
          <p:cNvPr id="10" name="Espace réservé du contenu 9"/>
          <p:cNvSpPr>
            <a:spLocks noGrp="1"/>
          </p:cNvSpPr>
          <p:nvPr>
            <p:ph sz="quarter" idx="35"/>
          </p:nvPr>
        </p:nvSpPr>
        <p:spPr/>
        <p:txBody>
          <a:bodyPr/>
          <a:lstStyle/>
          <a:p>
            <a:endParaRPr lang="fr-FR"/>
          </a:p>
        </p:txBody>
      </p:sp>
      <p:sp>
        <p:nvSpPr>
          <p:cNvPr id="11" name="Espace réservé du texte 10"/>
          <p:cNvSpPr>
            <a:spLocks noGrp="1"/>
          </p:cNvSpPr>
          <p:nvPr>
            <p:ph type="body" sz="quarter" idx="36"/>
          </p:nvPr>
        </p:nvSpPr>
        <p:spPr/>
        <p:txBody>
          <a:bodyPr/>
          <a:lstStyle/>
          <a:p>
            <a:endParaRPr lang="fr-FR"/>
          </a:p>
        </p:txBody>
      </p:sp>
      <p:sp>
        <p:nvSpPr>
          <p:cNvPr id="12" name="Espace réservé du contenu 11"/>
          <p:cNvSpPr>
            <a:spLocks noGrp="1"/>
          </p:cNvSpPr>
          <p:nvPr>
            <p:ph sz="quarter" idx="37"/>
          </p:nvPr>
        </p:nvSpPr>
        <p:spPr/>
        <p:txBody>
          <a:bodyPr/>
          <a:lstStyle/>
          <a:p>
            <a:endParaRPr lang="fr-FR"/>
          </a:p>
        </p:txBody>
      </p:sp>
      <p:sp>
        <p:nvSpPr>
          <p:cNvPr id="13" name="Espace réservé du texte 12"/>
          <p:cNvSpPr>
            <a:spLocks noGrp="1"/>
          </p:cNvSpPr>
          <p:nvPr>
            <p:ph type="body" sz="quarter" idx="38"/>
          </p:nvPr>
        </p:nvSpPr>
        <p:spPr/>
        <p:txBody>
          <a:bodyPr/>
          <a:lstStyle/>
          <a:p>
            <a:endParaRPr lang="fr-FR"/>
          </a:p>
        </p:txBody>
      </p:sp>
      <p:sp>
        <p:nvSpPr>
          <p:cNvPr id="14" name="Espace réservé du contenu 13"/>
          <p:cNvSpPr>
            <a:spLocks noGrp="1"/>
          </p:cNvSpPr>
          <p:nvPr>
            <p:ph sz="quarter" idx="39"/>
          </p:nvPr>
        </p:nvSpPr>
        <p:spPr/>
        <p:txBody>
          <a:bodyPr/>
          <a:lstStyle/>
          <a:p>
            <a:endParaRPr lang="fr-FR"/>
          </a:p>
        </p:txBody>
      </p:sp>
    </p:spTree>
    <p:extLst>
      <p:ext uri="{BB962C8B-B14F-4D97-AF65-F5344CB8AC3E}">
        <p14:creationId xmlns:p14="http://schemas.microsoft.com/office/powerpoint/2010/main" val="31973875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Espace réservé pour une image  2"/>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l="3853" r="3853"/>
          <a:stretch>
            <a:fillRect/>
          </a:stretch>
        </p:blipFill>
        <p:spPr>
          <a:xfrm>
            <a:off x="1055127" y="1371600"/>
            <a:ext cx="7325285" cy="4294897"/>
          </a:xfrm>
        </p:spPr>
      </p:pic>
    </p:spTree>
    <p:extLst>
      <p:ext uri="{BB962C8B-B14F-4D97-AF65-F5344CB8AC3E}">
        <p14:creationId xmlns:p14="http://schemas.microsoft.com/office/powerpoint/2010/main" val="12408898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0" y="454967"/>
            <a:ext cx="4469236" cy="461665"/>
          </a:xfrm>
          <a:prstGeom prst="rect">
            <a:avLst/>
          </a:prstGeom>
        </p:spPr>
        <p:txBody>
          <a:bodyPr wrap="square">
            <a:spAutoFit/>
          </a:bodyPr>
          <a:lstStyle/>
          <a:p>
            <a:pPr marL="571500" indent="-571500">
              <a:buFont typeface="+mj-lt"/>
              <a:buAutoNum type="romanUcPeriod"/>
            </a:pPr>
            <a:r>
              <a:rPr lang="fr-FR" sz="2400" b="1" dirty="0"/>
              <a:t>Problématique</a:t>
            </a:r>
            <a:r>
              <a:rPr lang="fr-FR" sz="2000" b="1" dirty="0"/>
              <a:t> </a:t>
            </a:r>
          </a:p>
        </p:txBody>
      </p:sp>
      <p:sp>
        <p:nvSpPr>
          <p:cNvPr id="55" name="Rectangle 54"/>
          <p:cNvSpPr/>
          <p:nvPr/>
        </p:nvSpPr>
        <p:spPr>
          <a:xfrm>
            <a:off x="349093" y="1278705"/>
            <a:ext cx="6888319" cy="4739759"/>
          </a:xfrm>
          <a:prstGeom prst="rect">
            <a:avLst/>
          </a:prstGeom>
        </p:spPr>
        <p:txBody>
          <a:bodyPr wrap="square">
            <a:spAutoFit/>
          </a:bodyPr>
          <a:lstStyle/>
          <a:p>
            <a:r>
              <a:rPr lang="fr-FR" sz="2200" dirty="0"/>
              <a:t>Le service achat cherche à: </a:t>
            </a:r>
          </a:p>
          <a:p>
            <a:endParaRPr lang="fr-FR" sz="2200" dirty="0"/>
          </a:p>
          <a:p>
            <a:pPr indent="-342900">
              <a:lnSpc>
                <a:spcPct val="150000"/>
              </a:lnSpc>
              <a:buFont typeface="Arial" pitchFamily="34" charset="0"/>
              <a:buChar char="•"/>
            </a:pPr>
            <a:r>
              <a:rPr lang="fr-FR" sz="2000" dirty="0"/>
              <a:t>Améliorer Le niveau de service au dessus du Target (90%),   </a:t>
            </a:r>
          </a:p>
          <a:p>
            <a:pPr indent="-342900">
              <a:lnSpc>
                <a:spcPct val="150000"/>
              </a:lnSpc>
              <a:buFont typeface="Arial" pitchFamily="34" charset="0"/>
              <a:buChar char="•"/>
            </a:pPr>
            <a:r>
              <a:rPr lang="fr-FR" sz="2200" dirty="0"/>
              <a:t>Réaliser le suivi un pilotage vers la performance.    </a:t>
            </a:r>
          </a:p>
          <a:p>
            <a:pPr indent="-342900">
              <a:lnSpc>
                <a:spcPct val="150000"/>
              </a:lnSpc>
              <a:buFont typeface="Arial" pitchFamily="34" charset="0"/>
              <a:buChar char="•"/>
            </a:pPr>
            <a:r>
              <a:rPr lang="fr-FR" sz="2200" dirty="0"/>
              <a:t>Structuré le panel fournisseurs     </a:t>
            </a:r>
          </a:p>
          <a:p>
            <a:pPr indent="-342900">
              <a:lnSpc>
                <a:spcPct val="150000"/>
              </a:lnSpc>
              <a:buFont typeface="Arial" pitchFamily="34" charset="0"/>
              <a:buChar char="•"/>
            </a:pPr>
            <a:r>
              <a:rPr lang="fr-FR" sz="2200" dirty="0"/>
              <a:t>Assurer à notre client interne un produit qualitatif dans le délai et en respectant la quantité.   </a:t>
            </a:r>
          </a:p>
          <a:p>
            <a:pPr indent="-342900">
              <a:lnSpc>
                <a:spcPct val="150000"/>
              </a:lnSpc>
              <a:buFont typeface="Arial" pitchFamily="34" charset="0"/>
              <a:buChar char="•"/>
            </a:pPr>
            <a:r>
              <a:rPr lang="fr-FR" sz="2200" dirty="0"/>
              <a:t>Recherche du gain  </a:t>
            </a:r>
          </a:p>
          <a:p>
            <a:pPr indent="-342900">
              <a:lnSpc>
                <a:spcPct val="150000"/>
              </a:lnSpc>
              <a:buFont typeface="Arial" pitchFamily="34" charset="0"/>
              <a:buChar char="•"/>
            </a:pPr>
            <a:r>
              <a:rPr lang="fr-FR" sz="2200" dirty="0"/>
              <a:t>Réduire les ruptures,        </a:t>
            </a:r>
          </a:p>
        </p:txBody>
      </p:sp>
      <p:sp>
        <p:nvSpPr>
          <p:cNvPr id="59" name="TextBox 58"/>
          <p:cNvSpPr txBox="1"/>
          <p:nvPr/>
        </p:nvSpPr>
        <p:spPr>
          <a:xfrm>
            <a:off x="8024310" y="3505200"/>
            <a:ext cx="3859795" cy="1200329"/>
          </a:xfrm>
          <a:prstGeom prst="rect">
            <a:avLst/>
          </a:prstGeom>
          <a:noFill/>
          <a:ln w="28575">
            <a:solidFill>
              <a:srgbClr val="003399"/>
            </a:solidFill>
            <a:prstDash val="solid"/>
          </a:ln>
        </p:spPr>
        <p:txBody>
          <a:bodyPr wrap="square" rtlCol="0">
            <a:spAutoFit/>
          </a:bodyPr>
          <a:lstStyle/>
          <a:p>
            <a:pPr algn="ctr"/>
            <a:r>
              <a:rPr lang="fr-FR" sz="2400" b="1" dirty="0"/>
              <a:t>Evaluation de la performance des fournisseurs</a:t>
            </a:r>
          </a:p>
        </p:txBody>
      </p:sp>
      <p:sp>
        <p:nvSpPr>
          <p:cNvPr id="60" name="Equal 59"/>
          <p:cNvSpPr/>
          <p:nvPr/>
        </p:nvSpPr>
        <p:spPr>
          <a:xfrm>
            <a:off x="6933565" y="3671668"/>
            <a:ext cx="914162" cy="609600"/>
          </a:xfrm>
          <a:prstGeom prst="mathEqual">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Espace réservé du numéro de diapositive 1"/>
          <p:cNvSpPr>
            <a:spLocks noGrp="1"/>
          </p:cNvSpPr>
          <p:nvPr>
            <p:ph type="sldNum" sz="quarter" idx="12"/>
          </p:nvPr>
        </p:nvSpPr>
        <p:spPr/>
        <p:txBody>
          <a:bodyPr/>
          <a:lstStyle/>
          <a:p>
            <a:fld id="{C2F52289-4012-4053-9770-FE82CEB9514F}" type="slidenum">
              <a:rPr lang="en-US" smtClean="0"/>
              <a:pPr/>
              <a:t>55</a:t>
            </a:fld>
            <a:endParaRPr lang="en-US"/>
          </a:p>
        </p:txBody>
      </p:sp>
    </p:spTree>
    <p:extLst>
      <p:ext uri="{BB962C8B-B14F-4D97-AF65-F5344CB8AC3E}">
        <p14:creationId xmlns:p14="http://schemas.microsoft.com/office/powerpoint/2010/main" val="3388499554"/>
      </p:ext>
    </p:extLst>
  </p:cSld>
  <p:clrMapOvr>
    <a:masterClrMapping/>
  </p:clrMapOvr>
  <p:transition spd="med">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5">
                                            <p:txEl>
                                              <p:pRg st="0" end="0"/>
                                            </p:txEl>
                                          </p:spTgt>
                                        </p:tgtEl>
                                        <p:attrNameLst>
                                          <p:attrName>style.visibility</p:attrName>
                                        </p:attrNameLst>
                                      </p:cBhvr>
                                      <p:to>
                                        <p:strVal val="visible"/>
                                      </p:to>
                                    </p:set>
                                    <p:animEffect transition="in" filter="wipe(down)">
                                      <p:cBhvr>
                                        <p:cTn id="7" dur="500"/>
                                        <p:tgtEl>
                                          <p:spTgt spid="55">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5">
                                            <p:txEl>
                                              <p:pRg st="2" end="2"/>
                                            </p:txEl>
                                          </p:spTgt>
                                        </p:tgtEl>
                                        <p:attrNameLst>
                                          <p:attrName>style.visibility</p:attrName>
                                        </p:attrNameLst>
                                      </p:cBhvr>
                                      <p:to>
                                        <p:strVal val="visible"/>
                                      </p:to>
                                    </p:set>
                                    <p:animEffect transition="in" filter="wipe(down)">
                                      <p:cBhvr>
                                        <p:cTn id="10" dur="500"/>
                                        <p:tgtEl>
                                          <p:spTgt spid="55">
                                            <p:txEl>
                                              <p:pRg st="2" end="2"/>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55">
                                            <p:txEl>
                                              <p:pRg st="3" end="3"/>
                                            </p:txEl>
                                          </p:spTgt>
                                        </p:tgtEl>
                                        <p:attrNameLst>
                                          <p:attrName>style.visibility</p:attrName>
                                        </p:attrNameLst>
                                      </p:cBhvr>
                                      <p:to>
                                        <p:strVal val="visible"/>
                                      </p:to>
                                    </p:set>
                                    <p:animEffect transition="in" filter="wipe(down)">
                                      <p:cBhvr>
                                        <p:cTn id="13" dur="500"/>
                                        <p:tgtEl>
                                          <p:spTgt spid="55">
                                            <p:txEl>
                                              <p:pRg st="3" end="3"/>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55">
                                            <p:txEl>
                                              <p:pRg st="4" end="4"/>
                                            </p:txEl>
                                          </p:spTgt>
                                        </p:tgtEl>
                                        <p:attrNameLst>
                                          <p:attrName>style.visibility</p:attrName>
                                        </p:attrNameLst>
                                      </p:cBhvr>
                                      <p:to>
                                        <p:strVal val="visible"/>
                                      </p:to>
                                    </p:set>
                                    <p:animEffect transition="in" filter="wipe(down)">
                                      <p:cBhvr>
                                        <p:cTn id="16" dur="500"/>
                                        <p:tgtEl>
                                          <p:spTgt spid="55">
                                            <p:txEl>
                                              <p:pRg st="4" end="4"/>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55">
                                            <p:txEl>
                                              <p:pRg st="5" end="5"/>
                                            </p:txEl>
                                          </p:spTgt>
                                        </p:tgtEl>
                                        <p:attrNameLst>
                                          <p:attrName>style.visibility</p:attrName>
                                        </p:attrNameLst>
                                      </p:cBhvr>
                                      <p:to>
                                        <p:strVal val="visible"/>
                                      </p:to>
                                    </p:set>
                                    <p:animEffect transition="in" filter="wipe(down)">
                                      <p:cBhvr>
                                        <p:cTn id="19" dur="500"/>
                                        <p:tgtEl>
                                          <p:spTgt spid="55">
                                            <p:txEl>
                                              <p:pRg st="5" end="5"/>
                                            </p:txEl>
                                          </p:spTgt>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55">
                                            <p:txEl>
                                              <p:pRg st="6" end="6"/>
                                            </p:txEl>
                                          </p:spTgt>
                                        </p:tgtEl>
                                        <p:attrNameLst>
                                          <p:attrName>style.visibility</p:attrName>
                                        </p:attrNameLst>
                                      </p:cBhvr>
                                      <p:to>
                                        <p:strVal val="visible"/>
                                      </p:to>
                                    </p:set>
                                    <p:animEffect transition="in" filter="wipe(down)">
                                      <p:cBhvr>
                                        <p:cTn id="22" dur="500"/>
                                        <p:tgtEl>
                                          <p:spTgt spid="55">
                                            <p:txEl>
                                              <p:pRg st="6" end="6"/>
                                            </p:txEl>
                                          </p:spTgt>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55">
                                            <p:txEl>
                                              <p:pRg st="7" end="7"/>
                                            </p:txEl>
                                          </p:spTgt>
                                        </p:tgtEl>
                                        <p:attrNameLst>
                                          <p:attrName>style.visibility</p:attrName>
                                        </p:attrNameLst>
                                      </p:cBhvr>
                                      <p:to>
                                        <p:strVal val="visible"/>
                                      </p:to>
                                    </p:set>
                                    <p:animEffect transition="in" filter="wipe(down)">
                                      <p:cBhvr>
                                        <p:cTn id="25" dur="500"/>
                                        <p:tgtEl>
                                          <p:spTgt spid="55">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grpId="0" nodeType="clickEffect">
                                  <p:stCondLst>
                                    <p:cond delay="0"/>
                                  </p:stCondLst>
                                  <p:childTnLst>
                                    <p:set>
                                      <p:cBhvr>
                                        <p:cTn id="29" dur="1" fill="hold">
                                          <p:stCondLst>
                                            <p:cond delay="0"/>
                                          </p:stCondLst>
                                        </p:cTn>
                                        <p:tgtEl>
                                          <p:spTgt spid="60"/>
                                        </p:tgtEl>
                                        <p:attrNameLst>
                                          <p:attrName>style.visibility</p:attrName>
                                        </p:attrNameLst>
                                      </p:cBhvr>
                                      <p:to>
                                        <p:strVal val="visible"/>
                                      </p:to>
                                    </p:set>
                                    <p:anim calcmode="lin" valueType="num">
                                      <p:cBhvr additive="base">
                                        <p:cTn id="30" dur="500" fill="hold"/>
                                        <p:tgtEl>
                                          <p:spTgt spid="60"/>
                                        </p:tgtEl>
                                        <p:attrNameLst>
                                          <p:attrName>ppt_x</p:attrName>
                                        </p:attrNameLst>
                                      </p:cBhvr>
                                      <p:tavLst>
                                        <p:tav tm="0">
                                          <p:val>
                                            <p:strVal val="#ppt_x"/>
                                          </p:val>
                                        </p:tav>
                                        <p:tav tm="100000">
                                          <p:val>
                                            <p:strVal val="#ppt_x"/>
                                          </p:val>
                                        </p:tav>
                                      </p:tavLst>
                                    </p:anim>
                                    <p:anim calcmode="lin" valueType="num">
                                      <p:cBhvr additive="base">
                                        <p:cTn id="31"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59">
                                            <p:bg/>
                                          </p:spTgt>
                                        </p:tgtEl>
                                        <p:attrNameLst>
                                          <p:attrName>style.visibility</p:attrName>
                                        </p:attrNameLst>
                                      </p:cBhvr>
                                      <p:to>
                                        <p:strVal val="visible"/>
                                      </p:to>
                                    </p:set>
                                    <p:animEffect transition="in" filter="wipe(down)">
                                      <p:cBhvr>
                                        <p:cTn id="36" dur="500"/>
                                        <p:tgtEl>
                                          <p:spTgt spid="59">
                                            <p:bg/>
                                          </p:spTgt>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9">
                                            <p:txEl>
                                              <p:pRg st="0" end="0"/>
                                            </p:txEl>
                                          </p:spTgt>
                                        </p:tgtEl>
                                        <p:attrNameLst>
                                          <p:attrName>style.visibility</p:attrName>
                                        </p:attrNameLst>
                                      </p:cBhvr>
                                      <p:to>
                                        <p:strVal val="visible"/>
                                      </p:to>
                                    </p:set>
                                    <p:animEffect transition="in" filter="wipe(down)">
                                      <p:cBhvr>
                                        <p:cTn id="39" dur="500"/>
                                        <p:tgtEl>
                                          <p:spTgt spid="5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build="allAtOnce"/>
      <p:bldP spid="59" grpId="0" build="allAtOnce" animBg="1"/>
      <p:bldP spid="6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2"/>
          <p:cNvSpPr>
            <a:spLocks noGrp="1" noChangeArrowheads="1"/>
          </p:cNvSpPr>
          <p:nvPr>
            <p:ph type="title"/>
          </p:nvPr>
        </p:nvSpPr>
        <p:spPr>
          <a:xfrm>
            <a:off x="1709821" y="215900"/>
            <a:ext cx="10157354" cy="990600"/>
          </a:xfrm>
        </p:spPr>
        <p:txBody>
          <a:bodyPr/>
          <a:lstStyle/>
          <a:p>
            <a:r>
              <a:rPr lang="en-GB" sz="2800" dirty="0"/>
              <a:t>Summary of Project and future recommendations</a:t>
            </a:r>
            <a:endParaRPr lang="fr-FR" sz="2800" dirty="0"/>
          </a:p>
        </p:txBody>
      </p:sp>
      <p:sp>
        <p:nvSpPr>
          <p:cNvPr id="271363" name="Rectangle 3"/>
          <p:cNvSpPr>
            <a:spLocks noGrp="1" noChangeArrowheads="1"/>
          </p:cNvSpPr>
          <p:nvPr>
            <p:ph type="body" idx="1"/>
          </p:nvPr>
        </p:nvSpPr>
        <p:spPr/>
        <p:txBody>
          <a:bodyPr>
            <a:normAutofit lnSpcReduction="10000"/>
          </a:bodyPr>
          <a:lstStyle/>
          <a:p>
            <a:r>
              <a:rPr lang="en-GB" b="1" dirty="0"/>
              <a:t>Project results:</a:t>
            </a:r>
          </a:p>
          <a:p>
            <a:pPr>
              <a:buNone/>
            </a:pPr>
            <a:r>
              <a:rPr lang="en-GB" sz="2000" dirty="0"/>
              <a:t>     xxx</a:t>
            </a:r>
          </a:p>
          <a:p>
            <a:pPr>
              <a:buFont typeface="Wingdings" pitchFamily="2" charset="2"/>
              <a:buNone/>
            </a:pPr>
            <a:endParaRPr lang="en-GB" sz="2000" dirty="0"/>
          </a:p>
          <a:p>
            <a:r>
              <a:rPr lang="en-GB" b="1" dirty="0"/>
              <a:t>Future recommendations: </a:t>
            </a:r>
          </a:p>
          <a:p>
            <a:pPr>
              <a:buNone/>
            </a:pPr>
            <a:r>
              <a:rPr lang="en-GB" b="1" dirty="0"/>
              <a:t>	</a:t>
            </a:r>
            <a:r>
              <a:rPr lang="en-GB" sz="2000" dirty="0"/>
              <a:t>xxx</a:t>
            </a:r>
            <a:endParaRPr lang="en-GB" dirty="0"/>
          </a:p>
          <a:p>
            <a:endParaRPr lang="en-GB" b="1" dirty="0"/>
          </a:p>
          <a:p>
            <a:r>
              <a:rPr lang="en-GB" b="1" dirty="0"/>
              <a:t>Potential replications		</a:t>
            </a:r>
          </a:p>
          <a:p>
            <a:pPr>
              <a:buFont typeface="Wingdings" pitchFamily="2" charset="2"/>
              <a:buNone/>
            </a:pPr>
            <a:r>
              <a:rPr lang="en-GB" sz="2000" dirty="0"/>
              <a:t>	xxx</a:t>
            </a:r>
          </a:p>
          <a:p>
            <a:pPr>
              <a:buFont typeface="Wingdings" pitchFamily="2" charset="2"/>
              <a:buNone/>
            </a:pPr>
            <a:endParaRPr lang="fr-FR" dirty="0"/>
          </a:p>
        </p:txBody>
      </p:sp>
      <p:sp>
        <p:nvSpPr>
          <p:cNvPr id="6" name="Rectangular Callout 5"/>
          <p:cNvSpPr/>
          <p:nvPr/>
        </p:nvSpPr>
        <p:spPr bwMode="auto">
          <a:xfrm>
            <a:off x="7541835" y="1371601"/>
            <a:ext cx="4215302" cy="511629"/>
          </a:xfrm>
          <a:prstGeom prst="wedgeRectCallout">
            <a:avLst>
              <a:gd name="adj1" fmla="val -79998"/>
              <a:gd name="adj2" fmla="val 33057"/>
            </a:avLst>
          </a:prstGeom>
          <a:solidFill>
            <a:srgbClr val="CC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fr-CH" sz="1200" dirty="0" err="1">
                <a:latin typeface="Trebuchet MS" pitchFamily="34" charset="0"/>
              </a:rPr>
              <a:t>Clarify</a:t>
            </a:r>
            <a:r>
              <a:rPr lang="fr-CH" sz="1200" dirty="0">
                <a:latin typeface="Trebuchet MS" pitchFamily="34" charset="0"/>
              </a:rPr>
              <a:t> the </a:t>
            </a:r>
            <a:r>
              <a:rPr lang="fr-CH" sz="1200" dirty="0" err="1">
                <a:latin typeface="Trebuchet MS" pitchFamily="34" charset="0"/>
              </a:rPr>
              <a:t>improvement</a:t>
            </a:r>
            <a:r>
              <a:rPr lang="fr-CH" sz="1200" dirty="0">
                <a:latin typeface="Trebuchet MS" pitchFamily="34" charset="0"/>
              </a:rPr>
              <a:t> in the Project KPI </a:t>
            </a:r>
            <a:endParaRPr kumimoji="0" lang="en-US" sz="1200" b="0" i="0" u="none" strike="noStrike" cap="none" normalizeH="0" baseline="0" dirty="0">
              <a:ln>
                <a:noFill/>
              </a:ln>
              <a:solidFill>
                <a:schemeClr val="tx1"/>
              </a:solidFill>
              <a:effectLst/>
              <a:latin typeface="Trebuchet MS" pitchFamily="34" charset="0"/>
            </a:endParaRPr>
          </a:p>
        </p:txBody>
      </p:sp>
      <p:sp>
        <p:nvSpPr>
          <p:cNvPr id="7" name="Rectangular Callout 6"/>
          <p:cNvSpPr/>
          <p:nvPr/>
        </p:nvSpPr>
        <p:spPr bwMode="auto">
          <a:xfrm>
            <a:off x="7726845" y="4180115"/>
            <a:ext cx="3721945" cy="511629"/>
          </a:xfrm>
          <a:prstGeom prst="wedgeRectCallout">
            <a:avLst>
              <a:gd name="adj1" fmla="val -85850"/>
              <a:gd name="adj2" fmla="val 26674"/>
            </a:avLst>
          </a:prstGeom>
          <a:solidFill>
            <a:srgbClr val="CC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Trebuchet MS" pitchFamily="34" charset="0"/>
              </a:rPr>
              <a:t>-Mention</a:t>
            </a:r>
            <a:r>
              <a:rPr kumimoji="0" lang="en-US" sz="1200" b="0" i="0" u="none" strike="noStrike" cap="none" normalizeH="0" dirty="0">
                <a:ln>
                  <a:noFill/>
                </a:ln>
                <a:solidFill>
                  <a:schemeClr val="tx1"/>
                </a:solidFill>
                <a:effectLst/>
                <a:latin typeface="Trebuchet MS" pitchFamily="34" charset="0"/>
              </a:rPr>
              <a:t> all possible replications in other processes, teams, departments</a:t>
            </a:r>
            <a:endParaRPr kumimoji="0" lang="en-US" sz="1200" b="0" i="0" u="none" strike="noStrike" cap="none" normalizeH="0" baseline="0" dirty="0">
              <a:ln>
                <a:noFill/>
              </a:ln>
              <a:solidFill>
                <a:schemeClr val="tx1"/>
              </a:solidFill>
              <a:effectLst/>
              <a:latin typeface="Trebuchet MS" pitchFamily="34" charset="0"/>
            </a:endParaRPr>
          </a:p>
        </p:txBody>
      </p:sp>
      <p:sp>
        <p:nvSpPr>
          <p:cNvPr id="8" name="Rectangular Callout 7"/>
          <p:cNvSpPr/>
          <p:nvPr/>
        </p:nvSpPr>
        <p:spPr bwMode="auto">
          <a:xfrm>
            <a:off x="7959012" y="2873829"/>
            <a:ext cx="3417225" cy="827315"/>
          </a:xfrm>
          <a:prstGeom prst="wedgeRectCallout">
            <a:avLst>
              <a:gd name="adj1" fmla="val -85850"/>
              <a:gd name="adj2" fmla="val 26674"/>
            </a:avLst>
          </a:prstGeom>
          <a:solidFill>
            <a:srgbClr val="CCFF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Trebuchet MS" pitchFamily="34" charset="0"/>
              </a:rPr>
              <a:t>-Indicate solutions that are not implemented in</a:t>
            </a:r>
            <a:r>
              <a:rPr kumimoji="0" lang="en-US" sz="1200" b="0" i="0" u="none" strike="noStrike" cap="none" normalizeH="0" dirty="0">
                <a:ln>
                  <a:noFill/>
                </a:ln>
                <a:solidFill>
                  <a:schemeClr val="tx1"/>
                </a:solidFill>
                <a:effectLst/>
                <a:latin typeface="Trebuchet MS" pitchFamily="34" charset="0"/>
              </a:rPr>
              <a:t> this project</a:t>
            </a:r>
          </a:p>
          <a:p>
            <a:pPr marL="0" marR="0" indent="0" algn="l" defTabSz="914400" rtl="0" eaLnBrk="0" fontAlgn="base" latinLnBrk="0" hangingPunct="0">
              <a:lnSpc>
                <a:spcPct val="100000"/>
              </a:lnSpc>
              <a:spcBef>
                <a:spcPct val="0"/>
              </a:spcBef>
              <a:spcAft>
                <a:spcPct val="0"/>
              </a:spcAft>
              <a:buClrTx/>
              <a:buSzTx/>
              <a:buFontTx/>
              <a:buNone/>
              <a:tabLst/>
            </a:pPr>
            <a:r>
              <a:rPr lang="en-US" sz="1200" dirty="0">
                <a:latin typeface="Trebuchet MS" pitchFamily="34" charset="0"/>
              </a:rPr>
              <a:t>-Potential DMAICs to further improve the KPI</a:t>
            </a:r>
            <a:endParaRPr kumimoji="0" lang="en-US" sz="1200" b="0" i="0" u="none" strike="noStrike" cap="none" normalizeH="0" dirty="0">
              <a:ln>
                <a:noFill/>
              </a:ln>
              <a:solidFill>
                <a:schemeClr val="tx1"/>
              </a:solidFill>
              <a:effectLst/>
              <a:latin typeface="Trebuchet MS" pitchFamily="34" charset="0"/>
            </a:endParaRPr>
          </a:p>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Trebuchet MS" pitchFamily="34" charset="0"/>
            </a:endParaRPr>
          </a:p>
        </p:txBody>
      </p:sp>
      <p:sp>
        <p:nvSpPr>
          <p:cNvPr id="9" name="AutoShape 28"/>
          <p:cNvSpPr>
            <a:spLocks noChangeArrowheads="1"/>
          </p:cNvSpPr>
          <p:nvPr>
            <p:custDataLst>
              <p:tags r:id="rId1"/>
            </p:custDataLst>
          </p:nvPr>
        </p:nvSpPr>
        <p:spPr bwMode="auto">
          <a:xfrm rot="5400000">
            <a:off x="10873406" y="-187741"/>
            <a:ext cx="690815" cy="1513470"/>
          </a:xfrm>
          <a:prstGeom prst="chevron">
            <a:avLst>
              <a:gd name="adj" fmla="val 10505"/>
            </a:avLst>
          </a:prstGeom>
          <a:solidFill>
            <a:srgbClr val="6CB740"/>
          </a:solidFill>
          <a:ln w="9525">
            <a:solidFill>
              <a:schemeClr val="tx1"/>
            </a:solidFill>
            <a:miter lim="800000"/>
            <a:headEnd/>
            <a:tailEnd/>
          </a:ln>
        </p:spPr>
        <p:txBody>
          <a:bodyPr rot="10800000" vert="eaVert" anchor="ctr"/>
          <a:lstStyle/>
          <a:p>
            <a:pPr algn="ctr"/>
            <a:r>
              <a:rPr lang="en-GB" sz="1200" dirty="0">
                <a:solidFill>
                  <a:schemeClr val="tx1"/>
                </a:solidFill>
                <a:latin typeface="Arial" charset="0"/>
              </a:rPr>
              <a:t>Share learning and replication</a:t>
            </a:r>
          </a:p>
        </p:txBody>
      </p:sp>
      <p:pic>
        <p:nvPicPr>
          <p:cNvPr id="10" name="Picture 44"/>
          <p:cNvPicPr>
            <a:picLocks noChangeAspect="1" noChangeArrowheads="1"/>
          </p:cNvPicPr>
          <p:nvPr/>
        </p:nvPicPr>
        <p:blipFill>
          <a:blip r:embed="rId3" cstate="print"/>
          <a:srcRect/>
          <a:stretch>
            <a:fillRect/>
          </a:stretch>
        </p:blipFill>
        <p:spPr bwMode="auto">
          <a:xfrm>
            <a:off x="203147" y="152400"/>
            <a:ext cx="1574390" cy="1066800"/>
          </a:xfrm>
          <a:prstGeom prst="rect">
            <a:avLst/>
          </a:prstGeom>
          <a:noFill/>
          <a:ln w="9525">
            <a:noFill/>
            <a:miter lim="800000"/>
            <a:headEnd/>
            <a:tailEnd/>
          </a:ln>
        </p:spPr>
      </p:pic>
      <p:sp>
        <p:nvSpPr>
          <p:cNvPr id="2" name="Espace réservé du numéro de diapositive 1"/>
          <p:cNvSpPr>
            <a:spLocks noGrp="1"/>
          </p:cNvSpPr>
          <p:nvPr>
            <p:ph type="sldNum" sz="quarter" idx="12"/>
          </p:nvPr>
        </p:nvSpPr>
        <p:spPr/>
        <p:txBody>
          <a:bodyPr/>
          <a:lstStyle/>
          <a:p>
            <a:fld id="{C2F52289-4012-4053-9770-FE82CEB9514F}" type="slidenum">
              <a:rPr lang="en-US" smtClean="0"/>
              <a:pPr/>
              <a:t>56</a:t>
            </a:fld>
            <a:endParaRPr lang="en-US"/>
          </a:p>
        </p:txBody>
      </p:sp>
    </p:spTree>
    <p:extLst>
      <p:ext uri="{BB962C8B-B14F-4D97-AF65-F5344CB8AC3E}">
        <p14:creationId xmlns:p14="http://schemas.microsoft.com/office/powerpoint/2010/main" val="26735746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82588" y="228600"/>
            <a:ext cx="11963400" cy="1371600"/>
          </a:xfrm>
        </p:spPr>
        <p:txBody>
          <a:bodyPr>
            <a:normAutofit fontScale="90000"/>
          </a:bodyPr>
          <a:lstStyle/>
          <a:p>
            <a:r>
              <a:rPr lang="fr-FR" dirty="0"/>
              <a:t>KPI : </a:t>
            </a:r>
            <a:br>
              <a:rPr lang="fr-FR" dirty="0"/>
            </a:br>
            <a:r>
              <a:rPr lang="fr-FR" dirty="0"/>
              <a:t>Critères &gt;&gt; indicateurs &gt;&gt; coefficient </a:t>
            </a:r>
          </a:p>
        </p:txBody>
      </p:sp>
      <p:graphicFrame>
        <p:nvGraphicFramePr>
          <p:cNvPr id="4" name="Diagramme 3"/>
          <p:cNvGraphicFramePr/>
          <p:nvPr>
            <p:extLst>
              <p:ext uri="{D42A27DB-BD31-4B8C-83A1-F6EECF244321}">
                <p14:modId xmlns:p14="http://schemas.microsoft.com/office/powerpoint/2010/main" val="2086610736"/>
              </p:ext>
            </p:extLst>
          </p:nvPr>
        </p:nvGraphicFramePr>
        <p:xfrm>
          <a:off x="0" y="2612773"/>
          <a:ext cx="12268200" cy="4274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u numéro de diapositive 2"/>
          <p:cNvSpPr>
            <a:spLocks noGrp="1"/>
          </p:cNvSpPr>
          <p:nvPr>
            <p:ph type="sldNum" sz="quarter" idx="12"/>
          </p:nvPr>
        </p:nvSpPr>
        <p:spPr/>
        <p:txBody>
          <a:bodyPr/>
          <a:lstStyle/>
          <a:p>
            <a:fld id="{C9F2E319-0919-499D-AD1F-7963255D1003}" type="slidenum">
              <a:rPr lang="id-ID" smtClean="0"/>
              <a:t>57</a:t>
            </a:fld>
            <a:endParaRPr lang="id-ID"/>
          </a:p>
        </p:txBody>
      </p:sp>
    </p:spTree>
    <p:extLst>
      <p:ext uri="{BB962C8B-B14F-4D97-AF65-F5344CB8AC3E}">
        <p14:creationId xmlns:p14="http://schemas.microsoft.com/office/powerpoint/2010/main" val="10191980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446212" y="304800"/>
            <a:ext cx="9141619" cy="795823"/>
          </a:xfrm>
        </p:spPr>
        <p:txBody>
          <a:bodyPr>
            <a:normAutofit fontScale="90000"/>
          </a:bodyPr>
          <a:lstStyle/>
          <a:p>
            <a:r>
              <a:rPr lang="fr-FR" dirty="0"/>
              <a:t>Implémenter </a:t>
            </a:r>
          </a:p>
        </p:txBody>
      </p:sp>
      <p:sp>
        <p:nvSpPr>
          <p:cNvPr id="3" name="Sous-titre 2"/>
          <p:cNvSpPr>
            <a:spLocks noGrp="1"/>
          </p:cNvSpPr>
          <p:nvPr>
            <p:ph type="subTitle" idx="1"/>
          </p:nvPr>
        </p:nvSpPr>
        <p:spPr>
          <a:xfrm>
            <a:off x="2130424" y="1905000"/>
            <a:ext cx="4038600" cy="1655762"/>
          </a:xfrm>
          <a:ln>
            <a:solidFill>
              <a:schemeClr val="tx1"/>
            </a:solidFill>
          </a:ln>
        </p:spPr>
        <p:txBody>
          <a:bodyPr>
            <a:normAutofit fontScale="70000" lnSpcReduction="20000"/>
          </a:bodyPr>
          <a:lstStyle/>
          <a:p>
            <a:r>
              <a:rPr lang="fr-FR" sz="3100" dirty="0"/>
              <a:t>Qualité :</a:t>
            </a:r>
          </a:p>
          <a:p>
            <a:r>
              <a:rPr lang="fr-FR" dirty="0"/>
              <a:t> </a:t>
            </a:r>
          </a:p>
          <a:p>
            <a:pPr algn="l"/>
            <a:r>
              <a:rPr lang="fr-FR" dirty="0"/>
              <a:t>1-Nombre de Marchandises conforme </a:t>
            </a:r>
            <a:r>
              <a:rPr lang="fr-FR" b="1" dirty="0"/>
              <a:t>/ </a:t>
            </a:r>
            <a:r>
              <a:rPr lang="fr-FR" dirty="0"/>
              <a:t>total de marchandises Réceptionnée </a:t>
            </a:r>
          </a:p>
          <a:p>
            <a:pPr algn="l"/>
            <a:r>
              <a:rPr lang="fr-FR" dirty="0"/>
              <a:t>2- les certifications </a:t>
            </a:r>
          </a:p>
        </p:txBody>
      </p:sp>
      <p:pic>
        <p:nvPicPr>
          <p:cNvPr id="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83" t="22336" r="24919" b="13525"/>
          <a:stretch/>
        </p:blipFill>
        <p:spPr bwMode="auto">
          <a:xfrm>
            <a:off x="150812" y="1524000"/>
            <a:ext cx="1979612" cy="1752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graphicFrame>
        <p:nvGraphicFramePr>
          <p:cNvPr id="6" name="Graphique 5"/>
          <p:cNvGraphicFramePr>
            <a:graphicFrameLocks/>
          </p:cNvGraphicFramePr>
          <p:nvPr>
            <p:extLst>
              <p:ext uri="{D42A27DB-BD31-4B8C-83A1-F6EECF244321}">
                <p14:modId xmlns:p14="http://schemas.microsoft.com/office/powerpoint/2010/main" val="1172122383"/>
              </p:ext>
            </p:extLst>
          </p:nvPr>
        </p:nvGraphicFramePr>
        <p:xfrm>
          <a:off x="-228600" y="3581400"/>
          <a:ext cx="2817812" cy="3037408"/>
        </p:xfrm>
        <a:graphic>
          <a:graphicData uri="http://schemas.openxmlformats.org/drawingml/2006/chart">
            <c:chart xmlns:c="http://schemas.openxmlformats.org/drawingml/2006/chart" xmlns:r="http://schemas.openxmlformats.org/officeDocument/2006/relationships" r:id="rId4"/>
          </a:graphicData>
        </a:graphic>
      </p:graphicFrame>
      <p:sp>
        <p:nvSpPr>
          <p:cNvPr id="8" name="Sous-titre 2"/>
          <p:cNvSpPr txBox="1">
            <a:spLocks/>
          </p:cNvSpPr>
          <p:nvPr/>
        </p:nvSpPr>
        <p:spPr>
          <a:xfrm>
            <a:off x="2589212" y="4495800"/>
            <a:ext cx="3962400" cy="1655762"/>
          </a:xfrm>
          <a:prstGeom prst="rect">
            <a:avLst/>
          </a:prstGeom>
          <a:ln>
            <a:solidFill>
              <a:schemeClr val="tx1"/>
            </a:solidFill>
          </a:ln>
        </p:spPr>
        <p:txBody>
          <a:bodyPr vert="horz" lIns="117208" tIns="58604" rIns="117208" bIns="58604" rtlCol="0">
            <a:normAutofit fontScale="92500" lnSpcReduction="20000"/>
          </a:bodyPr>
          <a:lstStyle>
            <a:lvl1pPr marL="0" indent="0" algn="ctr" defTabSz="1172078" rtl="0" eaLnBrk="1" latinLnBrk="0" hangingPunct="1">
              <a:spcBef>
                <a:spcPct val="20000"/>
              </a:spcBef>
              <a:buFont typeface="Arial" pitchFamily="34" charset="0"/>
              <a:buNone/>
              <a:defRPr sz="2399" kern="1200">
                <a:solidFill>
                  <a:schemeClr val="tx1"/>
                </a:solidFill>
                <a:latin typeface="+mn-lt"/>
                <a:ea typeface="+mn-ea"/>
                <a:cs typeface="+mn-cs"/>
              </a:defRPr>
            </a:lvl1pPr>
            <a:lvl2pPr marL="457063" indent="0" algn="ctr" defTabSz="1172078" rtl="0" eaLnBrk="1" latinLnBrk="0" hangingPunct="1">
              <a:spcBef>
                <a:spcPct val="20000"/>
              </a:spcBef>
              <a:buFont typeface="Arial" pitchFamily="34" charset="0"/>
              <a:buNone/>
              <a:defRPr sz="1999" kern="1200">
                <a:solidFill>
                  <a:schemeClr val="tx1"/>
                </a:solidFill>
                <a:latin typeface="+mn-lt"/>
                <a:ea typeface="+mn-ea"/>
                <a:cs typeface="+mn-cs"/>
              </a:defRPr>
            </a:lvl2pPr>
            <a:lvl3pPr marL="914126" indent="0" algn="ctr" defTabSz="1172078" rtl="0" eaLnBrk="1" latinLnBrk="0" hangingPunct="1">
              <a:spcBef>
                <a:spcPct val="20000"/>
              </a:spcBef>
              <a:buFont typeface="Arial" pitchFamily="34" charset="0"/>
              <a:buNone/>
              <a:defRPr sz="1799" kern="1200">
                <a:solidFill>
                  <a:schemeClr val="tx1"/>
                </a:solidFill>
                <a:latin typeface="+mn-lt"/>
                <a:ea typeface="+mn-ea"/>
                <a:cs typeface="+mn-cs"/>
              </a:defRPr>
            </a:lvl3pPr>
            <a:lvl4pPr marL="1371189"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4pPr>
            <a:lvl5pPr marL="1828251"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5pPr>
            <a:lvl6pPr marL="2285314"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6pPr>
            <a:lvl7pPr marL="2742377"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7pPr>
            <a:lvl8pPr marL="3199440"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8pPr>
            <a:lvl9pPr marL="3656503"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9pPr>
          </a:lstStyle>
          <a:p>
            <a:r>
              <a:rPr lang="fr-FR" dirty="0"/>
              <a:t>Quantité :</a:t>
            </a:r>
          </a:p>
          <a:p>
            <a:pPr algn="l"/>
            <a:r>
              <a:rPr lang="fr-FR" dirty="0"/>
              <a:t> </a:t>
            </a:r>
          </a:p>
          <a:p>
            <a:pPr algn="l"/>
            <a:r>
              <a:rPr lang="fr-FR" dirty="0"/>
              <a:t>1- Nb de marchandises reçue </a:t>
            </a:r>
            <a:r>
              <a:rPr lang="fr-FR" b="1" dirty="0"/>
              <a:t>/ </a:t>
            </a:r>
            <a:r>
              <a:rPr lang="fr-FR" dirty="0"/>
              <a:t>Nb de Marchandises commandée </a:t>
            </a:r>
          </a:p>
          <a:p>
            <a:pPr algn="l"/>
            <a:endParaRPr lang="fr-FR" dirty="0"/>
          </a:p>
          <a:p>
            <a:pPr algn="l"/>
            <a:endParaRPr lang="fr-FR" dirty="0"/>
          </a:p>
        </p:txBody>
      </p:sp>
      <p:graphicFrame>
        <p:nvGraphicFramePr>
          <p:cNvPr id="9" name="Graphique 8"/>
          <p:cNvGraphicFramePr>
            <a:graphicFrameLocks/>
          </p:cNvGraphicFramePr>
          <p:nvPr>
            <p:extLst>
              <p:ext uri="{D42A27DB-BD31-4B8C-83A1-F6EECF244321}">
                <p14:modId xmlns:p14="http://schemas.microsoft.com/office/powerpoint/2010/main" val="3376704790"/>
              </p:ext>
            </p:extLst>
          </p:nvPr>
        </p:nvGraphicFramePr>
        <p:xfrm>
          <a:off x="7389812" y="1700460"/>
          <a:ext cx="3741634" cy="279534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p:cNvSpPr/>
          <p:nvPr/>
        </p:nvSpPr>
        <p:spPr>
          <a:xfrm>
            <a:off x="10818811" y="1253553"/>
            <a:ext cx="1133475" cy="1097482"/>
          </a:xfrm>
          <a:prstGeom prst="rect">
            <a:avLst/>
          </a:prstGeom>
          <a:blipFill dpi="0" rotWithShape="1">
            <a:blip r:embed="rId6" cstate="print">
              <a:extLst>
                <a:ext uri="{28A0092B-C50C-407E-A947-70E740481C1C}">
                  <a14:useLocalDpi xmlns:a14="http://schemas.microsoft.com/office/drawing/2010/main" val="0"/>
                </a:ext>
              </a:extLst>
            </a:blip>
            <a:srcRect/>
            <a:stretch>
              <a:fillRect l="-13453" t="-211054" r="-159310" b="-21134"/>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Sous-titre 2"/>
          <p:cNvSpPr txBox="1">
            <a:spLocks/>
          </p:cNvSpPr>
          <p:nvPr/>
        </p:nvSpPr>
        <p:spPr>
          <a:xfrm>
            <a:off x="7466012" y="4495800"/>
            <a:ext cx="4343400" cy="1905000"/>
          </a:xfrm>
          <a:prstGeom prst="rect">
            <a:avLst/>
          </a:prstGeom>
          <a:ln>
            <a:solidFill>
              <a:schemeClr val="tx1"/>
            </a:solidFill>
          </a:ln>
        </p:spPr>
        <p:txBody>
          <a:bodyPr vert="horz" lIns="117208" tIns="58604" rIns="117208" bIns="58604" rtlCol="0">
            <a:normAutofit fontScale="70000" lnSpcReduction="20000"/>
          </a:bodyPr>
          <a:lstStyle>
            <a:lvl1pPr marL="0" indent="0" algn="ctr" defTabSz="1172078" rtl="0" eaLnBrk="1" latinLnBrk="0" hangingPunct="1">
              <a:spcBef>
                <a:spcPct val="20000"/>
              </a:spcBef>
              <a:buFont typeface="Arial" pitchFamily="34" charset="0"/>
              <a:buNone/>
              <a:defRPr sz="2399" kern="1200">
                <a:solidFill>
                  <a:schemeClr val="tx1"/>
                </a:solidFill>
                <a:latin typeface="+mn-lt"/>
                <a:ea typeface="+mn-ea"/>
                <a:cs typeface="+mn-cs"/>
              </a:defRPr>
            </a:lvl1pPr>
            <a:lvl2pPr marL="457063" indent="0" algn="ctr" defTabSz="1172078" rtl="0" eaLnBrk="1" latinLnBrk="0" hangingPunct="1">
              <a:spcBef>
                <a:spcPct val="20000"/>
              </a:spcBef>
              <a:buFont typeface="Arial" pitchFamily="34" charset="0"/>
              <a:buNone/>
              <a:defRPr sz="1999" kern="1200">
                <a:solidFill>
                  <a:schemeClr val="tx1"/>
                </a:solidFill>
                <a:latin typeface="+mn-lt"/>
                <a:ea typeface="+mn-ea"/>
                <a:cs typeface="+mn-cs"/>
              </a:defRPr>
            </a:lvl2pPr>
            <a:lvl3pPr marL="914126" indent="0" algn="ctr" defTabSz="1172078" rtl="0" eaLnBrk="1" latinLnBrk="0" hangingPunct="1">
              <a:spcBef>
                <a:spcPct val="20000"/>
              </a:spcBef>
              <a:buFont typeface="Arial" pitchFamily="34" charset="0"/>
              <a:buNone/>
              <a:defRPr sz="1799" kern="1200">
                <a:solidFill>
                  <a:schemeClr val="tx1"/>
                </a:solidFill>
                <a:latin typeface="+mn-lt"/>
                <a:ea typeface="+mn-ea"/>
                <a:cs typeface="+mn-cs"/>
              </a:defRPr>
            </a:lvl3pPr>
            <a:lvl4pPr marL="1371189"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4pPr>
            <a:lvl5pPr marL="1828251"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5pPr>
            <a:lvl6pPr marL="2285314"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6pPr>
            <a:lvl7pPr marL="2742377"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7pPr>
            <a:lvl8pPr marL="3199440"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8pPr>
            <a:lvl9pPr marL="3656503" indent="0" algn="ctr" defTabSz="1172078" rtl="0" eaLnBrk="1" latinLnBrk="0" hangingPunct="1">
              <a:spcBef>
                <a:spcPct val="20000"/>
              </a:spcBef>
              <a:buFont typeface="Arial" pitchFamily="34" charset="0"/>
              <a:buNone/>
              <a:defRPr sz="1600" kern="1200">
                <a:solidFill>
                  <a:schemeClr val="tx1"/>
                </a:solidFill>
                <a:latin typeface="+mn-lt"/>
                <a:ea typeface="+mn-ea"/>
                <a:cs typeface="+mn-cs"/>
              </a:defRPr>
            </a:lvl9pPr>
          </a:lstStyle>
          <a:p>
            <a:r>
              <a:rPr lang="fr-FR" sz="3500" dirty="0"/>
              <a:t>Délai :</a:t>
            </a:r>
          </a:p>
          <a:p>
            <a:pPr algn="l"/>
            <a:r>
              <a:rPr lang="fr-FR" dirty="0"/>
              <a:t> </a:t>
            </a:r>
          </a:p>
          <a:p>
            <a:pPr algn="l"/>
            <a:r>
              <a:rPr lang="fr-FR" dirty="0"/>
              <a:t>1-Délai de livraison réel / délai de livraison souhaité</a:t>
            </a:r>
          </a:p>
          <a:p>
            <a:pPr algn="l"/>
            <a:r>
              <a:rPr lang="fr-FR" dirty="0"/>
              <a:t>2- Nb de documents livrés conformes avec la marchandises </a:t>
            </a:r>
            <a:r>
              <a:rPr lang="fr-FR" b="1" dirty="0"/>
              <a:t>/</a:t>
            </a:r>
            <a:r>
              <a:rPr lang="fr-FR" dirty="0"/>
              <a:t> nombre total de Marchandises commandée    </a:t>
            </a:r>
          </a:p>
        </p:txBody>
      </p:sp>
      <p:sp>
        <p:nvSpPr>
          <p:cNvPr id="12" name="Rectangle 11"/>
          <p:cNvSpPr/>
          <p:nvPr/>
        </p:nvSpPr>
        <p:spPr>
          <a:xfrm>
            <a:off x="5278201" y="1100623"/>
            <a:ext cx="1160557" cy="1250412"/>
          </a:xfrm>
          <a:prstGeom prst="rect">
            <a:avLst/>
          </a:prstGeom>
          <a:blipFill>
            <a:blip r:embed="rId7">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Rectangle 12"/>
          <p:cNvSpPr/>
          <p:nvPr/>
        </p:nvSpPr>
        <p:spPr>
          <a:xfrm>
            <a:off x="5713412" y="3943416"/>
            <a:ext cx="1161426" cy="1028833"/>
          </a:xfrm>
          <a:prstGeom prst="rect">
            <a:avLst/>
          </a:prstGeom>
          <a:blipFill>
            <a:blip r:embed="rId8" cstate="print">
              <a:extLst>
                <a:ext uri="{28A0092B-C50C-407E-A947-70E740481C1C}">
                  <a14:useLocalDpi xmlns:a14="http://schemas.microsoft.com/office/drawing/2010/main" val="0"/>
                </a:ext>
              </a:extLst>
            </a:blip>
            <a:srcRect/>
            <a:stretch>
              <a:fillRect t="-9000" b="-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4" name="Rectangle 13"/>
          <p:cNvSpPr/>
          <p:nvPr/>
        </p:nvSpPr>
        <p:spPr>
          <a:xfrm>
            <a:off x="8075612" y="89011"/>
            <a:ext cx="1494664" cy="1218257"/>
          </a:xfrm>
          <a:prstGeom prst="rect">
            <a:avLst/>
          </a:prstGeom>
          <a:blipFill>
            <a:blip r:embed="rId9">
              <a:extLst>
                <a:ext uri="{28A0092B-C50C-407E-A947-70E740481C1C}">
                  <a14:useLocalDpi xmlns:a14="http://schemas.microsoft.com/office/drawing/2010/main" val="0"/>
                </a:ext>
              </a:extLst>
            </a:blip>
            <a:srcRect/>
            <a:stretch>
              <a:fillRect l="-8000" r="-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 name="Espace réservé du numéro de diapositive 4"/>
          <p:cNvSpPr>
            <a:spLocks noGrp="1"/>
          </p:cNvSpPr>
          <p:nvPr>
            <p:ph type="sldNum" sz="quarter" idx="12"/>
          </p:nvPr>
        </p:nvSpPr>
        <p:spPr/>
        <p:txBody>
          <a:bodyPr/>
          <a:lstStyle/>
          <a:p>
            <a:fld id="{C9F2E319-0919-499D-AD1F-7963255D1003}" type="slidenum">
              <a:rPr lang="id-ID" smtClean="0"/>
              <a:t>58</a:t>
            </a:fld>
            <a:endParaRPr lang="id-ID"/>
          </a:p>
        </p:txBody>
      </p:sp>
    </p:spTree>
    <p:extLst>
      <p:ext uri="{BB962C8B-B14F-4D97-AF65-F5344CB8AC3E}">
        <p14:creationId xmlns:p14="http://schemas.microsoft.com/office/powerpoint/2010/main" val="32510392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044220" y="1612568"/>
            <a:ext cx="2324100" cy="329685"/>
          </a:xfrm>
          <a:prstGeom prst="rect">
            <a:avLst/>
          </a:prstGeom>
          <a:solidFill>
            <a:srgbClr val="00B050"/>
          </a:solidFill>
          <a:ln>
            <a:solidFill>
              <a:srgbClr val="00B050"/>
            </a:solidFill>
          </a:ln>
        </p:spPr>
        <p:style>
          <a:lnRef idx="0">
            <a:schemeClr val="dk1"/>
          </a:lnRef>
          <a:fillRef idx="3">
            <a:schemeClr val="dk1"/>
          </a:fillRef>
          <a:effectRef idx="3">
            <a:schemeClr val="dk1"/>
          </a:effectRef>
          <a:fontRef idx="minor">
            <a:schemeClr val="lt1"/>
          </a:fontRef>
        </p:style>
        <p:txBody>
          <a:bodyPr lIns="121899" tIns="60949" rIns="121899" bIns="60949" rtlCol="0" anchor="ctr"/>
          <a:lstStyle/>
          <a:p>
            <a:r>
              <a:rPr lang="fr-FR" sz="2000" dirty="0"/>
              <a:t> Matière Première </a:t>
            </a:r>
          </a:p>
        </p:txBody>
      </p:sp>
      <p:sp>
        <p:nvSpPr>
          <p:cNvPr id="4" name="Rectangle 3"/>
          <p:cNvSpPr/>
          <p:nvPr/>
        </p:nvSpPr>
        <p:spPr>
          <a:xfrm>
            <a:off x="10209212" y="2108010"/>
            <a:ext cx="1979613" cy="787590"/>
          </a:xfrm>
          <a:prstGeom prst="rect">
            <a:avLst/>
          </a:prstGeom>
          <a:solidFill>
            <a:srgbClr val="FFC000"/>
          </a:solidFill>
          <a:ln>
            <a:solidFill>
              <a:srgbClr val="FFC000"/>
            </a:solidFill>
          </a:ln>
        </p:spPr>
        <p:style>
          <a:lnRef idx="0">
            <a:schemeClr val="dk1"/>
          </a:lnRef>
          <a:fillRef idx="3">
            <a:schemeClr val="dk1"/>
          </a:fillRef>
          <a:effectRef idx="3">
            <a:schemeClr val="dk1"/>
          </a:effectRef>
          <a:fontRef idx="minor">
            <a:schemeClr val="lt1"/>
          </a:fontRef>
        </p:style>
        <p:txBody>
          <a:bodyPr lIns="121899" tIns="60949" rIns="121899" bIns="60949" rtlCol="0" anchor="ctr"/>
          <a:lstStyle/>
          <a:p>
            <a:pPr algn="ctr"/>
            <a:r>
              <a:rPr lang="fr-FR" dirty="0"/>
              <a:t>Achats indirects </a:t>
            </a:r>
          </a:p>
        </p:txBody>
      </p:sp>
      <p:sp>
        <p:nvSpPr>
          <p:cNvPr id="5" name="Rectangle 4"/>
          <p:cNvSpPr/>
          <p:nvPr/>
        </p:nvSpPr>
        <p:spPr>
          <a:xfrm>
            <a:off x="5309729" y="3733800"/>
            <a:ext cx="2078277" cy="480054"/>
          </a:xfrm>
          <a:prstGeom prst="rect">
            <a:avLst/>
          </a:prstGeom>
        </p:spPr>
        <p:style>
          <a:lnRef idx="0">
            <a:schemeClr val="dk1"/>
          </a:lnRef>
          <a:fillRef idx="3">
            <a:schemeClr val="dk1"/>
          </a:fillRef>
          <a:effectRef idx="3">
            <a:schemeClr val="dk1"/>
          </a:effectRef>
          <a:fontRef idx="minor">
            <a:schemeClr val="lt1"/>
          </a:fontRef>
        </p:style>
        <p:txBody>
          <a:bodyPr lIns="121899" tIns="60949" rIns="121899" bIns="60949" rtlCol="0" anchor="ctr"/>
          <a:lstStyle/>
          <a:p>
            <a:r>
              <a:rPr lang="fr-FR" sz="1600" dirty="0"/>
              <a:t>Matière Emballage </a:t>
            </a:r>
          </a:p>
        </p:txBody>
      </p:sp>
      <p:pic>
        <p:nvPicPr>
          <p:cNvPr id="6" name="Image 5"/>
          <p:cNvPicPr>
            <a:picLocks noChangeAspect="1"/>
          </p:cNvPicPr>
          <p:nvPr/>
        </p:nvPicPr>
        <p:blipFill rotWithShape="1">
          <a:blip r:embed="rId2"/>
          <a:srcRect l="9190" t="8987" r="5201" b="6629"/>
          <a:stretch/>
        </p:blipFill>
        <p:spPr>
          <a:xfrm>
            <a:off x="7466012" y="1765042"/>
            <a:ext cx="2743200" cy="2829275"/>
          </a:xfrm>
          <a:prstGeom prst="rect">
            <a:avLst/>
          </a:prstGeom>
        </p:spPr>
      </p:pic>
      <p:sp>
        <p:nvSpPr>
          <p:cNvPr id="7" name="ZoneTexte 6"/>
          <p:cNvSpPr txBox="1"/>
          <p:nvPr/>
        </p:nvSpPr>
        <p:spPr>
          <a:xfrm>
            <a:off x="1674812" y="551765"/>
            <a:ext cx="7696200" cy="646331"/>
          </a:xfrm>
          <a:prstGeom prst="rect">
            <a:avLst/>
          </a:prstGeom>
          <a:noFill/>
        </p:spPr>
        <p:txBody>
          <a:bodyPr wrap="square" rtlCol="0">
            <a:spAutoFit/>
          </a:bodyPr>
          <a:lstStyle/>
          <a:p>
            <a:r>
              <a:rPr lang="fr-FR" sz="3600" dirty="0"/>
              <a:t>Types des achats : </a:t>
            </a:r>
          </a:p>
        </p:txBody>
      </p:sp>
      <p:sp>
        <p:nvSpPr>
          <p:cNvPr id="8" name="Rectangle 7"/>
          <p:cNvSpPr/>
          <p:nvPr/>
        </p:nvSpPr>
        <p:spPr>
          <a:xfrm>
            <a:off x="531813" y="1319408"/>
            <a:ext cx="4038600" cy="4262705"/>
          </a:xfrm>
          <a:prstGeom prst="rect">
            <a:avLst/>
          </a:prstGeom>
        </p:spPr>
        <p:txBody>
          <a:bodyPr wrap="square">
            <a:spAutoFit/>
          </a:bodyPr>
          <a:lstStyle/>
          <a:p>
            <a:pPr marL="342900" lvl="0" indent="-342900">
              <a:buFontTx/>
              <a:buChar char="-"/>
            </a:pPr>
            <a:r>
              <a:rPr lang="fr-FR" sz="2000" dirty="0"/>
              <a:t>Les achats </a:t>
            </a:r>
            <a:r>
              <a:rPr lang="fr-FR" sz="2400" b="1" dirty="0">
                <a:solidFill>
                  <a:srgbClr val="FF0000"/>
                </a:solidFill>
              </a:rPr>
              <a:t>directs</a:t>
            </a:r>
            <a:r>
              <a:rPr lang="fr-FR" sz="2000" dirty="0"/>
              <a:t> : </a:t>
            </a:r>
          </a:p>
          <a:p>
            <a:pPr marL="342900" lvl="0" indent="-342900">
              <a:buFontTx/>
              <a:buChar char="-"/>
            </a:pPr>
            <a:endParaRPr lang="fr-FR" sz="2000" dirty="0"/>
          </a:p>
          <a:p>
            <a:pPr lvl="0" algn="ctr"/>
            <a:r>
              <a:rPr lang="fr-FR" sz="1600" dirty="0"/>
              <a:t>ce sont les achats pour les matières premières et emballages.</a:t>
            </a:r>
          </a:p>
          <a:p>
            <a:pPr lvl="0"/>
            <a:endParaRPr lang="fr-FR" sz="2000" dirty="0"/>
          </a:p>
          <a:p>
            <a:pPr marL="342900" lvl="0" indent="-342900">
              <a:buFontTx/>
              <a:buChar char="-"/>
            </a:pPr>
            <a:r>
              <a:rPr lang="fr-FR" sz="2000" dirty="0"/>
              <a:t>les achats</a:t>
            </a:r>
            <a:r>
              <a:rPr lang="fr-FR" sz="2000" b="1" dirty="0"/>
              <a:t> </a:t>
            </a:r>
            <a:r>
              <a:rPr lang="fr-FR" sz="2400" b="1" dirty="0">
                <a:solidFill>
                  <a:srgbClr val="FF0000"/>
                </a:solidFill>
              </a:rPr>
              <a:t>indirectes</a:t>
            </a:r>
            <a:r>
              <a:rPr lang="fr-FR" sz="2400" dirty="0">
                <a:solidFill>
                  <a:srgbClr val="FF0000"/>
                </a:solidFill>
              </a:rPr>
              <a:t> </a:t>
            </a:r>
            <a:r>
              <a:rPr lang="fr-FR" sz="2000" dirty="0"/>
              <a:t>: </a:t>
            </a:r>
          </a:p>
          <a:p>
            <a:pPr marL="342900" lvl="0" indent="-342900">
              <a:buFontTx/>
              <a:buChar char="-"/>
            </a:pPr>
            <a:endParaRPr lang="fr-FR" sz="2000" dirty="0"/>
          </a:p>
          <a:p>
            <a:pPr lvl="0" algn="ctr"/>
            <a:r>
              <a:rPr lang="fr-FR" sz="1800" dirty="0"/>
              <a:t>pour les achats autres que la matière première et emballages comme : la fourniture de bureau, les roulements, les services, l’informatique, PDR, et autres consommables… tous ce qui est hors les matières premières et emballages. </a:t>
            </a:r>
            <a:r>
              <a:rPr lang="fr-FR" dirty="0"/>
              <a:t> </a:t>
            </a:r>
          </a:p>
        </p:txBody>
      </p:sp>
    </p:spTree>
    <p:extLst>
      <p:ext uri="{BB962C8B-B14F-4D97-AF65-F5344CB8AC3E}">
        <p14:creationId xmlns:p14="http://schemas.microsoft.com/office/powerpoint/2010/main" val="39997221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6616215" y="2023812"/>
            <a:ext cx="5188378" cy="3717517"/>
          </a:xfrm>
        </p:spPr>
        <p:txBody>
          <a:bodyPr>
            <a:noAutofit/>
          </a:bodyPr>
          <a:lstStyle/>
          <a:p>
            <a:pPr marL="0" lvl="0" indent="0">
              <a:buNone/>
            </a:pPr>
            <a:r>
              <a:rPr lang="fr-FR" sz="1400" b="1" dirty="0"/>
              <a:t>Café :</a:t>
            </a:r>
            <a:r>
              <a:rPr lang="fr-FR" sz="1400" b="1" dirty="0">
                <a:solidFill>
                  <a:schemeClr val="accent5">
                    <a:lumMod val="75000"/>
                  </a:schemeClr>
                </a:solidFill>
              </a:rPr>
              <a:t> Nescafé</a:t>
            </a:r>
            <a:endParaRPr lang="fr-FR" sz="1400" dirty="0"/>
          </a:p>
          <a:p>
            <a:pPr marL="0" lvl="0" indent="0">
              <a:buNone/>
            </a:pPr>
            <a:endParaRPr lang="fr-FR" sz="1400" dirty="0"/>
          </a:p>
          <a:p>
            <a:pPr marL="0" lvl="0" indent="0">
              <a:buNone/>
            </a:pPr>
            <a:endParaRPr lang="fr-FR" sz="1400" dirty="0"/>
          </a:p>
          <a:p>
            <a:pPr marL="0" lvl="0" indent="0">
              <a:buNone/>
            </a:pPr>
            <a:endParaRPr lang="fr-FR" sz="1400" dirty="0"/>
          </a:p>
          <a:p>
            <a:pPr marL="0" indent="0">
              <a:buNone/>
            </a:pPr>
            <a:r>
              <a:rPr lang="fr-FR" sz="1400" b="1" dirty="0"/>
              <a:t>Produits culinaires :</a:t>
            </a:r>
            <a:r>
              <a:rPr lang="fr-FR" sz="1400" dirty="0"/>
              <a:t> </a:t>
            </a:r>
            <a:r>
              <a:rPr lang="fr-FR" sz="1400" b="1" dirty="0" err="1">
                <a:solidFill>
                  <a:schemeClr val="accent5">
                    <a:lumMod val="75000"/>
                  </a:schemeClr>
                </a:solidFill>
              </a:rPr>
              <a:t>Cérélac,Maggi</a:t>
            </a:r>
            <a:r>
              <a:rPr lang="fr-FR" sz="1400" dirty="0"/>
              <a:t> </a:t>
            </a:r>
          </a:p>
          <a:p>
            <a:pPr marL="0" lvl="0" indent="0">
              <a:buNone/>
            </a:pPr>
            <a:endParaRPr lang="fr-FR" sz="1400" dirty="0"/>
          </a:p>
          <a:p>
            <a:pPr marL="0" lvl="0" indent="0">
              <a:buNone/>
            </a:pPr>
            <a:endParaRPr lang="fr-FR" sz="1400" b="1" dirty="0">
              <a:solidFill>
                <a:schemeClr val="accent5">
                  <a:lumMod val="75000"/>
                </a:schemeClr>
              </a:solidFill>
            </a:endParaRPr>
          </a:p>
          <a:p>
            <a:pPr marL="0" lvl="0" indent="0">
              <a:buNone/>
            </a:pPr>
            <a:endParaRPr lang="fr-FR" sz="1400" b="1" dirty="0">
              <a:solidFill>
                <a:schemeClr val="accent5">
                  <a:lumMod val="75000"/>
                </a:schemeClr>
              </a:solidFill>
            </a:endParaRPr>
          </a:p>
          <a:p>
            <a:pPr marL="0" lvl="0" indent="0">
              <a:buNone/>
            </a:pPr>
            <a:endParaRPr lang="fr-FR" sz="1400" b="1" dirty="0">
              <a:solidFill>
                <a:schemeClr val="accent5">
                  <a:lumMod val="75000"/>
                </a:schemeClr>
              </a:solidFill>
            </a:endParaRPr>
          </a:p>
          <a:p>
            <a:pPr marL="0" indent="0">
              <a:buNone/>
            </a:pPr>
            <a:r>
              <a:rPr lang="fr-FR" sz="1400" b="1" dirty="0"/>
              <a:t>Produit laitiers : </a:t>
            </a:r>
            <a:r>
              <a:rPr lang="fr-FR" sz="1400" b="1" dirty="0">
                <a:solidFill>
                  <a:schemeClr val="accent5">
                    <a:lumMod val="75000"/>
                  </a:schemeClr>
                </a:solidFill>
              </a:rPr>
              <a:t>NIDO </a:t>
            </a:r>
          </a:p>
        </p:txBody>
      </p:sp>
      <p:sp>
        <p:nvSpPr>
          <p:cNvPr id="8" name="Title 2"/>
          <p:cNvSpPr txBox="1">
            <a:spLocks/>
          </p:cNvSpPr>
          <p:nvPr/>
        </p:nvSpPr>
        <p:spPr>
          <a:xfrm>
            <a:off x="-611188" y="1369542"/>
            <a:ext cx="7227457" cy="445972"/>
          </a:xfrm>
          <a:prstGeom prst="rect">
            <a:avLst/>
          </a:prstGeom>
        </p:spPr>
        <p:txBody>
          <a:bodyPr vert="horz" lIns="91416" tIns="45708" rIns="91416" bIns="45708" rtlCol="0" anchor="ctr">
            <a:noAutofit/>
          </a:bodyPr>
          <a:lstStyle/>
          <a:p>
            <a:pPr lvl="0" algn="ctr">
              <a:spcBef>
                <a:spcPct val="0"/>
              </a:spcBef>
              <a:defRPr/>
            </a:pPr>
            <a:r>
              <a:rPr lang="en-US" sz="2400" b="1" dirty="0">
                <a:latin typeface="Open Sans Extrabold" panose="020B0906030804020204" pitchFamily="34" charset="0"/>
                <a:ea typeface="Open Sans Extrabold" panose="020B0906030804020204" pitchFamily="34" charset="0"/>
                <a:cs typeface="Open Sans Extrabold" panose="020B0906030804020204" pitchFamily="34" charset="0"/>
              </a:rPr>
              <a:t>PRODUITS FINIS </a:t>
            </a:r>
          </a:p>
        </p:txBody>
      </p:sp>
      <p:pic>
        <p:nvPicPr>
          <p:cNvPr id="3" name="Espace réservé pour une image  2"/>
          <p:cNvPicPr>
            <a:picLocks noGrp="1" noChangeAspect="1"/>
          </p:cNvPicPr>
          <p:nvPr>
            <p:ph type="pic" sz="quarter" idx="22"/>
          </p:nvPr>
        </p:nvPicPr>
        <p:blipFill>
          <a:blip r:embed="rId2">
            <a:extLst>
              <a:ext uri="{28A0092B-C50C-407E-A947-70E740481C1C}">
                <a14:useLocalDpi xmlns:a14="http://schemas.microsoft.com/office/drawing/2010/main" val="0"/>
              </a:ext>
            </a:extLst>
          </a:blip>
          <a:srcRect t="14330" b="14330"/>
          <a:stretch>
            <a:fillRect/>
          </a:stretch>
        </p:blipFill>
        <p:spPr>
          <a:xfrm>
            <a:off x="2203099" y="1970844"/>
            <a:ext cx="4145022" cy="2218342"/>
          </a:xfrm>
          <a:prstGeom prst="rect">
            <a:avLst/>
          </a:prstGeom>
          <a:ln>
            <a:noFill/>
          </a:ln>
          <a:effectLst>
            <a:outerShdw blurRad="292100" dist="139700" dir="2700000" algn="tl" rotWithShape="0">
              <a:srgbClr val="333333">
                <a:alpha val="65000"/>
              </a:srgbClr>
            </a:outerShdw>
          </a:effectLst>
        </p:spPr>
      </p:pic>
      <p:pic>
        <p:nvPicPr>
          <p:cNvPr id="14" name="Image 13"/>
          <p:cNvPicPr/>
          <p:nvPr/>
        </p:nvPicPr>
        <p:blipFill rotWithShape="1">
          <a:blip r:embed="rId3">
            <a:extLst>
              <a:ext uri="{28A0092B-C50C-407E-A947-70E740481C1C}">
                <a14:useLocalDpi xmlns:a14="http://schemas.microsoft.com/office/drawing/2010/main" val="0"/>
              </a:ext>
            </a:extLst>
          </a:blip>
          <a:srcRect l="17002" r="69951" b="93157"/>
          <a:stretch/>
        </p:blipFill>
        <p:spPr bwMode="auto">
          <a:xfrm>
            <a:off x="10377609" y="4114800"/>
            <a:ext cx="1037493" cy="762000"/>
          </a:xfrm>
          <a:prstGeom prst="rect">
            <a:avLst/>
          </a:prstGeom>
          <a:noFill/>
          <a:ln>
            <a:noFill/>
          </a:ln>
        </p:spPr>
      </p:pic>
      <p:pic>
        <p:nvPicPr>
          <p:cNvPr id="16" name="Image 15"/>
          <p:cNvPicPr/>
          <p:nvPr/>
        </p:nvPicPr>
        <p:blipFill rotWithShape="1">
          <a:blip r:embed="rId3">
            <a:extLst>
              <a:ext uri="{28A0092B-C50C-407E-A947-70E740481C1C}">
                <a14:useLocalDpi xmlns:a14="http://schemas.microsoft.com/office/drawing/2010/main" val="0"/>
              </a:ext>
            </a:extLst>
          </a:blip>
          <a:srcRect l="21488" t="85286" r="64446" b="-1"/>
          <a:stretch/>
        </p:blipFill>
        <p:spPr bwMode="auto">
          <a:xfrm>
            <a:off x="10133012" y="2514601"/>
            <a:ext cx="1266093" cy="1367970"/>
          </a:xfrm>
          <a:prstGeom prst="rect">
            <a:avLst/>
          </a:prstGeom>
          <a:noFill/>
          <a:ln>
            <a:noFill/>
          </a:ln>
        </p:spPr>
      </p:pic>
      <p:pic>
        <p:nvPicPr>
          <p:cNvPr id="17" name="Image 16"/>
          <p:cNvPicPr/>
          <p:nvPr/>
        </p:nvPicPr>
        <p:blipFill rotWithShape="1">
          <a:blip r:embed="rId3">
            <a:extLst>
              <a:ext uri="{28A0092B-C50C-407E-A947-70E740481C1C}">
                <a14:useLocalDpi xmlns:a14="http://schemas.microsoft.com/office/drawing/2010/main" val="0"/>
              </a:ext>
            </a:extLst>
          </a:blip>
          <a:srcRect l="17981" t="67899" r="64039" b="25301"/>
          <a:stretch/>
        </p:blipFill>
        <p:spPr bwMode="auto">
          <a:xfrm>
            <a:off x="9447212" y="1752600"/>
            <a:ext cx="1967890" cy="990599"/>
          </a:xfrm>
          <a:prstGeom prst="rect">
            <a:avLst/>
          </a:prstGeom>
          <a:noFill/>
          <a:ln>
            <a:noFill/>
          </a:ln>
        </p:spPr>
      </p:pic>
      <p:graphicFrame>
        <p:nvGraphicFramePr>
          <p:cNvPr id="26" name="Diagramme 54"/>
          <p:cNvGraphicFramePr/>
          <p:nvPr>
            <p:extLst>
              <p:ext uri="{D42A27DB-BD31-4B8C-83A1-F6EECF244321}">
                <p14:modId xmlns:p14="http://schemas.microsoft.com/office/powerpoint/2010/main" val="2478895484"/>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7" name="Arrondir un rectangle avec un coin diagonal 26"/>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29" name="Rectangle 28"/>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30" name="Rectangle 29"/>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31" name="Rectangle 30"/>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32" name="Rectangle 31"/>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 </a:t>
            </a:r>
          </a:p>
        </p:txBody>
      </p:sp>
      <p:sp>
        <p:nvSpPr>
          <p:cNvPr id="33" name="Rectangle 32"/>
          <p:cNvSpPr/>
          <p:nvPr/>
        </p:nvSpPr>
        <p:spPr>
          <a:xfrm>
            <a:off x="-1588" y="43217"/>
            <a:ext cx="2345736" cy="566383"/>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33"/>
                                        </p:tgtEl>
                                        <p:attrNameLst>
                                          <p:attrName>style.color</p:attrName>
                                        </p:attrNameLst>
                                      </p:cBhvr>
                                      <p:by>
                                        <p:hsl h="0" s="-12549" l="-25098"/>
                                      </p:by>
                                    </p:animClr>
                                    <p:animClr clrSpc="hsl" dir="cw">
                                      <p:cBhvr>
                                        <p:cTn id="7" dur="500" fill="hold"/>
                                        <p:tgtEl>
                                          <p:spTgt spid="33"/>
                                        </p:tgtEl>
                                        <p:attrNameLst>
                                          <p:attrName>fillcolor</p:attrName>
                                        </p:attrNameLst>
                                      </p:cBhvr>
                                      <p:by>
                                        <p:hsl h="0" s="-12549" l="-25098"/>
                                      </p:by>
                                    </p:animClr>
                                    <p:animClr clrSpc="hsl" dir="cw">
                                      <p:cBhvr>
                                        <p:cTn id="8" dur="500" fill="hold"/>
                                        <p:tgtEl>
                                          <p:spTgt spid="33"/>
                                        </p:tgtEl>
                                        <p:attrNameLst>
                                          <p:attrName>stroke.color</p:attrName>
                                        </p:attrNameLst>
                                      </p:cBhvr>
                                      <p:by>
                                        <p:hsl h="0" s="-12549" l="-25098"/>
                                      </p:by>
                                    </p:animClr>
                                    <p:set>
                                      <p:cBhvr>
                                        <p:cTn id="9" dur="500" fill="hold"/>
                                        <p:tgtEl>
                                          <p:spTgt spid="3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rotWithShape="1">
          <a:gsLst>
            <a:gs pos="0">
              <a:srgbClr val="5E9EFF"/>
            </a:gs>
            <a:gs pos="39999">
              <a:srgbClr val="85C2FF"/>
            </a:gs>
            <a:gs pos="70000">
              <a:srgbClr val="C4D6EB"/>
            </a:gs>
            <a:gs pos="100000">
              <a:srgbClr val="FFEBFA"/>
            </a:gs>
          </a:gsLst>
          <a:lin ang="5400000" scaled="0"/>
        </a:gradFill>
        <a:effectLst/>
      </p:bgPr>
    </p:bg>
    <p:spTree>
      <p:nvGrpSpPr>
        <p:cNvPr id="1" name=""/>
        <p:cNvGrpSpPr/>
        <p:nvPr/>
      </p:nvGrpSpPr>
      <p:grpSpPr>
        <a:xfrm>
          <a:off x="0" y="0"/>
          <a:ext cx="0" cy="0"/>
          <a:chOff x="0" y="0"/>
          <a:chExt cx="0" cy="0"/>
        </a:xfrm>
      </p:grpSpPr>
      <p:sp>
        <p:nvSpPr>
          <p:cNvPr id="2" name="Rectangle 1"/>
          <p:cNvSpPr/>
          <p:nvPr/>
        </p:nvSpPr>
        <p:spPr>
          <a:xfrm>
            <a:off x="2251227"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C</a:t>
            </a:r>
            <a:endParaRPr lang="en-US" sz="6000" b="1" dirty="0">
              <a:solidFill>
                <a:srgbClr val="C62A27"/>
              </a:solidFill>
            </a:endParaRPr>
          </a:p>
        </p:txBody>
      </p:sp>
      <p:sp>
        <p:nvSpPr>
          <p:cNvPr id="3" name="Rectangle 2"/>
          <p:cNvSpPr/>
          <p:nvPr/>
        </p:nvSpPr>
        <p:spPr>
          <a:xfrm>
            <a:off x="2998344"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o</a:t>
            </a:r>
            <a:endParaRPr lang="en-US" sz="6000" b="1" dirty="0">
              <a:solidFill>
                <a:srgbClr val="C62A27"/>
              </a:solidFill>
            </a:endParaRPr>
          </a:p>
        </p:txBody>
      </p:sp>
      <p:sp>
        <p:nvSpPr>
          <p:cNvPr id="4" name="Rectangle 3"/>
          <p:cNvSpPr/>
          <p:nvPr/>
        </p:nvSpPr>
        <p:spPr>
          <a:xfrm>
            <a:off x="3745462"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n</a:t>
            </a:r>
            <a:endParaRPr lang="en-US" sz="6000" b="1" dirty="0">
              <a:solidFill>
                <a:srgbClr val="C62A27"/>
              </a:solidFill>
            </a:endParaRPr>
          </a:p>
        </p:txBody>
      </p:sp>
      <p:sp>
        <p:nvSpPr>
          <p:cNvPr id="5" name="Rectangle 4"/>
          <p:cNvSpPr/>
          <p:nvPr/>
        </p:nvSpPr>
        <p:spPr>
          <a:xfrm>
            <a:off x="4492579"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t</a:t>
            </a:r>
            <a:endParaRPr lang="en-US" sz="6000" b="1" dirty="0">
              <a:solidFill>
                <a:srgbClr val="C62A27"/>
              </a:solidFill>
            </a:endParaRPr>
          </a:p>
        </p:txBody>
      </p:sp>
      <p:sp>
        <p:nvSpPr>
          <p:cNvPr id="6" name="Rectangle 5"/>
          <p:cNvSpPr/>
          <p:nvPr/>
        </p:nvSpPr>
        <p:spPr>
          <a:xfrm>
            <a:off x="5239696"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e</a:t>
            </a:r>
            <a:endParaRPr lang="en-US" sz="6000" b="1" dirty="0">
              <a:solidFill>
                <a:srgbClr val="C62A27"/>
              </a:solidFill>
            </a:endParaRPr>
          </a:p>
        </p:txBody>
      </p:sp>
      <p:sp>
        <p:nvSpPr>
          <p:cNvPr id="7" name="Rectangle 6"/>
          <p:cNvSpPr/>
          <p:nvPr/>
        </p:nvSpPr>
        <p:spPr>
          <a:xfrm>
            <a:off x="5986814"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x</a:t>
            </a:r>
            <a:endParaRPr lang="en-US" sz="6000" b="1" dirty="0">
              <a:solidFill>
                <a:srgbClr val="C62A27"/>
              </a:solidFill>
            </a:endParaRPr>
          </a:p>
        </p:txBody>
      </p:sp>
      <p:sp>
        <p:nvSpPr>
          <p:cNvPr id="8" name="Rectangle 7"/>
          <p:cNvSpPr/>
          <p:nvPr/>
        </p:nvSpPr>
        <p:spPr>
          <a:xfrm>
            <a:off x="6733931"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t</a:t>
            </a:r>
            <a:endParaRPr lang="en-US" sz="6000" b="1" dirty="0">
              <a:solidFill>
                <a:srgbClr val="C62A27"/>
              </a:solidFill>
            </a:endParaRPr>
          </a:p>
        </p:txBody>
      </p:sp>
      <p:sp>
        <p:nvSpPr>
          <p:cNvPr id="9" name="Rectangle 8"/>
          <p:cNvSpPr/>
          <p:nvPr/>
        </p:nvSpPr>
        <p:spPr>
          <a:xfrm>
            <a:off x="7481049" y="2815663"/>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e</a:t>
            </a:r>
            <a:endParaRPr lang="en-US" sz="6000" b="1" dirty="0">
              <a:solidFill>
                <a:srgbClr val="C62A27"/>
              </a:solidFill>
            </a:endParaRPr>
          </a:p>
        </p:txBody>
      </p:sp>
      <p:sp>
        <p:nvSpPr>
          <p:cNvPr id="14" name="Rectangle 13"/>
          <p:cNvSpPr/>
          <p:nvPr/>
        </p:nvSpPr>
        <p:spPr>
          <a:xfrm>
            <a:off x="5282838"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G</a:t>
            </a:r>
            <a:endParaRPr lang="en-US" sz="6000" b="1" dirty="0">
              <a:solidFill>
                <a:srgbClr val="C62A27"/>
              </a:solidFill>
            </a:endParaRPr>
          </a:p>
        </p:txBody>
      </p:sp>
      <p:sp>
        <p:nvSpPr>
          <p:cNvPr id="15" name="Rectangle 14"/>
          <p:cNvSpPr/>
          <p:nvPr/>
        </p:nvSpPr>
        <p:spPr>
          <a:xfrm>
            <a:off x="6029957"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é</a:t>
            </a:r>
            <a:endParaRPr lang="en-US" sz="6000" b="1" dirty="0">
              <a:solidFill>
                <a:srgbClr val="C62A27"/>
              </a:solidFill>
            </a:endParaRPr>
          </a:p>
        </p:txBody>
      </p:sp>
      <p:sp>
        <p:nvSpPr>
          <p:cNvPr id="16" name="Rectangle 15"/>
          <p:cNvSpPr/>
          <p:nvPr/>
        </p:nvSpPr>
        <p:spPr>
          <a:xfrm>
            <a:off x="6777074"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n</a:t>
            </a:r>
            <a:endParaRPr lang="en-US" sz="6000" b="1" dirty="0">
              <a:solidFill>
                <a:srgbClr val="C62A27"/>
              </a:solidFill>
            </a:endParaRPr>
          </a:p>
        </p:txBody>
      </p:sp>
      <p:sp>
        <p:nvSpPr>
          <p:cNvPr id="17" name="Rectangle 16"/>
          <p:cNvSpPr/>
          <p:nvPr/>
        </p:nvSpPr>
        <p:spPr>
          <a:xfrm>
            <a:off x="7524191"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é</a:t>
            </a:r>
            <a:endParaRPr lang="en-US" sz="6000" b="1" dirty="0">
              <a:solidFill>
                <a:srgbClr val="C62A27"/>
              </a:solidFill>
            </a:endParaRPr>
          </a:p>
        </p:txBody>
      </p:sp>
      <p:sp>
        <p:nvSpPr>
          <p:cNvPr id="18" name="Rectangle 17"/>
          <p:cNvSpPr/>
          <p:nvPr/>
        </p:nvSpPr>
        <p:spPr>
          <a:xfrm>
            <a:off x="8271309"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r</a:t>
            </a:r>
            <a:endParaRPr lang="en-US" sz="6000" b="1" dirty="0">
              <a:solidFill>
                <a:srgbClr val="C62A27"/>
              </a:solidFill>
            </a:endParaRPr>
          </a:p>
        </p:txBody>
      </p:sp>
      <p:sp>
        <p:nvSpPr>
          <p:cNvPr id="19" name="Rectangle 18"/>
          <p:cNvSpPr/>
          <p:nvPr/>
        </p:nvSpPr>
        <p:spPr>
          <a:xfrm>
            <a:off x="9018427"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a</a:t>
            </a:r>
            <a:endParaRPr lang="en-US" sz="6000" b="1" dirty="0">
              <a:solidFill>
                <a:srgbClr val="C62A27"/>
              </a:solidFill>
            </a:endParaRPr>
          </a:p>
        </p:txBody>
      </p:sp>
      <p:sp>
        <p:nvSpPr>
          <p:cNvPr id="20" name="Rectangle 19"/>
          <p:cNvSpPr/>
          <p:nvPr/>
        </p:nvSpPr>
        <p:spPr>
          <a:xfrm>
            <a:off x="9765545" y="3765688"/>
            <a:ext cx="703976" cy="704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rgbClr val="C62A27"/>
                </a:solidFill>
                <a:latin typeface="Source Sans Pro" pitchFamily="34" charset="0"/>
              </a:rPr>
              <a:t>l</a:t>
            </a:r>
            <a:endParaRPr lang="en-US" sz="6000" b="1" dirty="0">
              <a:solidFill>
                <a:srgbClr val="C62A27"/>
              </a:solidFill>
            </a:endParaRPr>
          </a:p>
        </p:txBody>
      </p:sp>
    </p:spTree>
    <p:extLst>
      <p:ext uri="{BB962C8B-B14F-4D97-AF65-F5344CB8AC3E}">
        <p14:creationId xmlns:p14="http://schemas.microsoft.com/office/powerpoint/2010/main" val="16062177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0"/>
                                  </p:stCondLst>
                                  <p:iterate type="lt">
                                    <p:tmPct val="0"/>
                                  </p:iterate>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2" decel="100000" fill="hold" grpId="0" nodeType="withEffect">
                                  <p:stCondLst>
                                    <p:cond delay="250"/>
                                  </p:stCondLst>
                                  <p:iterate type="lt">
                                    <p:tmPct val="0"/>
                                  </p:iterate>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2" decel="100000" fill="hold" grpId="0" nodeType="withEffect">
                                  <p:stCondLst>
                                    <p:cond delay="500"/>
                                  </p:stCondLst>
                                  <p:iterate type="lt">
                                    <p:tmPct val="0"/>
                                  </p:iterate>
                                  <p:childTnLst>
                                    <p:set>
                                      <p:cBhvr>
                                        <p:cTn id="14" dur="1" fill="hold">
                                          <p:stCondLst>
                                            <p:cond delay="0"/>
                                          </p:stCondLst>
                                        </p:cTn>
                                        <p:tgtEl>
                                          <p:spTgt spid="5"/>
                                        </p:tgtEl>
                                        <p:attrNameLst>
                                          <p:attrName>style.visibility</p:attrName>
                                        </p:attrNameLst>
                                      </p:cBhvr>
                                      <p:to>
                                        <p:strVal val="visible"/>
                                      </p:to>
                                    </p:set>
                                    <p:anim calcmode="lin" valueType="num">
                                      <p:cBhvr additive="base">
                                        <p:cTn id="15" dur="750" fill="hold"/>
                                        <p:tgtEl>
                                          <p:spTgt spid="5"/>
                                        </p:tgtEl>
                                        <p:attrNameLst>
                                          <p:attrName>ppt_x</p:attrName>
                                        </p:attrNameLst>
                                      </p:cBhvr>
                                      <p:tavLst>
                                        <p:tav tm="0">
                                          <p:val>
                                            <p:strVal val="0-#ppt_w/2"/>
                                          </p:val>
                                        </p:tav>
                                        <p:tav tm="100000">
                                          <p:val>
                                            <p:strVal val="#ppt_x"/>
                                          </p:val>
                                        </p:tav>
                                      </p:tavLst>
                                    </p:anim>
                                    <p:anim calcmode="lin" valueType="num">
                                      <p:cBhvr additive="base">
                                        <p:cTn id="16" dur="75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12" decel="100000" fill="hold" grpId="0" nodeType="withEffect">
                                  <p:stCondLst>
                                    <p:cond delay="750"/>
                                  </p:stCondLst>
                                  <p:iterate type="lt">
                                    <p:tmPct val="0"/>
                                  </p:iterate>
                                  <p:childTnLst>
                                    <p:set>
                                      <p:cBhvr>
                                        <p:cTn id="18" dur="1" fill="hold">
                                          <p:stCondLst>
                                            <p:cond delay="0"/>
                                          </p:stCondLst>
                                        </p:cTn>
                                        <p:tgtEl>
                                          <p:spTgt spid="4"/>
                                        </p:tgtEl>
                                        <p:attrNameLst>
                                          <p:attrName>style.visibility</p:attrName>
                                        </p:attrNameLst>
                                      </p:cBhvr>
                                      <p:to>
                                        <p:strVal val="visible"/>
                                      </p:to>
                                    </p:set>
                                    <p:anim calcmode="lin" valueType="num">
                                      <p:cBhvr additive="base">
                                        <p:cTn id="19" dur="750" fill="hold"/>
                                        <p:tgtEl>
                                          <p:spTgt spid="4"/>
                                        </p:tgtEl>
                                        <p:attrNameLst>
                                          <p:attrName>ppt_x</p:attrName>
                                        </p:attrNameLst>
                                      </p:cBhvr>
                                      <p:tavLst>
                                        <p:tav tm="0">
                                          <p:val>
                                            <p:strVal val="0-#ppt_w/2"/>
                                          </p:val>
                                        </p:tav>
                                        <p:tav tm="100000">
                                          <p:val>
                                            <p:strVal val="#ppt_x"/>
                                          </p:val>
                                        </p:tav>
                                      </p:tavLst>
                                    </p:anim>
                                    <p:anim calcmode="lin" valueType="num">
                                      <p:cBhvr additive="base">
                                        <p:cTn id="20" dur="750" fill="hold"/>
                                        <p:tgtEl>
                                          <p:spTgt spid="4"/>
                                        </p:tgtEl>
                                        <p:attrNameLst>
                                          <p:attrName>ppt_y</p:attrName>
                                        </p:attrNameLst>
                                      </p:cBhvr>
                                      <p:tavLst>
                                        <p:tav tm="0">
                                          <p:val>
                                            <p:strVal val="1+#ppt_h/2"/>
                                          </p:val>
                                        </p:tav>
                                        <p:tav tm="100000">
                                          <p:val>
                                            <p:strVal val="#ppt_y"/>
                                          </p:val>
                                        </p:tav>
                                      </p:tavLst>
                                    </p:anim>
                                  </p:childTnLst>
                                </p:cTn>
                              </p:par>
                              <p:par>
                                <p:cTn id="21" presetID="2" presetClass="entr" presetSubtype="12" decel="100000" fill="hold" grpId="0" nodeType="withEffect">
                                  <p:stCondLst>
                                    <p:cond delay="1000"/>
                                  </p:stCondLst>
                                  <p:iterate type="lt">
                                    <p:tmPct val="0"/>
                                  </p:iterate>
                                  <p:childTnLst>
                                    <p:set>
                                      <p:cBhvr>
                                        <p:cTn id="22" dur="1" fill="hold">
                                          <p:stCondLst>
                                            <p:cond delay="0"/>
                                          </p:stCondLst>
                                        </p:cTn>
                                        <p:tgtEl>
                                          <p:spTgt spid="3"/>
                                        </p:tgtEl>
                                        <p:attrNameLst>
                                          <p:attrName>style.visibility</p:attrName>
                                        </p:attrNameLst>
                                      </p:cBhvr>
                                      <p:to>
                                        <p:strVal val="visible"/>
                                      </p:to>
                                    </p:set>
                                    <p:anim calcmode="lin" valueType="num">
                                      <p:cBhvr additive="base">
                                        <p:cTn id="23" dur="750" fill="hold"/>
                                        <p:tgtEl>
                                          <p:spTgt spid="3"/>
                                        </p:tgtEl>
                                        <p:attrNameLst>
                                          <p:attrName>ppt_x</p:attrName>
                                        </p:attrNameLst>
                                      </p:cBhvr>
                                      <p:tavLst>
                                        <p:tav tm="0">
                                          <p:val>
                                            <p:strVal val="0-#ppt_w/2"/>
                                          </p:val>
                                        </p:tav>
                                        <p:tav tm="100000">
                                          <p:val>
                                            <p:strVal val="#ppt_x"/>
                                          </p:val>
                                        </p:tav>
                                      </p:tavLst>
                                    </p:anim>
                                    <p:anim calcmode="lin" valueType="num">
                                      <p:cBhvr additive="base">
                                        <p:cTn id="24" dur="750" fill="hold"/>
                                        <p:tgtEl>
                                          <p:spTgt spid="3"/>
                                        </p:tgtEl>
                                        <p:attrNameLst>
                                          <p:attrName>ppt_y</p:attrName>
                                        </p:attrNameLst>
                                      </p:cBhvr>
                                      <p:tavLst>
                                        <p:tav tm="0">
                                          <p:val>
                                            <p:strVal val="1+#ppt_h/2"/>
                                          </p:val>
                                        </p:tav>
                                        <p:tav tm="100000">
                                          <p:val>
                                            <p:strVal val="#ppt_y"/>
                                          </p:val>
                                        </p:tav>
                                      </p:tavLst>
                                    </p:anim>
                                  </p:childTnLst>
                                </p:cTn>
                              </p:par>
                              <p:par>
                                <p:cTn id="25" presetID="2" presetClass="entr" presetSubtype="12" decel="100000" fill="hold" grpId="0" nodeType="withEffect">
                                  <p:stCondLst>
                                    <p:cond delay="1250"/>
                                  </p:stCondLst>
                                  <p:iterate type="lt">
                                    <p:tmPct val="0"/>
                                  </p:iterate>
                                  <p:childTnLst>
                                    <p:set>
                                      <p:cBhvr>
                                        <p:cTn id="26" dur="1" fill="hold">
                                          <p:stCondLst>
                                            <p:cond delay="0"/>
                                          </p:stCondLst>
                                        </p:cTn>
                                        <p:tgtEl>
                                          <p:spTgt spid="2"/>
                                        </p:tgtEl>
                                        <p:attrNameLst>
                                          <p:attrName>style.visibility</p:attrName>
                                        </p:attrNameLst>
                                      </p:cBhvr>
                                      <p:to>
                                        <p:strVal val="visible"/>
                                      </p:to>
                                    </p:set>
                                    <p:anim calcmode="lin" valueType="num">
                                      <p:cBhvr additive="base">
                                        <p:cTn id="27" dur="750" fill="hold"/>
                                        <p:tgtEl>
                                          <p:spTgt spid="2"/>
                                        </p:tgtEl>
                                        <p:attrNameLst>
                                          <p:attrName>ppt_x</p:attrName>
                                        </p:attrNameLst>
                                      </p:cBhvr>
                                      <p:tavLst>
                                        <p:tav tm="0">
                                          <p:val>
                                            <p:strVal val="0-#ppt_w/2"/>
                                          </p:val>
                                        </p:tav>
                                        <p:tav tm="100000">
                                          <p:val>
                                            <p:strVal val="#ppt_x"/>
                                          </p:val>
                                        </p:tav>
                                      </p:tavLst>
                                    </p:anim>
                                    <p:anim calcmode="lin" valueType="num">
                                      <p:cBhvr additive="base">
                                        <p:cTn id="28" dur="750" fill="hold"/>
                                        <p:tgtEl>
                                          <p:spTgt spid="2"/>
                                        </p:tgtEl>
                                        <p:attrNameLst>
                                          <p:attrName>ppt_y</p:attrName>
                                        </p:attrNameLst>
                                      </p:cBhvr>
                                      <p:tavLst>
                                        <p:tav tm="0">
                                          <p:val>
                                            <p:strVal val="1+#ppt_h/2"/>
                                          </p:val>
                                        </p:tav>
                                        <p:tav tm="100000">
                                          <p:val>
                                            <p:strVal val="#ppt_y"/>
                                          </p:val>
                                        </p:tav>
                                      </p:tavLst>
                                    </p:anim>
                                  </p:childTnLst>
                                </p:cTn>
                              </p:par>
                              <p:par>
                                <p:cTn id="29" presetID="2" presetClass="entr" presetSubtype="3" decel="100000" fill="hold" grpId="0" nodeType="withEffect">
                                  <p:stCondLst>
                                    <p:cond delay="0"/>
                                  </p:stCondLst>
                                  <p:iterate type="lt">
                                    <p:tmPct val="0"/>
                                  </p:iterate>
                                  <p:childTnLst>
                                    <p:set>
                                      <p:cBhvr>
                                        <p:cTn id="30" dur="1" fill="hold">
                                          <p:stCondLst>
                                            <p:cond delay="0"/>
                                          </p:stCondLst>
                                        </p:cTn>
                                        <p:tgtEl>
                                          <p:spTgt spid="8"/>
                                        </p:tgtEl>
                                        <p:attrNameLst>
                                          <p:attrName>style.visibility</p:attrName>
                                        </p:attrNameLst>
                                      </p:cBhvr>
                                      <p:to>
                                        <p:strVal val="visible"/>
                                      </p:to>
                                    </p:set>
                                    <p:anim calcmode="lin" valueType="num">
                                      <p:cBhvr additive="base">
                                        <p:cTn id="31" dur="750" fill="hold"/>
                                        <p:tgtEl>
                                          <p:spTgt spid="8"/>
                                        </p:tgtEl>
                                        <p:attrNameLst>
                                          <p:attrName>ppt_x</p:attrName>
                                        </p:attrNameLst>
                                      </p:cBhvr>
                                      <p:tavLst>
                                        <p:tav tm="0">
                                          <p:val>
                                            <p:strVal val="1+#ppt_w/2"/>
                                          </p:val>
                                        </p:tav>
                                        <p:tav tm="100000">
                                          <p:val>
                                            <p:strVal val="#ppt_x"/>
                                          </p:val>
                                        </p:tav>
                                      </p:tavLst>
                                    </p:anim>
                                    <p:anim calcmode="lin" valueType="num">
                                      <p:cBhvr additive="base">
                                        <p:cTn id="32" dur="750" fill="hold"/>
                                        <p:tgtEl>
                                          <p:spTgt spid="8"/>
                                        </p:tgtEl>
                                        <p:attrNameLst>
                                          <p:attrName>ppt_y</p:attrName>
                                        </p:attrNameLst>
                                      </p:cBhvr>
                                      <p:tavLst>
                                        <p:tav tm="0">
                                          <p:val>
                                            <p:strVal val="0-#ppt_h/2"/>
                                          </p:val>
                                        </p:tav>
                                        <p:tav tm="100000">
                                          <p:val>
                                            <p:strVal val="#ppt_y"/>
                                          </p:val>
                                        </p:tav>
                                      </p:tavLst>
                                    </p:anim>
                                  </p:childTnLst>
                                </p:cTn>
                              </p:par>
                              <p:par>
                                <p:cTn id="33" presetID="2" presetClass="entr" presetSubtype="3" decel="100000" fill="hold" grpId="0" nodeType="withEffect">
                                  <p:stCondLst>
                                    <p:cond delay="250"/>
                                  </p:stCondLst>
                                  <p:iterate type="lt">
                                    <p:tmPct val="0"/>
                                  </p:iterate>
                                  <p:childTnLst>
                                    <p:set>
                                      <p:cBhvr>
                                        <p:cTn id="34" dur="1" fill="hold">
                                          <p:stCondLst>
                                            <p:cond delay="0"/>
                                          </p:stCondLst>
                                        </p:cTn>
                                        <p:tgtEl>
                                          <p:spTgt spid="9"/>
                                        </p:tgtEl>
                                        <p:attrNameLst>
                                          <p:attrName>style.visibility</p:attrName>
                                        </p:attrNameLst>
                                      </p:cBhvr>
                                      <p:to>
                                        <p:strVal val="visible"/>
                                      </p:to>
                                    </p:set>
                                    <p:anim calcmode="lin" valueType="num">
                                      <p:cBhvr additive="base">
                                        <p:cTn id="35" dur="750" fill="hold"/>
                                        <p:tgtEl>
                                          <p:spTgt spid="9"/>
                                        </p:tgtEl>
                                        <p:attrNameLst>
                                          <p:attrName>ppt_x</p:attrName>
                                        </p:attrNameLst>
                                      </p:cBhvr>
                                      <p:tavLst>
                                        <p:tav tm="0">
                                          <p:val>
                                            <p:strVal val="1+#ppt_w/2"/>
                                          </p:val>
                                        </p:tav>
                                        <p:tav tm="100000">
                                          <p:val>
                                            <p:strVal val="#ppt_x"/>
                                          </p:val>
                                        </p:tav>
                                      </p:tavLst>
                                    </p:anim>
                                    <p:anim calcmode="lin" valueType="num">
                                      <p:cBhvr additive="base">
                                        <p:cTn id="36" dur="750" fill="hold"/>
                                        <p:tgtEl>
                                          <p:spTgt spid="9"/>
                                        </p:tgtEl>
                                        <p:attrNameLst>
                                          <p:attrName>ppt_y</p:attrName>
                                        </p:attrNameLst>
                                      </p:cBhvr>
                                      <p:tavLst>
                                        <p:tav tm="0">
                                          <p:val>
                                            <p:strVal val="0-#ppt_h/2"/>
                                          </p:val>
                                        </p:tav>
                                        <p:tav tm="100000">
                                          <p:val>
                                            <p:strVal val="#ppt_y"/>
                                          </p:val>
                                        </p:tav>
                                      </p:tavLst>
                                    </p:anim>
                                  </p:childTnLst>
                                </p:cTn>
                              </p:par>
                              <p:par>
                                <p:cTn id="37" presetID="2" presetClass="entr" presetSubtype="3" decel="100000" fill="hold" grpId="0" nodeType="withEffect">
                                  <p:stCondLst>
                                    <p:cond delay="500"/>
                                  </p:stCondLst>
                                  <p:iterate type="lt">
                                    <p:tmPct val="0"/>
                                  </p:iterate>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750" fill="hold"/>
                                        <p:tgtEl>
                                          <p:spTgt spid="14"/>
                                        </p:tgtEl>
                                        <p:attrNameLst>
                                          <p:attrName>ppt_x</p:attrName>
                                        </p:attrNameLst>
                                      </p:cBhvr>
                                      <p:tavLst>
                                        <p:tav tm="0">
                                          <p:val>
                                            <p:strVal val="1+#ppt_w/2"/>
                                          </p:val>
                                        </p:tav>
                                        <p:tav tm="100000">
                                          <p:val>
                                            <p:strVal val="#ppt_x"/>
                                          </p:val>
                                        </p:tav>
                                      </p:tavLst>
                                    </p:anim>
                                    <p:anim calcmode="lin" valueType="num">
                                      <p:cBhvr additive="base">
                                        <p:cTn id="40" dur="750" fill="hold"/>
                                        <p:tgtEl>
                                          <p:spTgt spid="14"/>
                                        </p:tgtEl>
                                        <p:attrNameLst>
                                          <p:attrName>ppt_y</p:attrName>
                                        </p:attrNameLst>
                                      </p:cBhvr>
                                      <p:tavLst>
                                        <p:tav tm="0">
                                          <p:val>
                                            <p:strVal val="0-#ppt_h/2"/>
                                          </p:val>
                                        </p:tav>
                                        <p:tav tm="100000">
                                          <p:val>
                                            <p:strVal val="#ppt_y"/>
                                          </p:val>
                                        </p:tav>
                                      </p:tavLst>
                                    </p:anim>
                                  </p:childTnLst>
                                </p:cTn>
                              </p:par>
                              <p:par>
                                <p:cTn id="41" presetID="2" presetClass="entr" presetSubtype="3" decel="100000" fill="hold" grpId="0" nodeType="withEffect">
                                  <p:stCondLst>
                                    <p:cond delay="750"/>
                                  </p:stCondLst>
                                  <p:iterate type="lt">
                                    <p:tmPct val="0"/>
                                  </p:iterate>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750" fill="hold"/>
                                        <p:tgtEl>
                                          <p:spTgt spid="15"/>
                                        </p:tgtEl>
                                        <p:attrNameLst>
                                          <p:attrName>ppt_x</p:attrName>
                                        </p:attrNameLst>
                                      </p:cBhvr>
                                      <p:tavLst>
                                        <p:tav tm="0">
                                          <p:val>
                                            <p:strVal val="1+#ppt_w/2"/>
                                          </p:val>
                                        </p:tav>
                                        <p:tav tm="100000">
                                          <p:val>
                                            <p:strVal val="#ppt_x"/>
                                          </p:val>
                                        </p:tav>
                                      </p:tavLst>
                                    </p:anim>
                                    <p:anim calcmode="lin" valueType="num">
                                      <p:cBhvr additive="base">
                                        <p:cTn id="44" dur="750" fill="hold"/>
                                        <p:tgtEl>
                                          <p:spTgt spid="15"/>
                                        </p:tgtEl>
                                        <p:attrNameLst>
                                          <p:attrName>ppt_y</p:attrName>
                                        </p:attrNameLst>
                                      </p:cBhvr>
                                      <p:tavLst>
                                        <p:tav tm="0">
                                          <p:val>
                                            <p:strVal val="0-#ppt_h/2"/>
                                          </p:val>
                                        </p:tav>
                                        <p:tav tm="100000">
                                          <p:val>
                                            <p:strVal val="#ppt_y"/>
                                          </p:val>
                                        </p:tav>
                                      </p:tavLst>
                                    </p:anim>
                                  </p:childTnLst>
                                </p:cTn>
                              </p:par>
                              <p:par>
                                <p:cTn id="45" presetID="2" presetClass="entr" presetSubtype="3" decel="100000" fill="hold" grpId="0" nodeType="withEffect">
                                  <p:stCondLst>
                                    <p:cond delay="1000"/>
                                  </p:stCondLst>
                                  <p:iterate type="lt">
                                    <p:tmPct val="0"/>
                                  </p:iterate>
                                  <p:childTnLst>
                                    <p:set>
                                      <p:cBhvr>
                                        <p:cTn id="46" dur="1" fill="hold">
                                          <p:stCondLst>
                                            <p:cond delay="0"/>
                                          </p:stCondLst>
                                        </p:cTn>
                                        <p:tgtEl>
                                          <p:spTgt spid="16"/>
                                        </p:tgtEl>
                                        <p:attrNameLst>
                                          <p:attrName>style.visibility</p:attrName>
                                        </p:attrNameLst>
                                      </p:cBhvr>
                                      <p:to>
                                        <p:strVal val="visible"/>
                                      </p:to>
                                    </p:set>
                                    <p:anim calcmode="lin" valueType="num">
                                      <p:cBhvr additive="base">
                                        <p:cTn id="47" dur="750" fill="hold"/>
                                        <p:tgtEl>
                                          <p:spTgt spid="16"/>
                                        </p:tgtEl>
                                        <p:attrNameLst>
                                          <p:attrName>ppt_x</p:attrName>
                                        </p:attrNameLst>
                                      </p:cBhvr>
                                      <p:tavLst>
                                        <p:tav tm="0">
                                          <p:val>
                                            <p:strVal val="1+#ppt_w/2"/>
                                          </p:val>
                                        </p:tav>
                                        <p:tav tm="100000">
                                          <p:val>
                                            <p:strVal val="#ppt_x"/>
                                          </p:val>
                                        </p:tav>
                                      </p:tavLst>
                                    </p:anim>
                                    <p:anim calcmode="lin" valueType="num">
                                      <p:cBhvr additive="base">
                                        <p:cTn id="48" dur="750" fill="hold"/>
                                        <p:tgtEl>
                                          <p:spTgt spid="16"/>
                                        </p:tgtEl>
                                        <p:attrNameLst>
                                          <p:attrName>ppt_y</p:attrName>
                                        </p:attrNameLst>
                                      </p:cBhvr>
                                      <p:tavLst>
                                        <p:tav tm="0">
                                          <p:val>
                                            <p:strVal val="0-#ppt_h/2"/>
                                          </p:val>
                                        </p:tav>
                                        <p:tav tm="100000">
                                          <p:val>
                                            <p:strVal val="#ppt_y"/>
                                          </p:val>
                                        </p:tav>
                                      </p:tavLst>
                                    </p:anim>
                                  </p:childTnLst>
                                </p:cTn>
                              </p:par>
                              <p:par>
                                <p:cTn id="49" presetID="2" presetClass="entr" presetSubtype="3" decel="100000" fill="hold" grpId="0" nodeType="withEffect">
                                  <p:stCondLst>
                                    <p:cond delay="1250"/>
                                  </p:stCondLst>
                                  <p:iterate type="lt">
                                    <p:tmPct val="0"/>
                                  </p:iterate>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750" fill="hold"/>
                                        <p:tgtEl>
                                          <p:spTgt spid="17"/>
                                        </p:tgtEl>
                                        <p:attrNameLst>
                                          <p:attrName>ppt_x</p:attrName>
                                        </p:attrNameLst>
                                      </p:cBhvr>
                                      <p:tavLst>
                                        <p:tav tm="0">
                                          <p:val>
                                            <p:strVal val="1+#ppt_w/2"/>
                                          </p:val>
                                        </p:tav>
                                        <p:tav tm="100000">
                                          <p:val>
                                            <p:strVal val="#ppt_x"/>
                                          </p:val>
                                        </p:tav>
                                      </p:tavLst>
                                    </p:anim>
                                    <p:anim calcmode="lin" valueType="num">
                                      <p:cBhvr additive="base">
                                        <p:cTn id="52" dur="750" fill="hold"/>
                                        <p:tgtEl>
                                          <p:spTgt spid="17"/>
                                        </p:tgtEl>
                                        <p:attrNameLst>
                                          <p:attrName>ppt_y</p:attrName>
                                        </p:attrNameLst>
                                      </p:cBhvr>
                                      <p:tavLst>
                                        <p:tav tm="0">
                                          <p:val>
                                            <p:strVal val="0-#ppt_h/2"/>
                                          </p:val>
                                        </p:tav>
                                        <p:tav tm="100000">
                                          <p:val>
                                            <p:strVal val="#ppt_y"/>
                                          </p:val>
                                        </p:tav>
                                      </p:tavLst>
                                    </p:anim>
                                  </p:childTnLst>
                                </p:cTn>
                              </p:par>
                              <p:par>
                                <p:cTn id="53" presetID="2" presetClass="entr" presetSubtype="3" decel="100000" fill="hold" grpId="0" nodeType="withEffect">
                                  <p:stCondLst>
                                    <p:cond delay="500"/>
                                  </p:stCondLst>
                                  <p:iterate type="lt">
                                    <p:tmPct val="0"/>
                                  </p:iterate>
                                  <p:childTnLst>
                                    <p:set>
                                      <p:cBhvr>
                                        <p:cTn id="54" dur="1" fill="hold">
                                          <p:stCondLst>
                                            <p:cond delay="0"/>
                                          </p:stCondLst>
                                        </p:cTn>
                                        <p:tgtEl>
                                          <p:spTgt spid="18"/>
                                        </p:tgtEl>
                                        <p:attrNameLst>
                                          <p:attrName>style.visibility</p:attrName>
                                        </p:attrNameLst>
                                      </p:cBhvr>
                                      <p:to>
                                        <p:strVal val="visible"/>
                                      </p:to>
                                    </p:set>
                                    <p:anim calcmode="lin" valueType="num">
                                      <p:cBhvr additive="base">
                                        <p:cTn id="55" dur="750" fill="hold"/>
                                        <p:tgtEl>
                                          <p:spTgt spid="18"/>
                                        </p:tgtEl>
                                        <p:attrNameLst>
                                          <p:attrName>ppt_x</p:attrName>
                                        </p:attrNameLst>
                                      </p:cBhvr>
                                      <p:tavLst>
                                        <p:tav tm="0">
                                          <p:val>
                                            <p:strVal val="1+#ppt_w/2"/>
                                          </p:val>
                                        </p:tav>
                                        <p:tav tm="100000">
                                          <p:val>
                                            <p:strVal val="#ppt_x"/>
                                          </p:val>
                                        </p:tav>
                                      </p:tavLst>
                                    </p:anim>
                                    <p:anim calcmode="lin" valueType="num">
                                      <p:cBhvr additive="base">
                                        <p:cTn id="56" dur="750" fill="hold"/>
                                        <p:tgtEl>
                                          <p:spTgt spid="18"/>
                                        </p:tgtEl>
                                        <p:attrNameLst>
                                          <p:attrName>ppt_y</p:attrName>
                                        </p:attrNameLst>
                                      </p:cBhvr>
                                      <p:tavLst>
                                        <p:tav tm="0">
                                          <p:val>
                                            <p:strVal val="0-#ppt_h/2"/>
                                          </p:val>
                                        </p:tav>
                                        <p:tav tm="100000">
                                          <p:val>
                                            <p:strVal val="#ppt_y"/>
                                          </p:val>
                                        </p:tav>
                                      </p:tavLst>
                                    </p:anim>
                                  </p:childTnLst>
                                </p:cTn>
                              </p:par>
                              <p:par>
                                <p:cTn id="57" presetID="2" presetClass="entr" presetSubtype="3" decel="100000" fill="hold" grpId="0" nodeType="withEffect">
                                  <p:stCondLst>
                                    <p:cond delay="750"/>
                                  </p:stCondLst>
                                  <p:iterate type="lt">
                                    <p:tmPct val="0"/>
                                  </p:iterate>
                                  <p:childTnLst>
                                    <p:set>
                                      <p:cBhvr>
                                        <p:cTn id="58" dur="1" fill="hold">
                                          <p:stCondLst>
                                            <p:cond delay="0"/>
                                          </p:stCondLst>
                                        </p:cTn>
                                        <p:tgtEl>
                                          <p:spTgt spid="19"/>
                                        </p:tgtEl>
                                        <p:attrNameLst>
                                          <p:attrName>style.visibility</p:attrName>
                                        </p:attrNameLst>
                                      </p:cBhvr>
                                      <p:to>
                                        <p:strVal val="visible"/>
                                      </p:to>
                                    </p:set>
                                    <p:anim calcmode="lin" valueType="num">
                                      <p:cBhvr additive="base">
                                        <p:cTn id="59" dur="750" fill="hold"/>
                                        <p:tgtEl>
                                          <p:spTgt spid="19"/>
                                        </p:tgtEl>
                                        <p:attrNameLst>
                                          <p:attrName>ppt_x</p:attrName>
                                        </p:attrNameLst>
                                      </p:cBhvr>
                                      <p:tavLst>
                                        <p:tav tm="0">
                                          <p:val>
                                            <p:strVal val="1+#ppt_w/2"/>
                                          </p:val>
                                        </p:tav>
                                        <p:tav tm="100000">
                                          <p:val>
                                            <p:strVal val="#ppt_x"/>
                                          </p:val>
                                        </p:tav>
                                      </p:tavLst>
                                    </p:anim>
                                    <p:anim calcmode="lin" valueType="num">
                                      <p:cBhvr additive="base">
                                        <p:cTn id="60" dur="750" fill="hold"/>
                                        <p:tgtEl>
                                          <p:spTgt spid="19"/>
                                        </p:tgtEl>
                                        <p:attrNameLst>
                                          <p:attrName>ppt_y</p:attrName>
                                        </p:attrNameLst>
                                      </p:cBhvr>
                                      <p:tavLst>
                                        <p:tav tm="0">
                                          <p:val>
                                            <p:strVal val="0-#ppt_h/2"/>
                                          </p:val>
                                        </p:tav>
                                        <p:tav tm="100000">
                                          <p:val>
                                            <p:strVal val="#ppt_y"/>
                                          </p:val>
                                        </p:tav>
                                      </p:tavLst>
                                    </p:anim>
                                  </p:childTnLst>
                                </p:cTn>
                              </p:par>
                              <p:par>
                                <p:cTn id="61" presetID="2" presetClass="entr" presetSubtype="3" decel="100000" fill="hold" grpId="0" nodeType="withEffect">
                                  <p:stCondLst>
                                    <p:cond delay="1000"/>
                                  </p:stCondLst>
                                  <p:iterate type="lt">
                                    <p:tmPct val="0"/>
                                  </p:iterate>
                                  <p:childTnLst>
                                    <p:set>
                                      <p:cBhvr>
                                        <p:cTn id="62" dur="1" fill="hold">
                                          <p:stCondLst>
                                            <p:cond delay="0"/>
                                          </p:stCondLst>
                                        </p:cTn>
                                        <p:tgtEl>
                                          <p:spTgt spid="20"/>
                                        </p:tgtEl>
                                        <p:attrNameLst>
                                          <p:attrName>style.visibility</p:attrName>
                                        </p:attrNameLst>
                                      </p:cBhvr>
                                      <p:to>
                                        <p:strVal val="visible"/>
                                      </p:to>
                                    </p:set>
                                    <p:anim calcmode="lin" valueType="num">
                                      <p:cBhvr additive="base">
                                        <p:cTn id="63" dur="750" fill="hold"/>
                                        <p:tgtEl>
                                          <p:spTgt spid="20"/>
                                        </p:tgtEl>
                                        <p:attrNameLst>
                                          <p:attrName>ppt_x</p:attrName>
                                        </p:attrNameLst>
                                      </p:cBhvr>
                                      <p:tavLst>
                                        <p:tav tm="0">
                                          <p:val>
                                            <p:strVal val="1+#ppt_w/2"/>
                                          </p:val>
                                        </p:tav>
                                        <p:tav tm="100000">
                                          <p:val>
                                            <p:strVal val="#ppt_x"/>
                                          </p:val>
                                        </p:tav>
                                      </p:tavLst>
                                    </p:anim>
                                    <p:anim calcmode="lin" valueType="num">
                                      <p:cBhvr additive="base">
                                        <p:cTn id="64" dur="75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4" grpId="0" animBg="1"/>
      <p:bldP spid="15" grpId="0" animBg="1"/>
      <p:bldP spid="16" grpId="0" animBg="1"/>
      <p:bldP spid="17" grpId="0" animBg="1"/>
      <p:bldP spid="18" grpId="0" animBg="1"/>
      <p:bldP spid="19"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 name="Group 127"/>
          <p:cNvGrpSpPr/>
          <p:nvPr/>
        </p:nvGrpSpPr>
        <p:grpSpPr>
          <a:xfrm>
            <a:off x="1282881" y="1600327"/>
            <a:ext cx="8425260" cy="3577529"/>
            <a:chOff x="1651079" y="2413983"/>
            <a:chExt cx="8425260" cy="3577529"/>
          </a:xfrm>
        </p:grpSpPr>
        <p:grpSp>
          <p:nvGrpSpPr>
            <p:cNvPr id="80" name="Group 79"/>
            <p:cNvGrpSpPr/>
            <p:nvPr/>
          </p:nvGrpSpPr>
          <p:grpSpPr>
            <a:xfrm>
              <a:off x="8338037" y="4162407"/>
              <a:ext cx="624548" cy="624548"/>
              <a:chOff x="6991758" y="3014288"/>
              <a:chExt cx="624548" cy="624548"/>
            </a:xfrm>
          </p:grpSpPr>
          <p:sp>
            <p:nvSpPr>
              <p:cNvPr id="81" name="Oval 80"/>
              <p:cNvSpPr/>
              <p:nvPr/>
            </p:nvSpPr>
            <p:spPr>
              <a:xfrm>
                <a:off x="6991758" y="3014288"/>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2" name="Group 21"/>
              <p:cNvGrpSpPr/>
              <p:nvPr/>
            </p:nvGrpSpPr>
            <p:grpSpPr>
              <a:xfrm>
                <a:off x="7129614" y="3153571"/>
                <a:ext cx="348869" cy="349465"/>
                <a:chOff x="7287419" y="3505994"/>
                <a:chExt cx="464344" cy="465138"/>
              </a:xfrm>
              <a:solidFill>
                <a:schemeClr val="bg2"/>
              </a:solidFill>
            </p:grpSpPr>
            <p:sp>
              <p:nvSpPr>
                <p:cNvPr id="83" name="AutoShape 37"/>
                <p:cNvSpPr>
                  <a:spLocks/>
                </p:cNvSpPr>
                <p:nvPr/>
              </p:nvSpPr>
              <p:spPr bwMode="auto">
                <a:xfrm>
                  <a:off x="7287419" y="354965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4" name="AutoShape 38"/>
                <p:cNvSpPr>
                  <a:spLocks/>
                </p:cNvSpPr>
                <p:nvPr/>
              </p:nvSpPr>
              <p:spPr bwMode="auto">
                <a:xfrm>
                  <a:off x="7490619" y="373856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5" name="AutoShape 39"/>
                <p:cNvSpPr>
                  <a:spLocks/>
                </p:cNvSpPr>
                <p:nvPr/>
              </p:nvSpPr>
              <p:spPr bwMode="auto">
                <a:xfrm>
                  <a:off x="7679532" y="350599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6" name="AutoShape 40"/>
                <p:cNvSpPr>
                  <a:spLocks/>
                </p:cNvSpPr>
                <p:nvPr/>
              </p:nvSpPr>
              <p:spPr bwMode="auto">
                <a:xfrm>
                  <a:off x="7403307" y="372427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7" name="AutoShape 41"/>
                <p:cNvSpPr>
                  <a:spLocks/>
                </p:cNvSpPr>
                <p:nvPr/>
              </p:nvSpPr>
              <p:spPr bwMode="auto">
                <a:xfrm>
                  <a:off x="7461250" y="382587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88" name="AutoShape 42"/>
                <p:cNvSpPr>
                  <a:spLocks/>
                </p:cNvSpPr>
                <p:nvPr/>
              </p:nvSpPr>
              <p:spPr bwMode="auto">
                <a:xfrm>
                  <a:off x="7693819" y="360759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89" name="Group 88"/>
            <p:cNvGrpSpPr/>
            <p:nvPr/>
          </p:nvGrpSpPr>
          <p:grpSpPr>
            <a:xfrm>
              <a:off x="8338037" y="2413983"/>
              <a:ext cx="624548" cy="624548"/>
              <a:chOff x="6991758" y="1265864"/>
              <a:chExt cx="624548" cy="624548"/>
            </a:xfrm>
          </p:grpSpPr>
          <p:sp>
            <p:nvSpPr>
              <p:cNvPr id="90" name="Oval 89"/>
              <p:cNvSpPr/>
              <p:nvPr/>
            </p:nvSpPr>
            <p:spPr>
              <a:xfrm>
                <a:off x="6991758" y="126586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1" name="Group 28"/>
              <p:cNvGrpSpPr/>
              <p:nvPr/>
            </p:nvGrpSpPr>
            <p:grpSpPr>
              <a:xfrm>
                <a:off x="7139575" y="1372173"/>
                <a:ext cx="348868" cy="348868"/>
                <a:chOff x="8216107" y="1647825"/>
                <a:chExt cx="464344" cy="464344"/>
              </a:xfrm>
              <a:solidFill>
                <a:schemeClr val="bg2"/>
              </a:solidFill>
            </p:grpSpPr>
            <p:sp>
              <p:nvSpPr>
                <p:cNvPr id="92" name="AutoShape 81"/>
                <p:cNvSpPr>
                  <a:spLocks/>
                </p:cNvSpPr>
                <p:nvPr/>
              </p:nvSpPr>
              <p:spPr bwMode="auto">
                <a:xfrm>
                  <a:off x="8216107" y="1647825"/>
                  <a:ext cx="464344"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35" y="9811"/>
                      </a:moveTo>
                      <a:cubicBezTo>
                        <a:pt x="20220" y="10144"/>
                        <a:pt x="20081" y="10800"/>
                        <a:pt x="18899" y="10800"/>
                      </a:cubicBezTo>
                      <a:lnTo>
                        <a:pt x="17549" y="10800"/>
                      </a:lnTo>
                      <a:cubicBezTo>
                        <a:pt x="17363" y="10800"/>
                        <a:pt x="17212" y="10950"/>
                        <a:pt x="17212" y="11137"/>
                      </a:cubicBezTo>
                      <a:cubicBezTo>
                        <a:pt x="17212" y="11324"/>
                        <a:pt x="17363" y="11475"/>
                        <a:pt x="17549" y="11475"/>
                      </a:cubicBezTo>
                      <a:lnTo>
                        <a:pt x="18858" y="11475"/>
                      </a:lnTo>
                      <a:cubicBezTo>
                        <a:pt x="19870" y="11475"/>
                        <a:pt x="20003" y="12314"/>
                        <a:pt x="19938" y="12719"/>
                      </a:cubicBezTo>
                      <a:cubicBezTo>
                        <a:pt x="19855" y="13223"/>
                        <a:pt x="19618" y="14175"/>
                        <a:pt x="18478" y="14175"/>
                      </a:cubicBezTo>
                      <a:lnTo>
                        <a:pt x="16874" y="14175"/>
                      </a:lnTo>
                      <a:cubicBezTo>
                        <a:pt x="16688" y="14175"/>
                        <a:pt x="16537" y="14325"/>
                        <a:pt x="16537" y="14512"/>
                      </a:cubicBezTo>
                      <a:cubicBezTo>
                        <a:pt x="16537" y="14699"/>
                        <a:pt x="16688" y="14850"/>
                        <a:pt x="16874" y="14850"/>
                      </a:cubicBezTo>
                      <a:lnTo>
                        <a:pt x="18203" y="14850"/>
                      </a:lnTo>
                      <a:cubicBezTo>
                        <a:pt x="19343" y="14850"/>
                        <a:pt x="19243" y="15718"/>
                        <a:pt x="19079" y="16237"/>
                      </a:cubicBezTo>
                      <a:cubicBezTo>
                        <a:pt x="18864" y="16918"/>
                        <a:pt x="18732" y="17549"/>
                        <a:pt x="17297" y="17549"/>
                      </a:cubicBezTo>
                      <a:lnTo>
                        <a:pt x="16196" y="17549"/>
                      </a:lnTo>
                      <a:cubicBezTo>
                        <a:pt x="16009" y="17549"/>
                        <a:pt x="15859" y="17700"/>
                        <a:pt x="15859" y="17887"/>
                      </a:cubicBezTo>
                      <a:cubicBezTo>
                        <a:pt x="15859" y="18073"/>
                        <a:pt x="16009" y="18225"/>
                        <a:pt x="16196" y="18225"/>
                      </a:cubicBezTo>
                      <a:lnTo>
                        <a:pt x="17255" y="18225"/>
                      </a:lnTo>
                      <a:cubicBezTo>
                        <a:pt x="17993" y="18225"/>
                        <a:pt x="18027" y="18923"/>
                        <a:pt x="17950" y="19174"/>
                      </a:cubicBezTo>
                      <a:cubicBezTo>
                        <a:pt x="17866" y="19448"/>
                        <a:pt x="17767" y="19651"/>
                        <a:pt x="17762" y="19660"/>
                      </a:cubicBezTo>
                      <a:cubicBezTo>
                        <a:pt x="17558" y="20028"/>
                        <a:pt x="17229" y="20249"/>
                        <a:pt x="16534" y="20249"/>
                      </a:cubicBezTo>
                      <a:lnTo>
                        <a:pt x="12844" y="20249"/>
                      </a:lnTo>
                      <a:cubicBezTo>
                        <a:pt x="10990" y="20249"/>
                        <a:pt x="9151" y="19829"/>
                        <a:pt x="9104" y="19818"/>
                      </a:cubicBezTo>
                      <a:cubicBezTo>
                        <a:pt x="6299" y="19172"/>
                        <a:pt x="6152" y="19122"/>
                        <a:pt x="5976" y="19072"/>
                      </a:cubicBezTo>
                      <a:cubicBezTo>
                        <a:pt x="5976" y="19072"/>
                        <a:pt x="5405" y="18976"/>
                        <a:pt x="5405" y="18478"/>
                      </a:cubicBezTo>
                      <a:lnTo>
                        <a:pt x="5399" y="9155"/>
                      </a:lnTo>
                      <a:cubicBezTo>
                        <a:pt x="5399" y="8839"/>
                        <a:pt x="5601" y="8552"/>
                        <a:pt x="5935" y="8452"/>
                      </a:cubicBezTo>
                      <a:cubicBezTo>
                        <a:pt x="5977" y="8435"/>
                        <a:pt x="6034" y="8419"/>
                        <a:pt x="6074" y="8401"/>
                      </a:cubicBezTo>
                      <a:cubicBezTo>
                        <a:pt x="9158" y="7125"/>
                        <a:pt x="10097" y="4324"/>
                        <a:pt x="10124" y="2025"/>
                      </a:cubicBezTo>
                      <a:cubicBezTo>
                        <a:pt x="10128" y="1702"/>
                        <a:pt x="10378" y="1350"/>
                        <a:pt x="10800" y="1350"/>
                      </a:cubicBezTo>
                      <a:cubicBezTo>
                        <a:pt x="11514" y="1350"/>
                        <a:pt x="12774" y="2782"/>
                        <a:pt x="12774" y="4554"/>
                      </a:cubicBezTo>
                      <a:cubicBezTo>
                        <a:pt x="12774" y="6155"/>
                        <a:pt x="12711" y="6432"/>
                        <a:pt x="12149" y="8100"/>
                      </a:cubicBezTo>
                      <a:cubicBezTo>
                        <a:pt x="18899" y="8100"/>
                        <a:pt x="18852" y="8196"/>
                        <a:pt x="19448" y="8353"/>
                      </a:cubicBezTo>
                      <a:cubicBezTo>
                        <a:pt x="20187" y="8564"/>
                        <a:pt x="20249" y="9175"/>
                        <a:pt x="20249" y="9386"/>
                      </a:cubicBezTo>
                      <a:cubicBezTo>
                        <a:pt x="20249" y="9618"/>
                        <a:pt x="20243" y="9584"/>
                        <a:pt x="20235" y="9811"/>
                      </a:cubicBezTo>
                      <a:moveTo>
                        <a:pt x="4724" y="19575"/>
                      </a:moveTo>
                      <a:cubicBezTo>
                        <a:pt x="4724" y="19948"/>
                        <a:pt x="4423" y="20249"/>
                        <a:pt x="4049" y="20249"/>
                      </a:cubicBezTo>
                      <a:lnTo>
                        <a:pt x="2024" y="20249"/>
                      </a:lnTo>
                      <a:cubicBezTo>
                        <a:pt x="1652" y="20249"/>
                        <a:pt x="1349" y="19948"/>
                        <a:pt x="1349" y="19575"/>
                      </a:cubicBezTo>
                      <a:lnTo>
                        <a:pt x="1349" y="8774"/>
                      </a:lnTo>
                      <a:cubicBezTo>
                        <a:pt x="1349" y="8401"/>
                        <a:pt x="1652" y="8100"/>
                        <a:pt x="2024" y="8100"/>
                      </a:cubicBezTo>
                      <a:lnTo>
                        <a:pt x="4049" y="8100"/>
                      </a:lnTo>
                      <a:cubicBezTo>
                        <a:pt x="4423" y="8100"/>
                        <a:pt x="4724" y="8401"/>
                        <a:pt x="4724" y="8774"/>
                      </a:cubicBezTo>
                      <a:cubicBezTo>
                        <a:pt x="4724" y="8774"/>
                        <a:pt x="4724" y="19575"/>
                        <a:pt x="4724" y="19575"/>
                      </a:cubicBezTo>
                      <a:close/>
                      <a:moveTo>
                        <a:pt x="19686" y="7069"/>
                      </a:moveTo>
                      <a:cubicBezTo>
                        <a:pt x="18842" y="6846"/>
                        <a:pt x="16858" y="6849"/>
                        <a:pt x="13956" y="6773"/>
                      </a:cubicBezTo>
                      <a:cubicBezTo>
                        <a:pt x="14093" y="6139"/>
                        <a:pt x="14124" y="5568"/>
                        <a:pt x="14124" y="4554"/>
                      </a:cubicBezTo>
                      <a:cubicBezTo>
                        <a:pt x="14124" y="2133"/>
                        <a:pt x="12361" y="0"/>
                        <a:pt x="10800" y="0"/>
                      </a:cubicBezTo>
                      <a:cubicBezTo>
                        <a:pt x="9698" y="0"/>
                        <a:pt x="8789" y="901"/>
                        <a:pt x="8774" y="2009"/>
                      </a:cubicBezTo>
                      <a:cubicBezTo>
                        <a:pt x="8760" y="3368"/>
                        <a:pt x="8340" y="5716"/>
                        <a:pt x="6074" y="6906"/>
                      </a:cubicBezTo>
                      <a:cubicBezTo>
                        <a:pt x="5908" y="6994"/>
                        <a:pt x="5433" y="7228"/>
                        <a:pt x="5364" y="7259"/>
                      </a:cubicBezTo>
                      <a:lnTo>
                        <a:pt x="5399" y="7289"/>
                      </a:lnTo>
                      <a:cubicBezTo>
                        <a:pt x="5045" y="6984"/>
                        <a:pt x="4554" y="6750"/>
                        <a:pt x="4049" y="6750"/>
                      </a:cubicBezTo>
                      <a:lnTo>
                        <a:pt x="2024" y="6750"/>
                      </a:lnTo>
                      <a:cubicBezTo>
                        <a:pt x="908" y="6750"/>
                        <a:pt x="0" y="7658"/>
                        <a:pt x="0" y="8774"/>
                      </a:cubicBezTo>
                      <a:lnTo>
                        <a:pt x="0" y="19575"/>
                      </a:lnTo>
                      <a:cubicBezTo>
                        <a:pt x="0" y="20691"/>
                        <a:pt x="908" y="21599"/>
                        <a:pt x="2024" y="21599"/>
                      </a:cubicBezTo>
                      <a:lnTo>
                        <a:pt x="4049" y="21599"/>
                      </a:lnTo>
                      <a:cubicBezTo>
                        <a:pt x="4853" y="21599"/>
                        <a:pt x="5525" y="21114"/>
                        <a:pt x="5850" y="20434"/>
                      </a:cubicBezTo>
                      <a:cubicBezTo>
                        <a:pt x="5859" y="20437"/>
                        <a:pt x="5873" y="20441"/>
                        <a:pt x="5882" y="20442"/>
                      </a:cubicBezTo>
                      <a:cubicBezTo>
                        <a:pt x="5927" y="20454"/>
                        <a:pt x="5979" y="20467"/>
                        <a:pt x="6044" y="20485"/>
                      </a:cubicBezTo>
                      <a:cubicBezTo>
                        <a:pt x="6056" y="20487"/>
                        <a:pt x="6062" y="20488"/>
                        <a:pt x="6074" y="20492"/>
                      </a:cubicBezTo>
                      <a:cubicBezTo>
                        <a:pt x="6464" y="20588"/>
                        <a:pt x="7212" y="20768"/>
                        <a:pt x="8812" y="21135"/>
                      </a:cubicBezTo>
                      <a:cubicBezTo>
                        <a:pt x="9155" y="21213"/>
                        <a:pt x="10966" y="21599"/>
                        <a:pt x="12844" y="21599"/>
                      </a:cubicBezTo>
                      <a:lnTo>
                        <a:pt x="16534" y="21599"/>
                      </a:lnTo>
                      <a:cubicBezTo>
                        <a:pt x="17659" y="21599"/>
                        <a:pt x="18469" y="21167"/>
                        <a:pt x="18952" y="20298"/>
                      </a:cubicBezTo>
                      <a:cubicBezTo>
                        <a:pt x="18958" y="20285"/>
                        <a:pt x="19114" y="19982"/>
                        <a:pt x="19240" y="19572"/>
                      </a:cubicBezTo>
                      <a:cubicBezTo>
                        <a:pt x="19336" y="19263"/>
                        <a:pt x="19371" y="18827"/>
                        <a:pt x="19256" y="18384"/>
                      </a:cubicBezTo>
                      <a:cubicBezTo>
                        <a:pt x="19981" y="17886"/>
                        <a:pt x="20214" y="17133"/>
                        <a:pt x="20366" y="16643"/>
                      </a:cubicBezTo>
                      <a:cubicBezTo>
                        <a:pt x="20620" y="15838"/>
                        <a:pt x="20544" y="15235"/>
                        <a:pt x="20367" y="14803"/>
                      </a:cubicBezTo>
                      <a:cubicBezTo>
                        <a:pt x="20775" y="14418"/>
                        <a:pt x="21122" y="13831"/>
                        <a:pt x="21269" y="12935"/>
                      </a:cubicBezTo>
                      <a:cubicBezTo>
                        <a:pt x="21361" y="12380"/>
                        <a:pt x="21263" y="11809"/>
                        <a:pt x="21007" y="11334"/>
                      </a:cubicBezTo>
                      <a:cubicBezTo>
                        <a:pt x="21389" y="10905"/>
                        <a:pt x="21564" y="10365"/>
                        <a:pt x="21583" y="9865"/>
                      </a:cubicBezTo>
                      <a:lnTo>
                        <a:pt x="21591" y="9724"/>
                      </a:lnTo>
                      <a:cubicBezTo>
                        <a:pt x="21596" y="9635"/>
                        <a:pt x="21600" y="9581"/>
                        <a:pt x="21600" y="9386"/>
                      </a:cubicBezTo>
                      <a:cubicBezTo>
                        <a:pt x="21600" y="8533"/>
                        <a:pt x="21010" y="7446"/>
                        <a:pt x="19686" y="706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93" name="AutoShape 82"/>
                <p:cNvSpPr>
                  <a:spLocks/>
                </p:cNvSpPr>
                <p:nvPr/>
              </p:nvSpPr>
              <p:spPr bwMode="auto">
                <a:xfrm>
                  <a:off x="8259763" y="2024857"/>
                  <a:ext cx="43657" cy="436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4400"/>
                      </a:moveTo>
                      <a:cubicBezTo>
                        <a:pt x="8820" y="14400"/>
                        <a:pt x="7200" y="12782"/>
                        <a:pt x="7200" y="10800"/>
                      </a:cubicBezTo>
                      <a:cubicBezTo>
                        <a:pt x="7200" y="8817"/>
                        <a:pt x="8820" y="7200"/>
                        <a:pt x="10800" y="7200"/>
                      </a:cubicBezTo>
                      <a:cubicBezTo>
                        <a:pt x="12779" y="7200"/>
                        <a:pt x="14400" y="8817"/>
                        <a:pt x="14400" y="10800"/>
                      </a:cubicBezTo>
                      <a:cubicBezTo>
                        <a:pt x="14400" y="12782"/>
                        <a:pt x="12779" y="14400"/>
                        <a:pt x="10800" y="14400"/>
                      </a:cubicBezTo>
                      <a:moveTo>
                        <a:pt x="10800" y="0"/>
                      </a:moveTo>
                      <a:cubicBezTo>
                        <a:pt x="4837" y="0"/>
                        <a:pt x="0" y="4837"/>
                        <a:pt x="0" y="10800"/>
                      </a:cubicBezTo>
                      <a:cubicBezTo>
                        <a:pt x="0" y="16762"/>
                        <a:pt x="4837" y="21599"/>
                        <a:pt x="10800" y="21599"/>
                      </a:cubicBezTo>
                      <a:cubicBezTo>
                        <a:pt x="16762" y="21599"/>
                        <a:pt x="21600" y="16762"/>
                        <a:pt x="21600" y="10800"/>
                      </a:cubicBezTo>
                      <a:cubicBezTo>
                        <a:pt x="21600" y="4837"/>
                        <a:pt x="16762"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94" name="Group 93"/>
            <p:cNvGrpSpPr/>
            <p:nvPr/>
          </p:nvGrpSpPr>
          <p:grpSpPr>
            <a:xfrm>
              <a:off x="5606005" y="4162407"/>
              <a:ext cx="624548" cy="624548"/>
              <a:chOff x="4259726" y="3014288"/>
              <a:chExt cx="624548" cy="624548"/>
            </a:xfrm>
          </p:grpSpPr>
          <p:sp>
            <p:nvSpPr>
              <p:cNvPr id="95" name="Oval 13"/>
              <p:cNvSpPr/>
              <p:nvPr/>
            </p:nvSpPr>
            <p:spPr>
              <a:xfrm>
                <a:off x="4259726" y="3014288"/>
                <a:ext cx="624548" cy="62454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6" name="Group 31"/>
              <p:cNvGrpSpPr/>
              <p:nvPr/>
            </p:nvGrpSpPr>
            <p:grpSpPr>
              <a:xfrm>
                <a:off x="4440145" y="3153571"/>
                <a:ext cx="263709" cy="384412"/>
                <a:chOff x="3582988" y="3510757"/>
                <a:chExt cx="319088" cy="465138"/>
              </a:xfrm>
              <a:solidFill>
                <a:schemeClr val="bg2"/>
              </a:solidFill>
            </p:grpSpPr>
            <p:sp>
              <p:nvSpPr>
                <p:cNvPr id="97" name="AutoShape 113"/>
                <p:cNvSpPr>
                  <a:spLocks/>
                </p:cNvSpPr>
                <p:nvPr/>
              </p:nvSpPr>
              <p:spPr bwMode="auto">
                <a:xfrm>
                  <a:off x="3582988" y="3510757"/>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98" name="AutoShape 114"/>
                <p:cNvSpPr>
                  <a:spLocks/>
                </p:cNvSpPr>
                <p:nvPr/>
              </p:nvSpPr>
              <p:spPr bwMode="auto">
                <a:xfrm>
                  <a:off x="3655219" y="3583782"/>
                  <a:ext cx="94456" cy="94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99" name="Group 98"/>
            <p:cNvGrpSpPr/>
            <p:nvPr/>
          </p:nvGrpSpPr>
          <p:grpSpPr>
            <a:xfrm>
              <a:off x="2873973" y="4162407"/>
              <a:ext cx="624548" cy="624548"/>
              <a:chOff x="1527694" y="3014288"/>
              <a:chExt cx="624548" cy="624548"/>
            </a:xfrm>
          </p:grpSpPr>
          <p:sp>
            <p:nvSpPr>
              <p:cNvPr id="100" name="Oval 99"/>
              <p:cNvSpPr/>
              <p:nvPr/>
            </p:nvSpPr>
            <p:spPr>
              <a:xfrm>
                <a:off x="1527694" y="3014288"/>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1" name="Group 34"/>
              <p:cNvGrpSpPr/>
              <p:nvPr/>
            </p:nvGrpSpPr>
            <p:grpSpPr>
              <a:xfrm>
                <a:off x="1671802" y="3171343"/>
                <a:ext cx="349465" cy="348868"/>
                <a:chOff x="2581275" y="2582069"/>
                <a:chExt cx="465138" cy="464344"/>
              </a:xfrm>
              <a:solidFill>
                <a:schemeClr val="bg2"/>
              </a:solidFill>
            </p:grpSpPr>
            <p:sp>
              <p:nvSpPr>
                <p:cNvPr id="102" name="AutoShape 128"/>
                <p:cNvSpPr>
                  <a:spLocks/>
                </p:cNvSpPr>
                <p:nvPr/>
              </p:nvSpPr>
              <p:spPr bwMode="auto">
                <a:xfrm>
                  <a:off x="2581275" y="2582069"/>
                  <a:ext cx="465138"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850" y="12150"/>
                      </a:moveTo>
                      <a:cubicBezTo>
                        <a:pt x="13851" y="12150"/>
                        <a:pt x="12926" y="11859"/>
                        <a:pt x="12124" y="11386"/>
                      </a:cubicBezTo>
                      <a:lnTo>
                        <a:pt x="11892" y="11618"/>
                      </a:lnTo>
                      <a:lnTo>
                        <a:pt x="11132" y="12377"/>
                      </a:lnTo>
                      <a:lnTo>
                        <a:pt x="9846" y="13663"/>
                      </a:lnTo>
                      <a:cubicBezTo>
                        <a:pt x="9593" y="13916"/>
                        <a:pt x="9451" y="14260"/>
                        <a:pt x="9451" y="14617"/>
                      </a:cubicBezTo>
                      <a:lnTo>
                        <a:pt x="9451" y="16200"/>
                      </a:lnTo>
                      <a:lnTo>
                        <a:pt x="8101" y="16200"/>
                      </a:lnTo>
                      <a:cubicBezTo>
                        <a:pt x="7356" y="16200"/>
                        <a:pt x="6751" y="16804"/>
                        <a:pt x="6751" y="17549"/>
                      </a:cubicBezTo>
                      <a:lnTo>
                        <a:pt x="6751" y="18900"/>
                      </a:lnTo>
                      <a:lnTo>
                        <a:pt x="5170" y="18900"/>
                      </a:lnTo>
                      <a:cubicBezTo>
                        <a:pt x="4812" y="18900"/>
                        <a:pt x="4469" y="19042"/>
                        <a:pt x="4216" y="19295"/>
                      </a:cubicBezTo>
                      <a:lnTo>
                        <a:pt x="3259" y="20252"/>
                      </a:lnTo>
                      <a:lnTo>
                        <a:pt x="1352" y="20249"/>
                      </a:lnTo>
                      <a:lnTo>
                        <a:pt x="1350" y="18326"/>
                      </a:lnTo>
                      <a:lnTo>
                        <a:pt x="9223" y="10467"/>
                      </a:lnTo>
                      <a:cubicBezTo>
                        <a:pt x="9223" y="10467"/>
                        <a:pt x="9223" y="10467"/>
                        <a:pt x="9224" y="10468"/>
                      </a:cubicBezTo>
                      <a:lnTo>
                        <a:pt x="10215" y="9477"/>
                      </a:lnTo>
                      <a:cubicBezTo>
                        <a:pt x="9741" y="8674"/>
                        <a:pt x="9451" y="7748"/>
                        <a:pt x="9451" y="6750"/>
                      </a:cubicBezTo>
                      <a:cubicBezTo>
                        <a:pt x="9451" y="3767"/>
                        <a:pt x="11869" y="1350"/>
                        <a:pt x="14850" y="1350"/>
                      </a:cubicBezTo>
                      <a:cubicBezTo>
                        <a:pt x="17832" y="1350"/>
                        <a:pt x="20250" y="3767"/>
                        <a:pt x="20250" y="6750"/>
                      </a:cubicBezTo>
                      <a:cubicBezTo>
                        <a:pt x="20250" y="9732"/>
                        <a:pt x="17832" y="12150"/>
                        <a:pt x="14850" y="12150"/>
                      </a:cubicBezTo>
                      <a:moveTo>
                        <a:pt x="14850" y="0"/>
                      </a:moveTo>
                      <a:cubicBezTo>
                        <a:pt x="11123" y="0"/>
                        <a:pt x="8101" y="3022"/>
                        <a:pt x="8101" y="6750"/>
                      </a:cubicBezTo>
                      <a:cubicBezTo>
                        <a:pt x="8101" y="7617"/>
                        <a:pt x="8283" y="8438"/>
                        <a:pt x="8582" y="9199"/>
                      </a:cubicBezTo>
                      <a:lnTo>
                        <a:pt x="383" y="17400"/>
                      </a:lnTo>
                      <a:cubicBezTo>
                        <a:pt x="146" y="17637"/>
                        <a:pt x="0" y="17863"/>
                        <a:pt x="0" y="18225"/>
                      </a:cubicBezTo>
                      <a:lnTo>
                        <a:pt x="0" y="20249"/>
                      </a:lnTo>
                      <a:cubicBezTo>
                        <a:pt x="0" y="20972"/>
                        <a:pt x="626" y="21599"/>
                        <a:pt x="1349" y="21599"/>
                      </a:cubicBezTo>
                      <a:lnTo>
                        <a:pt x="3374" y="21599"/>
                      </a:lnTo>
                      <a:cubicBezTo>
                        <a:pt x="3736" y="21599"/>
                        <a:pt x="3965" y="21455"/>
                        <a:pt x="4202" y="21219"/>
                      </a:cubicBezTo>
                      <a:lnTo>
                        <a:pt x="5170" y="20249"/>
                      </a:lnTo>
                      <a:lnTo>
                        <a:pt x="6751" y="20249"/>
                      </a:lnTo>
                      <a:cubicBezTo>
                        <a:pt x="7496" y="20249"/>
                        <a:pt x="8101" y="19645"/>
                        <a:pt x="8101" y="18900"/>
                      </a:cubicBezTo>
                      <a:lnTo>
                        <a:pt x="8101" y="17549"/>
                      </a:lnTo>
                      <a:lnTo>
                        <a:pt x="9451" y="17549"/>
                      </a:lnTo>
                      <a:cubicBezTo>
                        <a:pt x="10196" y="17549"/>
                        <a:pt x="10801" y="16945"/>
                        <a:pt x="10801" y="16200"/>
                      </a:cubicBezTo>
                      <a:lnTo>
                        <a:pt x="10801" y="14617"/>
                      </a:lnTo>
                      <a:lnTo>
                        <a:pt x="12400" y="13018"/>
                      </a:lnTo>
                      <a:cubicBezTo>
                        <a:pt x="13162" y="13317"/>
                        <a:pt x="13982" y="13500"/>
                        <a:pt x="14850" y="13500"/>
                      </a:cubicBezTo>
                      <a:cubicBezTo>
                        <a:pt x="18577" y="13500"/>
                        <a:pt x="21599" y="10477"/>
                        <a:pt x="21599" y="6750"/>
                      </a:cubicBezTo>
                      <a:cubicBezTo>
                        <a:pt x="21599" y="3022"/>
                        <a:pt x="18577" y="0"/>
                        <a:pt x="1485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103" name="AutoShape 129"/>
                <p:cNvSpPr>
                  <a:spLocks/>
                </p:cNvSpPr>
                <p:nvPr/>
              </p:nvSpPr>
              <p:spPr bwMode="auto">
                <a:xfrm>
                  <a:off x="2871788" y="2640013"/>
                  <a:ext cx="115888" cy="115888"/>
                </a:xfrm>
                <a:custGeom>
                  <a:avLst/>
                  <a:gdLst>
                    <a:gd name="T0" fmla="*/ 10800 w 21600"/>
                    <a:gd name="T1" fmla="+- 0 10800 134"/>
                    <a:gd name="T2" fmla="*/ 10800 h 21333"/>
                    <a:gd name="T3" fmla="*/ 10800 w 21600"/>
                    <a:gd name="T4" fmla="+- 0 10800 134"/>
                    <a:gd name="T5" fmla="*/ 10800 h 21333"/>
                    <a:gd name="T6" fmla="*/ 10800 w 21600"/>
                    <a:gd name="T7" fmla="+- 0 10800 134"/>
                    <a:gd name="T8" fmla="*/ 10800 h 21333"/>
                    <a:gd name="T9" fmla="*/ 10800 w 21600"/>
                    <a:gd name="T10" fmla="+- 0 10800 134"/>
                    <a:gd name="T11" fmla="*/ 10800 h 21333"/>
                  </a:gdLst>
                  <a:ahLst/>
                  <a:cxnLst>
                    <a:cxn ang="0">
                      <a:pos x="T0" y="T2"/>
                    </a:cxn>
                    <a:cxn ang="0">
                      <a:pos x="T3" y="T5"/>
                    </a:cxn>
                    <a:cxn ang="0">
                      <a:pos x="T6" y="T8"/>
                    </a:cxn>
                    <a:cxn ang="0">
                      <a:pos x="T9" y="T11"/>
                    </a:cxn>
                  </a:cxnLst>
                  <a:rect l="0" t="0" r="r" b="b"/>
                  <a:pathLst>
                    <a:path w="21600" h="21333">
                      <a:moveTo>
                        <a:pt x="13008" y="18684"/>
                      </a:moveTo>
                      <a:cubicBezTo>
                        <a:pt x="9017" y="15850"/>
                        <a:pt x="5542" y="12415"/>
                        <a:pt x="2694" y="8570"/>
                      </a:cubicBezTo>
                      <a:cubicBezTo>
                        <a:pt x="3736" y="5628"/>
                        <a:pt x="5693" y="3697"/>
                        <a:pt x="8585" y="2647"/>
                      </a:cubicBezTo>
                      <a:cubicBezTo>
                        <a:pt x="12578" y="5489"/>
                        <a:pt x="16048" y="8911"/>
                        <a:pt x="18889" y="12809"/>
                      </a:cubicBezTo>
                      <a:cubicBezTo>
                        <a:pt x="17836" y="15730"/>
                        <a:pt x="15883" y="17647"/>
                        <a:pt x="13008" y="18684"/>
                      </a:cubicBezTo>
                      <a:moveTo>
                        <a:pt x="21110" y="11295"/>
                      </a:moveTo>
                      <a:cubicBezTo>
                        <a:pt x="18081" y="7130"/>
                        <a:pt x="14396" y="3496"/>
                        <a:pt x="10161" y="484"/>
                      </a:cubicBezTo>
                      <a:cubicBezTo>
                        <a:pt x="9468" y="-8"/>
                        <a:pt x="8579" y="-134"/>
                        <a:pt x="7778" y="145"/>
                      </a:cubicBezTo>
                      <a:cubicBezTo>
                        <a:pt x="4027" y="1450"/>
                        <a:pt x="1463" y="3983"/>
                        <a:pt x="145" y="7687"/>
                      </a:cubicBezTo>
                      <a:cubicBezTo>
                        <a:pt x="46" y="7962"/>
                        <a:pt x="0" y="8252"/>
                        <a:pt x="0" y="8537"/>
                      </a:cubicBezTo>
                      <a:cubicBezTo>
                        <a:pt x="0" y="9071"/>
                        <a:pt x="167" y="9596"/>
                        <a:pt x="487" y="10041"/>
                      </a:cubicBezTo>
                      <a:cubicBezTo>
                        <a:pt x="3525" y="14213"/>
                        <a:pt x="7211" y="17850"/>
                        <a:pt x="11431" y="20850"/>
                      </a:cubicBezTo>
                      <a:cubicBezTo>
                        <a:pt x="12122" y="21338"/>
                        <a:pt x="13010" y="21466"/>
                        <a:pt x="13812" y="21188"/>
                      </a:cubicBezTo>
                      <a:cubicBezTo>
                        <a:pt x="17563" y="19893"/>
                        <a:pt x="20133" y="17356"/>
                        <a:pt x="21451" y="13647"/>
                      </a:cubicBezTo>
                      <a:cubicBezTo>
                        <a:pt x="21551" y="13372"/>
                        <a:pt x="21600" y="13081"/>
                        <a:pt x="21600" y="12796"/>
                      </a:cubicBezTo>
                      <a:cubicBezTo>
                        <a:pt x="21600" y="12265"/>
                        <a:pt x="21429" y="11740"/>
                        <a:pt x="21110" y="11295"/>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104" name="Group 103"/>
            <p:cNvGrpSpPr/>
            <p:nvPr/>
          </p:nvGrpSpPr>
          <p:grpSpPr>
            <a:xfrm>
              <a:off x="2873973" y="2413983"/>
              <a:ext cx="624548" cy="624548"/>
              <a:chOff x="1527694" y="1265864"/>
              <a:chExt cx="624548" cy="624548"/>
            </a:xfrm>
          </p:grpSpPr>
          <p:sp>
            <p:nvSpPr>
              <p:cNvPr id="105" name="Oval 104"/>
              <p:cNvSpPr/>
              <p:nvPr/>
            </p:nvSpPr>
            <p:spPr>
              <a:xfrm>
                <a:off x="1527694" y="1265864"/>
                <a:ext cx="624548" cy="62454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AutoShape 130"/>
              <p:cNvSpPr>
                <a:spLocks/>
              </p:cNvSpPr>
              <p:nvPr/>
            </p:nvSpPr>
            <p:spPr bwMode="auto">
              <a:xfrm>
                <a:off x="1648090" y="1386260"/>
                <a:ext cx="383755" cy="383755"/>
              </a:xfrm>
              <a:custGeom>
                <a:avLst/>
                <a:gdLst>
                  <a:gd name="T0" fmla="+- 0 10799 113"/>
                  <a:gd name="T1" fmla="*/ T0 w 21373"/>
                  <a:gd name="T2" fmla="*/ 10800 h 21600"/>
                  <a:gd name="T3" fmla="+- 0 10799 113"/>
                  <a:gd name="T4" fmla="*/ T3 w 21373"/>
                  <a:gd name="T5" fmla="*/ 10800 h 21600"/>
                  <a:gd name="T6" fmla="+- 0 10799 113"/>
                  <a:gd name="T7" fmla="*/ T6 w 21373"/>
                  <a:gd name="T8" fmla="*/ 10800 h 21600"/>
                  <a:gd name="T9" fmla="+- 0 10799 113"/>
                  <a:gd name="T10" fmla="*/ T9 w 21373"/>
                  <a:gd name="T11" fmla="*/ 10800 h 21600"/>
                </a:gdLst>
                <a:ahLst/>
                <a:cxnLst>
                  <a:cxn ang="0">
                    <a:pos x="T1" y="T2"/>
                  </a:cxn>
                  <a:cxn ang="0">
                    <a:pos x="T4" y="T5"/>
                  </a:cxn>
                  <a:cxn ang="0">
                    <a:pos x="T7" y="T8"/>
                  </a:cxn>
                  <a:cxn ang="0">
                    <a:pos x="T10" y="T11"/>
                  </a:cxn>
                </a:cxnLst>
                <a:rect l="0" t="0" r="r" b="b"/>
                <a:pathLst>
                  <a:path w="21373" h="21600">
                    <a:moveTo>
                      <a:pt x="1336" y="20249"/>
                    </a:moveTo>
                    <a:cubicBezTo>
                      <a:pt x="1428" y="20188"/>
                      <a:pt x="3691" y="18688"/>
                      <a:pt x="7070" y="17950"/>
                    </a:cubicBezTo>
                    <a:lnTo>
                      <a:pt x="8729" y="17587"/>
                    </a:lnTo>
                    <a:cubicBezTo>
                      <a:pt x="9321" y="17980"/>
                      <a:pt x="9972" y="18225"/>
                      <a:pt x="10686" y="18225"/>
                    </a:cubicBezTo>
                    <a:cubicBezTo>
                      <a:pt x="11401" y="18225"/>
                      <a:pt x="12052" y="17980"/>
                      <a:pt x="12644" y="17587"/>
                    </a:cubicBezTo>
                    <a:lnTo>
                      <a:pt x="14303" y="17950"/>
                    </a:lnTo>
                    <a:cubicBezTo>
                      <a:pt x="17656" y="18682"/>
                      <a:pt x="19911" y="20165"/>
                      <a:pt x="20037" y="20249"/>
                    </a:cubicBezTo>
                    <a:cubicBezTo>
                      <a:pt x="20037" y="20249"/>
                      <a:pt x="1336" y="20249"/>
                      <a:pt x="1336" y="20249"/>
                    </a:cubicBezTo>
                    <a:close/>
                    <a:moveTo>
                      <a:pt x="13537" y="15793"/>
                    </a:moveTo>
                    <a:lnTo>
                      <a:pt x="13317" y="16073"/>
                    </a:lnTo>
                    <a:cubicBezTo>
                      <a:pt x="11725" y="17923"/>
                      <a:pt x="9648" y="17923"/>
                      <a:pt x="8056" y="16073"/>
                    </a:cubicBezTo>
                    <a:lnTo>
                      <a:pt x="7836" y="15793"/>
                    </a:lnTo>
                    <a:cubicBezTo>
                      <a:pt x="5977" y="13411"/>
                      <a:pt x="5053" y="10261"/>
                      <a:pt x="5451" y="7255"/>
                    </a:cubicBezTo>
                    <a:cubicBezTo>
                      <a:pt x="5815" y="4367"/>
                      <a:pt x="7453" y="1350"/>
                      <a:pt x="10686" y="1350"/>
                    </a:cubicBezTo>
                    <a:cubicBezTo>
                      <a:pt x="13920" y="1350"/>
                      <a:pt x="15558" y="4367"/>
                      <a:pt x="15922" y="7255"/>
                    </a:cubicBezTo>
                    <a:cubicBezTo>
                      <a:pt x="16318" y="10262"/>
                      <a:pt x="15398" y="13411"/>
                      <a:pt x="13537" y="15793"/>
                    </a:cubicBezTo>
                    <a:moveTo>
                      <a:pt x="20778" y="19126"/>
                    </a:moveTo>
                    <a:cubicBezTo>
                      <a:pt x="20644" y="19037"/>
                      <a:pt x="18209" y="17422"/>
                      <a:pt x="14585" y="16630"/>
                    </a:cubicBezTo>
                    <a:cubicBezTo>
                      <a:pt x="15914" y="14927"/>
                      <a:pt x="16767" y="12639"/>
                      <a:pt x="17130" y="11115"/>
                    </a:cubicBezTo>
                    <a:cubicBezTo>
                      <a:pt x="17633" y="9004"/>
                      <a:pt x="17438" y="4873"/>
                      <a:pt x="15431" y="2299"/>
                    </a:cubicBezTo>
                    <a:cubicBezTo>
                      <a:pt x="14259" y="795"/>
                      <a:pt x="12618" y="0"/>
                      <a:pt x="10686" y="0"/>
                    </a:cubicBezTo>
                    <a:cubicBezTo>
                      <a:pt x="8755" y="0"/>
                      <a:pt x="7114" y="795"/>
                      <a:pt x="5942" y="2299"/>
                    </a:cubicBezTo>
                    <a:cubicBezTo>
                      <a:pt x="3935" y="4873"/>
                      <a:pt x="3740" y="9004"/>
                      <a:pt x="4243" y="11115"/>
                    </a:cubicBezTo>
                    <a:cubicBezTo>
                      <a:pt x="4606" y="12639"/>
                      <a:pt x="5459" y="14927"/>
                      <a:pt x="6788" y="16630"/>
                    </a:cubicBezTo>
                    <a:cubicBezTo>
                      <a:pt x="3164" y="17422"/>
                      <a:pt x="729" y="19037"/>
                      <a:pt x="595" y="19126"/>
                    </a:cubicBezTo>
                    <a:cubicBezTo>
                      <a:pt x="105" y="19457"/>
                      <a:pt x="-113" y="20071"/>
                      <a:pt x="57" y="20640"/>
                    </a:cubicBezTo>
                    <a:cubicBezTo>
                      <a:pt x="228" y="21210"/>
                      <a:pt x="747" y="21599"/>
                      <a:pt x="1336" y="21599"/>
                    </a:cubicBezTo>
                    <a:lnTo>
                      <a:pt x="20037" y="21599"/>
                    </a:lnTo>
                    <a:cubicBezTo>
                      <a:pt x="20626" y="21599"/>
                      <a:pt x="21145" y="21210"/>
                      <a:pt x="21316" y="20640"/>
                    </a:cubicBezTo>
                    <a:cubicBezTo>
                      <a:pt x="21487" y="20071"/>
                      <a:pt x="21268" y="19457"/>
                      <a:pt x="20778" y="19126"/>
                    </a:cubicBezTo>
                  </a:path>
                </a:pathLst>
              </a:custGeom>
              <a:solidFill>
                <a:schemeClr val="bg2"/>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nvGrpSpPr>
            <p:cNvPr id="107" name="Group 106"/>
            <p:cNvGrpSpPr/>
            <p:nvPr/>
          </p:nvGrpSpPr>
          <p:grpSpPr>
            <a:xfrm>
              <a:off x="5606005" y="2413983"/>
              <a:ext cx="624548" cy="624548"/>
              <a:chOff x="4259726" y="1265864"/>
              <a:chExt cx="624548" cy="624548"/>
            </a:xfrm>
          </p:grpSpPr>
          <p:sp>
            <p:nvSpPr>
              <p:cNvPr id="108" name="Oval 107"/>
              <p:cNvSpPr/>
              <p:nvPr/>
            </p:nvSpPr>
            <p:spPr>
              <a:xfrm>
                <a:off x="4259726" y="1265864"/>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AutoShape 137"/>
              <p:cNvSpPr>
                <a:spLocks/>
              </p:cNvSpPr>
              <p:nvPr/>
            </p:nvSpPr>
            <p:spPr bwMode="auto">
              <a:xfrm>
                <a:off x="4397565" y="1386260"/>
                <a:ext cx="348868" cy="348868"/>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solidFill>
                <a:schemeClr val="bg2"/>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sp>
          <p:nvSpPr>
            <p:cNvPr id="111" name="TextBox 110"/>
            <p:cNvSpPr txBox="1"/>
            <p:nvPr/>
          </p:nvSpPr>
          <p:spPr>
            <a:xfrm>
              <a:off x="4777747" y="3038531"/>
              <a:ext cx="2525823" cy="830997"/>
            </a:xfrm>
            <a:prstGeom prst="rect">
              <a:avLst/>
            </a:prstGeom>
            <a:noFill/>
          </p:spPr>
          <p:txBody>
            <a:bodyPr wrap="square" rtlCol="0">
              <a:spAutoFit/>
            </a:bodyPr>
            <a:lstStyle/>
            <a:p>
              <a:pPr algn="ctr"/>
              <a:r>
                <a:rPr lang="fr-FR" sz="1600" b="1" dirty="0">
                  <a:solidFill>
                    <a:schemeClr val="accent3"/>
                  </a:solidFill>
                </a:rPr>
                <a:t>Volonté d’adopter les meilleurs pratiques,</a:t>
              </a:r>
            </a:p>
            <a:p>
              <a:pPr algn="ctr"/>
              <a:endParaRPr lang="en-GB" sz="1600" b="1" dirty="0">
                <a:solidFill>
                  <a:schemeClr val="accent3"/>
                </a:solidFill>
              </a:endParaRPr>
            </a:p>
          </p:txBody>
        </p:sp>
        <p:sp>
          <p:nvSpPr>
            <p:cNvPr id="114" name="TextBox 113"/>
            <p:cNvSpPr txBox="1"/>
            <p:nvPr/>
          </p:nvSpPr>
          <p:spPr>
            <a:xfrm>
              <a:off x="1651079" y="4947342"/>
              <a:ext cx="2752442" cy="830997"/>
            </a:xfrm>
            <a:prstGeom prst="rect">
              <a:avLst/>
            </a:prstGeom>
            <a:noFill/>
          </p:spPr>
          <p:txBody>
            <a:bodyPr wrap="square" rtlCol="0">
              <a:spAutoFit/>
            </a:bodyPr>
            <a:lstStyle/>
            <a:p>
              <a:pPr marL="0" lvl="1" algn="ctr"/>
              <a:r>
                <a:rPr lang="fr-FR" sz="1600" b="1" dirty="0">
                  <a:solidFill>
                    <a:schemeClr val="accent5"/>
                  </a:solidFill>
                </a:rPr>
                <a:t>Visualiser et Mesurer la performance du fournisseur</a:t>
              </a:r>
              <a:r>
                <a:rPr lang="fr-FR" sz="1600" dirty="0">
                  <a:solidFill>
                    <a:schemeClr val="accent5"/>
                  </a:solidFill>
                </a:rPr>
                <a:t>.</a:t>
              </a:r>
            </a:p>
          </p:txBody>
        </p:sp>
        <p:sp>
          <p:nvSpPr>
            <p:cNvPr id="117" name="TextBox 116"/>
            <p:cNvSpPr txBox="1"/>
            <p:nvPr/>
          </p:nvSpPr>
          <p:spPr>
            <a:xfrm>
              <a:off x="7848831" y="4914294"/>
              <a:ext cx="2227508" cy="923330"/>
            </a:xfrm>
            <a:prstGeom prst="rect">
              <a:avLst/>
            </a:prstGeom>
            <a:noFill/>
          </p:spPr>
          <p:txBody>
            <a:bodyPr wrap="square" rtlCol="0">
              <a:spAutoFit/>
            </a:bodyPr>
            <a:lstStyle/>
            <a:p>
              <a:pPr lvl="0" algn="ctr"/>
              <a:r>
                <a:rPr lang="fr-FR" sz="1800" b="1" dirty="0">
                  <a:solidFill>
                    <a:schemeClr val="accent1"/>
                  </a:solidFill>
                </a:rPr>
                <a:t>AMÉLIORER LA </a:t>
              </a:r>
            </a:p>
            <a:p>
              <a:pPr lvl="0" algn="ctr"/>
              <a:r>
                <a:rPr lang="fr-FR" sz="1800" b="1" dirty="0">
                  <a:solidFill>
                    <a:schemeClr val="accent1"/>
                  </a:solidFill>
                </a:rPr>
                <a:t>SATISFACTION CLIENT INTERNE</a:t>
              </a:r>
              <a:r>
                <a:rPr lang="fr-FR" sz="1600" dirty="0">
                  <a:solidFill>
                    <a:schemeClr val="accent3"/>
                  </a:solidFill>
                </a:rPr>
                <a:t>.</a:t>
              </a:r>
            </a:p>
          </p:txBody>
        </p:sp>
        <p:sp>
          <p:nvSpPr>
            <p:cNvPr id="120" name="TextBox 119"/>
            <p:cNvSpPr txBox="1"/>
            <p:nvPr/>
          </p:nvSpPr>
          <p:spPr>
            <a:xfrm>
              <a:off x="7407367" y="3062237"/>
              <a:ext cx="2397111" cy="584775"/>
            </a:xfrm>
            <a:prstGeom prst="rect">
              <a:avLst/>
            </a:prstGeom>
            <a:noFill/>
          </p:spPr>
          <p:txBody>
            <a:bodyPr wrap="square" rtlCol="0">
              <a:spAutoFit/>
            </a:bodyPr>
            <a:lstStyle/>
            <a:p>
              <a:pPr marL="0" lvl="1" algn="ctr"/>
              <a:r>
                <a:rPr lang="fr-FR" sz="1600" b="1" dirty="0">
                  <a:solidFill>
                    <a:schemeClr val="accent4"/>
                  </a:solidFill>
                </a:rPr>
                <a:t>GÉRER AU MIEUX LE PANEL FOURNISSEUR </a:t>
              </a:r>
            </a:p>
          </p:txBody>
        </p:sp>
        <p:sp>
          <p:nvSpPr>
            <p:cNvPr id="123" name="TextBox 122"/>
            <p:cNvSpPr txBox="1"/>
            <p:nvPr/>
          </p:nvSpPr>
          <p:spPr>
            <a:xfrm>
              <a:off x="4999499" y="4914294"/>
              <a:ext cx="2082321" cy="1077218"/>
            </a:xfrm>
            <a:prstGeom prst="rect">
              <a:avLst/>
            </a:prstGeom>
            <a:noFill/>
          </p:spPr>
          <p:txBody>
            <a:bodyPr wrap="square" rtlCol="0">
              <a:spAutoFit/>
            </a:bodyPr>
            <a:lstStyle/>
            <a:p>
              <a:pPr algn="ctr"/>
              <a:r>
                <a:rPr lang="fr-FR" sz="1600" b="1" dirty="0">
                  <a:solidFill>
                    <a:schemeClr val="accent6"/>
                  </a:solidFill>
                </a:rPr>
                <a:t>Assurer la cohérence entre la politique et  les processus </a:t>
              </a:r>
            </a:p>
          </p:txBody>
        </p:sp>
        <p:sp>
          <p:nvSpPr>
            <p:cNvPr id="126" name="TextBox 125"/>
            <p:cNvSpPr txBox="1"/>
            <p:nvPr/>
          </p:nvSpPr>
          <p:spPr>
            <a:xfrm>
              <a:off x="2012536" y="3112281"/>
              <a:ext cx="2534141" cy="338554"/>
            </a:xfrm>
            <a:prstGeom prst="rect">
              <a:avLst/>
            </a:prstGeom>
            <a:noFill/>
          </p:spPr>
          <p:txBody>
            <a:bodyPr wrap="square" rtlCol="0">
              <a:spAutoFit/>
            </a:bodyPr>
            <a:lstStyle/>
            <a:p>
              <a:pPr algn="ctr"/>
              <a:r>
                <a:rPr lang="fr-FR" sz="1600" b="1" dirty="0">
                  <a:solidFill>
                    <a:schemeClr val="accent1">
                      <a:lumMod val="60000"/>
                      <a:lumOff val="40000"/>
                    </a:schemeClr>
                  </a:solidFill>
                </a:rPr>
                <a:t>Amélioration continue </a:t>
              </a:r>
            </a:p>
          </p:txBody>
        </p:sp>
      </p:grpSp>
      <p:grpSp>
        <p:nvGrpSpPr>
          <p:cNvPr id="55" name="Group 54"/>
          <p:cNvGrpSpPr/>
          <p:nvPr/>
        </p:nvGrpSpPr>
        <p:grpSpPr>
          <a:xfrm rot="10800000" flipV="1">
            <a:off x="792357" y="1624708"/>
            <a:ext cx="1427781" cy="45707"/>
            <a:chOff x="3965945" y="1385354"/>
            <a:chExt cx="4572000" cy="79107"/>
          </a:xfrm>
        </p:grpSpPr>
        <p:sp>
          <p:nvSpPr>
            <p:cNvPr id="56" name="Rectangle 55"/>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57" name="Rectangle 56"/>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58" name="Rectangle 57"/>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59" name="Rectangle 58"/>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sp>
          <p:nvSpPr>
            <p:cNvPr id="60" name="Rectangle 59"/>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99"/>
            </a:p>
          </p:txBody>
        </p:sp>
      </p:grpSp>
      <p:pic>
        <p:nvPicPr>
          <p:cNvPr id="46" name="Imag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812" y="5177856"/>
            <a:ext cx="1948872" cy="1692434"/>
          </a:xfrm>
          <a:prstGeom prst="rect">
            <a:avLst/>
          </a:prstGeom>
        </p:spPr>
      </p:pic>
      <p:sp>
        <p:nvSpPr>
          <p:cNvPr id="47" name="TextBox 1"/>
          <p:cNvSpPr txBox="1"/>
          <p:nvPr/>
        </p:nvSpPr>
        <p:spPr>
          <a:xfrm>
            <a:off x="357109" y="1019169"/>
            <a:ext cx="5448910"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3200" b="1" spc="-300" dirty="0">
                <a:solidFill>
                  <a:schemeClr val="tx1">
                    <a:lumMod val="75000"/>
                    <a:lumOff val="25000"/>
                  </a:schemeClr>
                </a:solidFill>
                <a:latin typeface="Arial" panose="020B0604020202020204" pitchFamily="34" charset="0"/>
                <a:cs typeface="Arial" panose="020B0604020202020204" pitchFamily="34" charset="0"/>
              </a:rPr>
              <a:t>Raison d’ être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fltVal val="0"/>
                                          </p:val>
                                        </p:tav>
                                        <p:tav tm="100000">
                                          <p:val>
                                            <p:strVal val="#ppt_h"/>
                                          </p:val>
                                        </p:tav>
                                      </p:tavLst>
                                    </p:anim>
                                    <p:anim calcmode="lin" valueType="num">
                                      <p:cBhvr>
                                        <p:cTn id="9" dur="500" fill="hold"/>
                                        <p:tgtEl>
                                          <p:spTgt spid="55"/>
                                        </p:tgtEl>
                                        <p:attrNameLst>
                                          <p:attrName>style.rotation</p:attrName>
                                        </p:attrNameLst>
                                      </p:cBhvr>
                                      <p:tavLst>
                                        <p:tav tm="0">
                                          <p:val>
                                            <p:fltVal val="360"/>
                                          </p:val>
                                        </p:tav>
                                        <p:tav tm="100000">
                                          <p:val>
                                            <p:fltVal val="0"/>
                                          </p:val>
                                        </p:tav>
                                      </p:tavLst>
                                    </p:anim>
                                    <p:animEffect transition="in" filter="fade">
                                      <p:cBhvr>
                                        <p:cTn id="10" dur="500"/>
                                        <p:tgtEl>
                                          <p:spTgt spid="55"/>
                                        </p:tgtEl>
                                      </p:cBhvr>
                                    </p:animEffect>
                                  </p:childTnLst>
                                </p:cTn>
                              </p:par>
                              <p:par>
                                <p:cTn id="11" presetID="42"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1000"/>
                                        <p:tgtEl>
                                          <p:spTgt spid="46"/>
                                        </p:tgtEl>
                                      </p:cBhvr>
                                    </p:animEffect>
                                    <p:anim calcmode="lin" valueType="num">
                                      <p:cBhvr>
                                        <p:cTn id="14" dur="1000" fill="hold"/>
                                        <p:tgtEl>
                                          <p:spTgt spid="46"/>
                                        </p:tgtEl>
                                        <p:attrNameLst>
                                          <p:attrName>ppt_x</p:attrName>
                                        </p:attrNameLst>
                                      </p:cBhvr>
                                      <p:tavLst>
                                        <p:tav tm="0">
                                          <p:val>
                                            <p:strVal val="#ppt_x"/>
                                          </p:val>
                                        </p:tav>
                                        <p:tav tm="100000">
                                          <p:val>
                                            <p:strVal val="#ppt_x"/>
                                          </p:val>
                                        </p:tav>
                                      </p:tavLst>
                                    </p:anim>
                                    <p:anim calcmode="lin" valueType="num">
                                      <p:cBhvr>
                                        <p:cTn id="15" dur="1000" fill="hold"/>
                                        <p:tgtEl>
                                          <p:spTgt spid="46"/>
                                        </p:tgtEl>
                                        <p:attrNameLst>
                                          <p:attrName>ppt_y</p:attrName>
                                        </p:attrNameLst>
                                      </p:cBhvr>
                                      <p:tavLst>
                                        <p:tav tm="0">
                                          <p:val>
                                            <p:strVal val="#ppt_y+.1"/>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47"/>
                                        </p:tgtEl>
                                        <p:attrNameLst>
                                          <p:attrName>style.visibility</p:attrName>
                                        </p:attrNameLst>
                                      </p:cBhvr>
                                      <p:to>
                                        <p:strVal val="visible"/>
                                      </p:to>
                                    </p:set>
                                    <p:anim calcmode="lin" valueType="num">
                                      <p:cBhvr additive="base">
                                        <p:cTn id="18" dur="1000" fill="hold"/>
                                        <p:tgtEl>
                                          <p:spTgt spid="47"/>
                                        </p:tgtEl>
                                        <p:attrNameLst>
                                          <p:attrName>ppt_x</p:attrName>
                                        </p:attrNameLst>
                                      </p:cBhvr>
                                      <p:tavLst>
                                        <p:tav tm="0">
                                          <p:val>
                                            <p:strVal val="#ppt_x"/>
                                          </p:val>
                                        </p:tav>
                                        <p:tav tm="100000">
                                          <p:val>
                                            <p:strVal val="#ppt_x"/>
                                          </p:val>
                                        </p:tav>
                                      </p:tavLst>
                                    </p:anim>
                                    <p:anim calcmode="lin" valueType="num">
                                      <p:cBhvr additive="base">
                                        <p:cTn id="19" dur="10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val 95"/>
          <p:cNvSpPr>
            <a:spLocks noChangeArrowheads="1"/>
          </p:cNvSpPr>
          <p:nvPr/>
        </p:nvSpPr>
        <p:spPr bwMode="auto">
          <a:xfrm>
            <a:off x="5699557" y="3796145"/>
            <a:ext cx="227013" cy="227013"/>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Content Placeholder 2"/>
          <p:cNvSpPr>
            <a:spLocks noGrp="1"/>
          </p:cNvSpPr>
          <p:nvPr>
            <p:ph sz="quarter" idx="4294967295"/>
          </p:nvPr>
        </p:nvSpPr>
        <p:spPr>
          <a:xfrm>
            <a:off x="7075804" y="2507797"/>
            <a:ext cx="2971800" cy="228600"/>
          </a:xfrm>
        </p:spPr>
        <p:txBody>
          <a:bodyPr>
            <a:noAutofit/>
          </a:bodyPr>
          <a:lstStyle/>
          <a:p>
            <a:pPr>
              <a:buNone/>
            </a:pPr>
            <a:r>
              <a:rPr lang="en-US" sz="2000" b="1" dirty="0">
                <a:latin typeface="Open Sans" pitchFamily="34" charset="0"/>
                <a:ea typeface="Open Sans" pitchFamily="34" charset="0"/>
                <a:cs typeface="Open Sans" pitchFamily="34" charset="0"/>
              </a:rPr>
              <a:t>VISION</a:t>
            </a:r>
          </a:p>
        </p:txBody>
      </p:sp>
      <p:sp>
        <p:nvSpPr>
          <p:cNvPr id="5" name="Content Placeholder 4"/>
          <p:cNvSpPr>
            <a:spLocks noGrp="1"/>
          </p:cNvSpPr>
          <p:nvPr>
            <p:ph sz="quarter" idx="4294967295"/>
          </p:nvPr>
        </p:nvSpPr>
        <p:spPr>
          <a:xfrm>
            <a:off x="7085646" y="4629395"/>
            <a:ext cx="2971800" cy="228600"/>
          </a:xfrm>
        </p:spPr>
        <p:txBody>
          <a:bodyPr>
            <a:noAutofit/>
          </a:bodyPr>
          <a:lstStyle/>
          <a:p>
            <a:pPr>
              <a:buNone/>
            </a:pPr>
            <a:r>
              <a:rPr lang="en-US" sz="2000" b="1" dirty="0">
                <a:latin typeface="Open Sans" pitchFamily="34" charset="0"/>
                <a:ea typeface="Open Sans" pitchFamily="34" charset="0"/>
                <a:cs typeface="Open Sans" pitchFamily="34" charset="0"/>
              </a:rPr>
              <a:t>MISSION</a:t>
            </a:r>
          </a:p>
        </p:txBody>
      </p:sp>
      <p:sp>
        <p:nvSpPr>
          <p:cNvPr id="373" name="Rectangle 372"/>
          <p:cNvSpPr/>
          <p:nvPr/>
        </p:nvSpPr>
        <p:spPr>
          <a:xfrm>
            <a:off x="7199312" y="2912226"/>
            <a:ext cx="777240" cy="45719"/>
          </a:xfrm>
          <a:prstGeom prst="rect">
            <a:avLst/>
          </a:prstGeom>
          <a:solidFill>
            <a:srgbClr val="1AB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4" name="Rectangle 373"/>
          <p:cNvSpPr/>
          <p:nvPr/>
        </p:nvSpPr>
        <p:spPr>
          <a:xfrm>
            <a:off x="7235824" y="5031740"/>
            <a:ext cx="822960" cy="45719"/>
          </a:xfrm>
          <a:prstGeom prst="rect">
            <a:avLst/>
          </a:prstGeom>
          <a:solidFill>
            <a:srgbClr val="1AB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5467" y="1259027"/>
            <a:ext cx="411480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45720" rtlCol="0" anchor="b" anchorCtr="0"/>
          <a:lstStyle/>
          <a:p>
            <a:pPr algn="ctr"/>
            <a:r>
              <a:rPr lang="en-US" sz="2000" b="1" dirty="0">
                <a:solidFill>
                  <a:schemeClr val="tx1"/>
                </a:solidFill>
                <a:latin typeface="Open Sans" pitchFamily="34" charset="0"/>
                <a:ea typeface="Open Sans" pitchFamily="34" charset="0"/>
                <a:cs typeface="Open Sans" pitchFamily="34" charset="0"/>
              </a:rPr>
              <a:t>VISION &amp; MISSION</a:t>
            </a:r>
          </a:p>
        </p:txBody>
      </p:sp>
      <p:sp>
        <p:nvSpPr>
          <p:cNvPr id="36906" name="Freeform 42"/>
          <p:cNvSpPr>
            <a:spLocks noEditPoints="1"/>
          </p:cNvSpPr>
          <p:nvPr/>
        </p:nvSpPr>
        <p:spPr bwMode="auto">
          <a:xfrm>
            <a:off x="3444875" y="4211638"/>
            <a:ext cx="1254125" cy="1550988"/>
          </a:xfrm>
          <a:custGeom>
            <a:avLst/>
            <a:gdLst/>
            <a:ahLst/>
            <a:cxnLst>
              <a:cxn ang="0">
                <a:pos x="445" y="826"/>
              </a:cxn>
              <a:cxn ang="0">
                <a:pos x="214" y="826"/>
              </a:cxn>
              <a:cxn ang="0">
                <a:pos x="113" y="725"/>
              </a:cxn>
              <a:cxn ang="0">
                <a:pos x="113" y="584"/>
              </a:cxn>
              <a:cxn ang="0">
                <a:pos x="0" y="334"/>
              </a:cxn>
              <a:cxn ang="0">
                <a:pos x="334" y="0"/>
              </a:cxn>
              <a:cxn ang="0">
                <a:pos x="668" y="334"/>
              </a:cxn>
              <a:cxn ang="0">
                <a:pos x="546" y="592"/>
              </a:cxn>
              <a:cxn ang="0">
                <a:pos x="546" y="725"/>
              </a:cxn>
              <a:cxn ang="0">
                <a:pos x="445" y="826"/>
              </a:cxn>
              <a:cxn ang="0">
                <a:pos x="334" y="86"/>
              </a:cxn>
              <a:cxn ang="0">
                <a:pos x="86" y="334"/>
              </a:cxn>
              <a:cxn ang="0">
                <a:pos x="182" y="530"/>
              </a:cxn>
              <a:cxn ang="0">
                <a:pos x="198" y="543"/>
              </a:cxn>
              <a:cxn ang="0">
                <a:pos x="198" y="725"/>
              </a:cxn>
              <a:cxn ang="0">
                <a:pos x="214" y="741"/>
              </a:cxn>
              <a:cxn ang="0">
                <a:pos x="445" y="741"/>
              </a:cxn>
              <a:cxn ang="0">
                <a:pos x="460" y="725"/>
              </a:cxn>
              <a:cxn ang="0">
                <a:pos x="460" y="549"/>
              </a:cxn>
              <a:cxn ang="0">
                <a:pos x="478" y="536"/>
              </a:cxn>
              <a:cxn ang="0">
                <a:pos x="583" y="334"/>
              </a:cxn>
              <a:cxn ang="0">
                <a:pos x="334" y="86"/>
              </a:cxn>
            </a:cxnLst>
            <a:rect l="0" t="0" r="r" b="b"/>
            <a:pathLst>
              <a:path w="668" h="826">
                <a:moveTo>
                  <a:pt x="445" y="826"/>
                </a:moveTo>
                <a:cubicBezTo>
                  <a:pt x="214" y="826"/>
                  <a:pt x="214" y="826"/>
                  <a:pt x="214" y="826"/>
                </a:cubicBezTo>
                <a:cubicBezTo>
                  <a:pt x="158" y="826"/>
                  <a:pt x="113" y="781"/>
                  <a:pt x="113" y="725"/>
                </a:cubicBezTo>
                <a:cubicBezTo>
                  <a:pt x="113" y="584"/>
                  <a:pt x="113" y="584"/>
                  <a:pt x="113" y="584"/>
                </a:cubicBezTo>
                <a:cubicBezTo>
                  <a:pt x="41" y="521"/>
                  <a:pt x="0" y="430"/>
                  <a:pt x="0" y="334"/>
                </a:cubicBezTo>
                <a:cubicBezTo>
                  <a:pt x="0" y="150"/>
                  <a:pt x="150" y="0"/>
                  <a:pt x="334" y="0"/>
                </a:cubicBezTo>
                <a:cubicBezTo>
                  <a:pt x="518" y="0"/>
                  <a:pt x="668" y="150"/>
                  <a:pt x="668" y="334"/>
                </a:cubicBezTo>
                <a:cubicBezTo>
                  <a:pt x="668" y="434"/>
                  <a:pt x="623" y="529"/>
                  <a:pt x="546" y="592"/>
                </a:cubicBezTo>
                <a:cubicBezTo>
                  <a:pt x="546" y="725"/>
                  <a:pt x="546" y="725"/>
                  <a:pt x="546" y="725"/>
                </a:cubicBezTo>
                <a:cubicBezTo>
                  <a:pt x="546" y="781"/>
                  <a:pt x="501" y="826"/>
                  <a:pt x="445" y="826"/>
                </a:cubicBezTo>
                <a:close/>
                <a:moveTo>
                  <a:pt x="334" y="86"/>
                </a:moveTo>
                <a:cubicBezTo>
                  <a:pt x="197" y="86"/>
                  <a:pt x="86" y="197"/>
                  <a:pt x="86" y="334"/>
                </a:cubicBezTo>
                <a:cubicBezTo>
                  <a:pt x="86" y="411"/>
                  <a:pt x="121" y="483"/>
                  <a:pt x="182" y="530"/>
                </a:cubicBezTo>
                <a:cubicBezTo>
                  <a:pt x="198" y="543"/>
                  <a:pt x="198" y="543"/>
                  <a:pt x="198" y="543"/>
                </a:cubicBezTo>
                <a:cubicBezTo>
                  <a:pt x="198" y="725"/>
                  <a:pt x="198" y="725"/>
                  <a:pt x="198" y="725"/>
                </a:cubicBezTo>
                <a:cubicBezTo>
                  <a:pt x="198" y="734"/>
                  <a:pt x="205" y="741"/>
                  <a:pt x="214" y="741"/>
                </a:cubicBezTo>
                <a:cubicBezTo>
                  <a:pt x="445" y="741"/>
                  <a:pt x="445" y="741"/>
                  <a:pt x="445" y="741"/>
                </a:cubicBezTo>
                <a:cubicBezTo>
                  <a:pt x="453" y="741"/>
                  <a:pt x="460" y="734"/>
                  <a:pt x="460" y="725"/>
                </a:cubicBezTo>
                <a:cubicBezTo>
                  <a:pt x="460" y="549"/>
                  <a:pt x="460" y="549"/>
                  <a:pt x="460" y="549"/>
                </a:cubicBezTo>
                <a:cubicBezTo>
                  <a:pt x="478" y="536"/>
                  <a:pt x="478" y="536"/>
                  <a:pt x="478" y="536"/>
                </a:cubicBezTo>
                <a:cubicBezTo>
                  <a:pt x="544" y="490"/>
                  <a:pt x="583" y="414"/>
                  <a:pt x="583" y="334"/>
                </a:cubicBezTo>
                <a:cubicBezTo>
                  <a:pt x="583" y="197"/>
                  <a:pt x="471" y="86"/>
                  <a:pt x="334" y="86"/>
                </a:cubicBezTo>
                <a:close/>
              </a:path>
            </a:pathLst>
          </a:cu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07" name="Freeform 43"/>
          <p:cNvSpPr>
            <a:spLocks/>
          </p:cNvSpPr>
          <p:nvPr/>
        </p:nvSpPr>
        <p:spPr bwMode="auto">
          <a:xfrm>
            <a:off x="3759200" y="5830888"/>
            <a:ext cx="614363" cy="150813"/>
          </a:xfrm>
          <a:custGeom>
            <a:avLst/>
            <a:gdLst/>
            <a:ahLst/>
            <a:cxnLst>
              <a:cxn ang="0">
                <a:pos x="327" y="40"/>
              </a:cxn>
              <a:cxn ang="0">
                <a:pos x="287" y="80"/>
              </a:cxn>
              <a:cxn ang="0">
                <a:pos x="40" y="80"/>
              </a:cxn>
              <a:cxn ang="0">
                <a:pos x="0" y="40"/>
              </a:cxn>
              <a:cxn ang="0">
                <a:pos x="0" y="40"/>
              </a:cxn>
              <a:cxn ang="0">
                <a:pos x="40" y="0"/>
              </a:cxn>
              <a:cxn ang="0">
                <a:pos x="287" y="0"/>
              </a:cxn>
              <a:cxn ang="0">
                <a:pos x="327" y="40"/>
              </a:cxn>
            </a:cxnLst>
            <a:rect l="0" t="0" r="r" b="b"/>
            <a:pathLst>
              <a:path w="327" h="80">
                <a:moveTo>
                  <a:pt x="327" y="40"/>
                </a:moveTo>
                <a:cubicBezTo>
                  <a:pt x="327" y="62"/>
                  <a:pt x="309" y="80"/>
                  <a:pt x="287" y="80"/>
                </a:cubicBezTo>
                <a:cubicBezTo>
                  <a:pt x="40" y="80"/>
                  <a:pt x="40" y="80"/>
                  <a:pt x="40" y="80"/>
                </a:cubicBezTo>
                <a:cubicBezTo>
                  <a:pt x="18" y="80"/>
                  <a:pt x="0" y="62"/>
                  <a:pt x="0" y="40"/>
                </a:cubicBezTo>
                <a:cubicBezTo>
                  <a:pt x="0" y="40"/>
                  <a:pt x="0" y="40"/>
                  <a:pt x="0" y="40"/>
                </a:cubicBezTo>
                <a:cubicBezTo>
                  <a:pt x="0" y="18"/>
                  <a:pt x="18" y="0"/>
                  <a:pt x="40" y="0"/>
                </a:cubicBezTo>
                <a:cubicBezTo>
                  <a:pt x="287" y="0"/>
                  <a:pt x="287" y="0"/>
                  <a:pt x="287" y="0"/>
                </a:cubicBezTo>
                <a:cubicBezTo>
                  <a:pt x="309" y="0"/>
                  <a:pt x="327" y="18"/>
                  <a:pt x="327" y="40"/>
                </a:cubicBezTo>
                <a:close/>
              </a:path>
            </a:pathLst>
          </a:cu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08" name="Freeform 44"/>
          <p:cNvSpPr>
            <a:spLocks/>
          </p:cNvSpPr>
          <p:nvPr/>
        </p:nvSpPr>
        <p:spPr bwMode="auto">
          <a:xfrm>
            <a:off x="3849687" y="6021388"/>
            <a:ext cx="423863" cy="130175"/>
          </a:xfrm>
          <a:custGeom>
            <a:avLst/>
            <a:gdLst/>
            <a:ahLst/>
            <a:cxnLst>
              <a:cxn ang="0">
                <a:pos x="226" y="35"/>
              </a:cxn>
              <a:cxn ang="0">
                <a:pos x="199" y="69"/>
              </a:cxn>
              <a:cxn ang="0">
                <a:pos x="28" y="69"/>
              </a:cxn>
              <a:cxn ang="0">
                <a:pos x="0" y="35"/>
              </a:cxn>
              <a:cxn ang="0">
                <a:pos x="0" y="35"/>
              </a:cxn>
              <a:cxn ang="0">
                <a:pos x="28" y="0"/>
              </a:cxn>
              <a:cxn ang="0">
                <a:pos x="199" y="0"/>
              </a:cxn>
              <a:cxn ang="0">
                <a:pos x="226" y="35"/>
              </a:cxn>
            </a:cxnLst>
            <a:rect l="0" t="0" r="r" b="b"/>
            <a:pathLst>
              <a:path w="226" h="69">
                <a:moveTo>
                  <a:pt x="226" y="35"/>
                </a:moveTo>
                <a:cubicBezTo>
                  <a:pt x="226" y="54"/>
                  <a:pt x="214" y="69"/>
                  <a:pt x="199" y="69"/>
                </a:cubicBezTo>
                <a:cubicBezTo>
                  <a:pt x="28" y="69"/>
                  <a:pt x="28" y="69"/>
                  <a:pt x="28" y="69"/>
                </a:cubicBezTo>
                <a:cubicBezTo>
                  <a:pt x="13" y="69"/>
                  <a:pt x="0" y="54"/>
                  <a:pt x="0" y="35"/>
                </a:cubicBezTo>
                <a:cubicBezTo>
                  <a:pt x="0" y="35"/>
                  <a:pt x="0" y="35"/>
                  <a:pt x="0" y="35"/>
                </a:cubicBezTo>
                <a:cubicBezTo>
                  <a:pt x="0" y="15"/>
                  <a:pt x="13" y="0"/>
                  <a:pt x="28" y="0"/>
                </a:cubicBezTo>
                <a:cubicBezTo>
                  <a:pt x="199" y="0"/>
                  <a:pt x="199" y="0"/>
                  <a:pt x="199" y="0"/>
                </a:cubicBezTo>
                <a:cubicBezTo>
                  <a:pt x="214" y="0"/>
                  <a:pt x="226" y="15"/>
                  <a:pt x="226" y="35"/>
                </a:cubicBezTo>
                <a:close/>
              </a:path>
            </a:pathLst>
          </a:cu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09" name="Freeform 45"/>
          <p:cNvSpPr>
            <a:spLocks/>
          </p:cNvSpPr>
          <p:nvPr/>
        </p:nvSpPr>
        <p:spPr bwMode="auto">
          <a:xfrm>
            <a:off x="3948112" y="6205538"/>
            <a:ext cx="212725" cy="131763"/>
          </a:xfrm>
          <a:custGeom>
            <a:avLst/>
            <a:gdLst/>
            <a:ahLst/>
            <a:cxnLst>
              <a:cxn ang="0">
                <a:pos x="113" y="35"/>
              </a:cxn>
              <a:cxn ang="0">
                <a:pos x="99" y="70"/>
              </a:cxn>
              <a:cxn ang="0">
                <a:pos x="14" y="70"/>
              </a:cxn>
              <a:cxn ang="0">
                <a:pos x="0" y="35"/>
              </a:cxn>
              <a:cxn ang="0">
                <a:pos x="0" y="35"/>
              </a:cxn>
              <a:cxn ang="0">
                <a:pos x="14" y="0"/>
              </a:cxn>
              <a:cxn ang="0">
                <a:pos x="99" y="0"/>
              </a:cxn>
              <a:cxn ang="0">
                <a:pos x="113" y="35"/>
              </a:cxn>
            </a:cxnLst>
            <a:rect l="0" t="0" r="r" b="b"/>
            <a:pathLst>
              <a:path w="113" h="70">
                <a:moveTo>
                  <a:pt x="113" y="35"/>
                </a:moveTo>
                <a:cubicBezTo>
                  <a:pt x="113" y="54"/>
                  <a:pt x="107" y="70"/>
                  <a:pt x="99" y="70"/>
                </a:cubicBezTo>
                <a:cubicBezTo>
                  <a:pt x="14" y="70"/>
                  <a:pt x="14" y="70"/>
                  <a:pt x="14" y="70"/>
                </a:cubicBezTo>
                <a:cubicBezTo>
                  <a:pt x="6" y="70"/>
                  <a:pt x="0" y="54"/>
                  <a:pt x="0" y="35"/>
                </a:cubicBezTo>
                <a:cubicBezTo>
                  <a:pt x="0" y="35"/>
                  <a:pt x="0" y="35"/>
                  <a:pt x="0" y="35"/>
                </a:cubicBezTo>
                <a:cubicBezTo>
                  <a:pt x="0" y="16"/>
                  <a:pt x="6" y="0"/>
                  <a:pt x="14" y="0"/>
                </a:cubicBezTo>
                <a:cubicBezTo>
                  <a:pt x="99" y="0"/>
                  <a:pt x="99" y="0"/>
                  <a:pt x="99" y="0"/>
                </a:cubicBezTo>
                <a:cubicBezTo>
                  <a:pt x="107" y="0"/>
                  <a:pt x="113" y="16"/>
                  <a:pt x="113" y="35"/>
                </a:cubicBezTo>
                <a:close/>
              </a:path>
            </a:pathLst>
          </a:cu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0" name="Freeform 46"/>
          <p:cNvSpPr>
            <a:spLocks/>
          </p:cNvSpPr>
          <p:nvPr/>
        </p:nvSpPr>
        <p:spPr bwMode="auto">
          <a:xfrm>
            <a:off x="2697162" y="3449638"/>
            <a:ext cx="2751138" cy="2119313"/>
          </a:xfrm>
          <a:custGeom>
            <a:avLst/>
            <a:gdLst/>
            <a:ahLst/>
            <a:cxnLst>
              <a:cxn ang="0">
                <a:pos x="184" y="1077"/>
              </a:cxn>
              <a:cxn ang="0">
                <a:pos x="85" y="733"/>
              </a:cxn>
              <a:cxn ang="0">
                <a:pos x="733" y="85"/>
              </a:cxn>
              <a:cxn ang="0">
                <a:pos x="1382" y="733"/>
              </a:cxn>
              <a:cxn ang="0">
                <a:pos x="1288" y="1069"/>
              </a:cxn>
              <a:cxn ang="0">
                <a:pos x="1356" y="1119"/>
              </a:cxn>
              <a:cxn ang="0">
                <a:pos x="1466" y="733"/>
              </a:cxn>
              <a:cxn ang="0">
                <a:pos x="733" y="0"/>
              </a:cxn>
              <a:cxn ang="0">
                <a:pos x="0" y="733"/>
              </a:cxn>
              <a:cxn ang="0">
                <a:pos x="117" y="1129"/>
              </a:cxn>
              <a:cxn ang="0">
                <a:pos x="184" y="1077"/>
              </a:cxn>
            </a:cxnLst>
            <a:rect l="0" t="0" r="r" b="b"/>
            <a:pathLst>
              <a:path w="1466" h="1129">
                <a:moveTo>
                  <a:pt x="184" y="1077"/>
                </a:moveTo>
                <a:cubicBezTo>
                  <a:pt x="121" y="977"/>
                  <a:pt x="85" y="859"/>
                  <a:pt x="85" y="733"/>
                </a:cubicBezTo>
                <a:cubicBezTo>
                  <a:pt x="85" y="376"/>
                  <a:pt x="376" y="85"/>
                  <a:pt x="733" y="85"/>
                </a:cubicBezTo>
                <a:cubicBezTo>
                  <a:pt x="1091" y="85"/>
                  <a:pt x="1382" y="376"/>
                  <a:pt x="1382" y="733"/>
                </a:cubicBezTo>
                <a:cubicBezTo>
                  <a:pt x="1382" y="856"/>
                  <a:pt x="1347" y="971"/>
                  <a:pt x="1288" y="1069"/>
                </a:cubicBezTo>
                <a:cubicBezTo>
                  <a:pt x="1311" y="1085"/>
                  <a:pt x="1334" y="1102"/>
                  <a:pt x="1356" y="1119"/>
                </a:cubicBezTo>
                <a:cubicBezTo>
                  <a:pt x="1426" y="1007"/>
                  <a:pt x="1466" y="875"/>
                  <a:pt x="1466" y="733"/>
                </a:cubicBezTo>
                <a:cubicBezTo>
                  <a:pt x="1466" y="329"/>
                  <a:pt x="1137" y="0"/>
                  <a:pt x="733" y="0"/>
                </a:cubicBezTo>
                <a:cubicBezTo>
                  <a:pt x="329" y="0"/>
                  <a:pt x="0" y="329"/>
                  <a:pt x="0" y="733"/>
                </a:cubicBezTo>
                <a:cubicBezTo>
                  <a:pt x="0" y="879"/>
                  <a:pt x="43" y="1014"/>
                  <a:pt x="117" y="1129"/>
                </a:cubicBezTo>
                <a:cubicBezTo>
                  <a:pt x="138" y="1110"/>
                  <a:pt x="161" y="1093"/>
                  <a:pt x="184" y="1077"/>
                </a:cubicBezTo>
                <a:close/>
              </a:path>
            </a:pathLst>
          </a:cu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1" name="Freeform 47"/>
          <p:cNvSpPr>
            <a:spLocks noEditPoints="1"/>
          </p:cNvSpPr>
          <p:nvPr/>
        </p:nvSpPr>
        <p:spPr bwMode="auto">
          <a:xfrm>
            <a:off x="3654425" y="2514600"/>
            <a:ext cx="793750" cy="649288"/>
          </a:xfrm>
          <a:custGeom>
            <a:avLst/>
            <a:gdLst/>
            <a:ahLst/>
            <a:cxnLst>
              <a:cxn ang="0">
                <a:pos x="404" y="289"/>
              </a:cxn>
              <a:cxn ang="0">
                <a:pos x="252" y="289"/>
              </a:cxn>
              <a:cxn ang="0">
                <a:pos x="375" y="270"/>
              </a:cxn>
              <a:cxn ang="0">
                <a:pos x="384" y="260"/>
              </a:cxn>
              <a:cxn ang="0">
                <a:pos x="384" y="67"/>
              </a:cxn>
              <a:cxn ang="0">
                <a:pos x="404" y="67"/>
              </a:cxn>
              <a:cxn ang="0">
                <a:pos x="404" y="289"/>
              </a:cxn>
              <a:cxn ang="0">
                <a:pos x="221" y="285"/>
              </a:cxn>
              <a:cxn ang="0">
                <a:pos x="221" y="61"/>
              </a:cxn>
              <a:cxn ang="0">
                <a:pos x="365" y="19"/>
              </a:cxn>
              <a:cxn ang="0">
                <a:pos x="365" y="250"/>
              </a:cxn>
              <a:cxn ang="0">
                <a:pos x="221" y="285"/>
              </a:cxn>
              <a:cxn ang="0">
                <a:pos x="202" y="285"/>
              </a:cxn>
              <a:cxn ang="0">
                <a:pos x="57" y="250"/>
              </a:cxn>
              <a:cxn ang="0">
                <a:pos x="57" y="19"/>
              </a:cxn>
              <a:cxn ang="0">
                <a:pos x="202" y="61"/>
              </a:cxn>
              <a:cxn ang="0">
                <a:pos x="202" y="285"/>
              </a:cxn>
              <a:cxn ang="0">
                <a:pos x="19" y="289"/>
              </a:cxn>
              <a:cxn ang="0">
                <a:pos x="19" y="67"/>
              </a:cxn>
              <a:cxn ang="0">
                <a:pos x="38" y="67"/>
              </a:cxn>
              <a:cxn ang="0">
                <a:pos x="38" y="260"/>
              </a:cxn>
              <a:cxn ang="0">
                <a:pos x="48" y="270"/>
              </a:cxn>
              <a:cxn ang="0">
                <a:pos x="170" y="289"/>
              </a:cxn>
              <a:cxn ang="0">
                <a:pos x="19" y="289"/>
              </a:cxn>
              <a:cxn ang="0">
                <a:pos x="404" y="48"/>
              </a:cxn>
              <a:cxn ang="0">
                <a:pos x="384" y="48"/>
              </a:cxn>
              <a:cxn ang="0">
                <a:pos x="384" y="10"/>
              </a:cxn>
              <a:cxn ang="0">
                <a:pos x="375" y="0"/>
              </a:cxn>
              <a:cxn ang="0">
                <a:pos x="211" y="44"/>
              </a:cxn>
              <a:cxn ang="0">
                <a:pos x="48" y="0"/>
              </a:cxn>
              <a:cxn ang="0">
                <a:pos x="38" y="10"/>
              </a:cxn>
              <a:cxn ang="0">
                <a:pos x="38" y="48"/>
              </a:cxn>
              <a:cxn ang="0">
                <a:pos x="19" y="48"/>
              </a:cxn>
              <a:cxn ang="0">
                <a:pos x="0" y="67"/>
              </a:cxn>
              <a:cxn ang="0">
                <a:pos x="0" y="308"/>
              </a:cxn>
              <a:cxn ang="0">
                <a:pos x="19" y="327"/>
              </a:cxn>
              <a:cxn ang="0">
                <a:pos x="182" y="327"/>
              </a:cxn>
              <a:cxn ang="0">
                <a:pos x="202" y="346"/>
              </a:cxn>
              <a:cxn ang="0">
                <a:pos x="221" y="346"/>
              </a:cxn>
              <a:cxn ang="0">
                <a:pos x="240" y="327"/>
              </a:cxn>
              <a:cxn ang="0">
                <a:pos x="404" y="327"/>
              </a:cxn>
              <a:cxn ang="0">
                <a:pos x="423" y="308"/>
              </a:cxn>
              <a:cxn ang="0">
                <a:pos x="423" y="67"/>
              </a:cxn>
              <a:cxn ang="0">
                <a:pos x="404" y="48"/>
              </a:cxn>
            </a:cxnLst>
            <a:rect l="0" t="0" r="r" b="b"/>
            <a:pathLst>
              <a:path w="423" h="346">
                <a:moveTo>
                  <a:pt x="404" y="289"/>
                </a:moveTo>
                <a:cubicBezTo>
                  <a:pt x="252" y="289"/>
                  <a:pt x="252" y="289"/>
                  <a:pt x="252" y="289"/>
                </a:cubicBezTo>
                <a:cubicBezTo>
                  <a:pt x="293" y="270"/>
                  <a:pt x="348" y="270"/>
                  <a:pt x="375" y="270"/>
                </a:cubicBezTo>
                <a:cubicBezTo>
                  <a:pt x="380" y="270"/>
                  <a:pt x="384" y="265"/>
                  <a:pt x="384" y="260"/>
                </a:cubicBezTo>
                <a:cubicBezTo>
                  <a:pt x="384" y="67"/>
                  <a:pt x="384" y="67"/>
                  <a:pt x="384" y="67"/>
                </a:cubicBezTo>
                <a:cubicBezTo>
                  <a:pt x="404" y="67"/>
                  <a:pt x="404" y="67"/>
                  <a:pt x="404" y="67"/>
                </a:cubicBezTo>
                <a:cubicBezTo>
                  <a:pt x="404" y="289"/>
                  <a:pt x="404" y="289"/>
                  <a:pt x="404" y="289"/>
                </a:cubicBezTo>
                <a:close/>
                <a:moveTo>
                  <a:pt x="221" y="285"/>
                </a:moveTo>
                <a:cubicBezTo>
                  <a:pt x="221" y="61"/>
                  <a:pt x="221" y="61"/>
                  <a:pt x="221" y="61"/>
                </a:cubicBezTo>
                <a:cubicBezTo>
                  <a:pt x="255" y="23"/>
                  <a:pt x="326" y="20"/>
                  <a:pt x="365" y="19"/>
                </a:cubicBezTo>
                <a:cubicBezTo>
                  <a:pt x="365" y="250"/>
                  <a:pt x="365" y="250"/>
                  <a:pt x="365" y="250"/>
                </a:cubicBezTo>
                <a:cubicBezTo>
                  <a:pt x="328" y="251"/>
                  <a:pt x="263" y="253"/>
                  <a:pt x="221" y="285"/>
                </a:cubicBezTo>
                <a:close/>
                <a:moveTo>
                  <a:pt x="202" y="285"/>
                </a:moveTo>
                <a:cubicBezTo>
                  <a:pt x="160" y="253"/>
                  <a:pt x="94" y="251"/>
                  <a:pt x="57" y="250"/>
                </a:cubicBezTo>
                <a:cubicBezTo>
                  <a:pt x="57" y="19"/>
                  <a:pt x="57" y="19"/>
                  <a:pt x="57" y="19"/>
                </a:cubicBezTo>
                <a:cubicBezTo>
                  <a:pt x="96" y="20"/>
                  <a:pt x="168" y="23"/>
                  <a:pt x="202" y="61"/>
                </a:cubicBezTo>
                <a:cubicBezTo>
                  <a:pt x="202" y="285"/>
                  <a:pt x="202" y="285"/>
                  <a:pt x="202" y="285"/>
                </a:cubicBezTo>
                <a:close/>
                <a:moveTo>
                  <a:pt x="19" y="289"/>
                </a:moveTo>
                <a:cubicBezTo>
                  <a:pt x="19" y="67"/>
                  <a:pt x="19" y="67"/>
                  <a:pt x="19" y="67"/>
                </a:cubicBezTo>
                <a:cubicBezTo>
                  <a:pt x="38" y="67"/>
                  <a:pt x="38" y="67"/>
                  <a:pt x="38" y="67"/>
                </a:cubicBezTo>
                <a:cubicBezTo>
                  <a:pt x="38" y="260"/>
                  <a:pt x="38" y="260"/>
                  <a:pt x="38" y="260"/>
                </a:cubicBezTo>
                <a:cubicBezTo>
                  <a:pt x="38" y="265"/>
                  <a:pt x="42" y="270"/>
                  <a:pt x="48" y="270"/>
                </a:cubicBezTo>
                <a:cubicBezTo>
                  <a:pt x="75" y="270"/>
                  <a:pt x="130" y="270"/>
                  <a:pt x="170" y="289"/>
                </a:cubicBezTo>
                <a:cubicBezTo>
                  <a:pt x="19" y="289"/>
                  <a:pt x="19" y="289"/>
                  <a:pt x="19" y="289"/>
                </a:cubicBezTo>
                <a:close/>
                <a:moveTo>
                  <a:pt x="404" y="48"/>
                </a:moveTo>
                <a:cubicBezTo>
                  <a:pt x="384" y="48"/>
                  <a:pt x="384" y="48"/>
                  <a:pt x="384" y="48"/>
                </a:cubicBezTo>
                <a:cubicBezTo>
                  <a:pt x="384" y="10"/>
                  <a:pt x="384" y="10"/>
                  <a:pt x="384" y="10"/>
                </a:cubicBezTo>
                <a:cubicBezTo>
                  <a:pt x="384" y="4"/>
                  <a:pt x="380" y="0"/>
                  <a:pt x="375" y="0"/>
                </a:cubicBezTo>
                <a:cubicBezTo>
                  <a:pt x="338" y="0"/>
                  <a:pt x="255" y="0"/>
                  <a:pt x="211" y="44"/>
                </a:cubicBezTo>
                <a:cubicBezTo>
                  <a:pt x="167" y="0"/>
                  <a:pt x="84" y="0"/>
                  <a:pt x="48" y="0"/>
                </a:cubicBezTo>
                <a:cubicBezTo>
                  <a:pt x="42" y="0"/>
                  <a:pt x="38" y="4"/>
                  <a:pt x="38" y="10"/>
                </a:cubicBezTo>
                <a:cubicBezTo>
                  <a:pt x="38" y="48"/>
                  <a:pt x="38" y="48"/>
                  <a:pt x="38" y="48"/>
                </a:cubicBezTo>
                <a:cubicBezTo>
                  <a:pt x="19" y="48"/>
                  <a:pt x="19" y="48"/>
                  <a:pt x="19" y="48"/>
                </a:cubicBezTo>
                <a:cubicBezTo>
                  <a:pt x="8" y="48"/>
                  <a:pt x="0" y="57"/>
                  <a:pt x="0" y="67"/>
                </a:cubicBezTo>
                <a:cubicBezTo>
                  <a:pt x="0" y="308"/>
                  <a:pt x="0" y="308"/>
                  <a:pt x="0" y="308"/>
                </a:cubicBezTo>
                <a:cubicBezTo>
                  <a:pt x="0" y="319"/>
                  <a:pt x="8" y="327"/>
                  <a:pt x="19" y="327"/>
                </a:cubicBezTo>
                <a:cubicBezTo>
                  <a:pt x="182" y="327"/>
                  <a:pt x="182" y="327"/>
                  <a:pt x="182" y="327"/>
                </a:cubicBezTo>
                <a:cubicBezTo>
                  <a:pt x="182" y="338"/>
                  <a:pt x="191" y="346"/>
                  <a:pt x="202" y="346"/>
                </a:cubicBezTo>
                <a:cubicBezTo>
                  <a:pt x="221" y="346"/>
                  <a:pt x="221" y="346"/>
                  <a:pt x="221" y="346"/>
                </a:cubicBezTo>
                <a:cubicBezTo>
                  <a:pt x="231" y="346"/>
                  <a:pt x="240" y="338"/>
                  <a:pt x="240" y="327"/>
                </a:cubicBezTo>
                <a:cubicBezTo>
                  <a:pt x="404" y="327"/>
                  <a:pt x="404" y="327"/>
                  <a:pt x="404" y="327"/>
                </a:cubicBezTo>
                <a:cubicBezTo>
                  <a:pt x="414" y="327"/>
                  <a:pt x="423" y="319"/>
                  <a:pt x="423" y="308"/>
                </a:cubicBezTo>
                <a:cubicBezTo>
                  <a:pt x="423" y="67"/>
                  <a:pt x="423" y="67"/>
                  <a:pt x="423" y="67"/>
                </a:cubicBezTo>
                <a:cubicBezTo>
                  <a:pt x="423" y="57"/>
                  <a:pt x="414" y="48"/>
                  <a:pt x="404" y="48"/>
                </a:cubicBez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2" name="Freeform 48"/>
          <p:cNvSpPr>
            <a:spLocks noEditPoints="1"/>
          </p:cNvSpPr>
          <p:nvPr/>
        </p:nvSpPr>
        <p:spPr bwMode="auto">
          <a:xfrm>
            <a:off x="5216525" y="3009900"/>
            <a:ext cx="857250" cy="582613"/>
          </a:xfrm>
          <a:custGeom>
            <a:avLst/>
            <a:gdLst/>
            <a:ahLst/>
            <a:cxnLst>
              <a:cxn ang="0">
                <a:pos x="396" y="367"/>
              </a:cxn>
              <a:cxn ang="0">
                <a:pos x="396" y="367"/>
              </a:cxn>
              <a:cxn ang="0">
                <a:pos x="0" y="367"/>
              </a:cxn>
              <a:cxn ang="0">
                <a:pos x="71" y="259"/>
              </a:cxn>
              <a:cxn ang="0">
                <a:pos x="132" y="350"/>
              </a:cxn>
              <a:cxn ang="0">
                <a:pos x="204" y="71"/>
              </a:cxn>
              <a:cxn ang="0">
                <a:pos x="274" y="338"/>
              </a:cxn>
              <a:cxn ang="0">
                <a:pos x="333" y="214"/>
              </a:cxn>
              <a:cxn ang="0">
                <a:pos x="392" y="337"/>
              </a:cxn>
              <a:cxn ang="0">
                <a:pos x="464" y="0"/>
              </a:cxn>
              <a:cxn ang="0">
                <a:pos x="540" y="367"/>
              </a:cxn>
              <a:cxn ang="0">
                <a:pos x="396" y="367"/>
              </a:cxn>
              <a:cxn ang="0">
                <a:pos x="398" y="357"/>
              </a:cxn>
              <a:cxn ang="0">
                <a:pos x="529" y="357"/>
              </a:cxn>
              <a:cxn ang="0">
                <a:pos x="464" y="46"/>
              </a:cxn>
              <a:cxn ang="0">
                <a:pos x="398" y="357"/>
              </a:cxn>
              <a:cxn ang="0">
                <a:pos x="275" y="357"/>
              </a:cxn>
              <a:cxn ang="0">
                <a:pos x="391" y="357"/>
              </a:cxn>
              <a:cxn ang="0">
                <a:pos x="333" y="237"/>
              </a:cxn>
              <a:cxn ang="0">
                <a:pos x="275" y="357"/>
              </a:cxn>
              <a:cxn ang="0">
                <a:pos x="140" y="357"/>
              </a:cxn>
              <a:cxn ang="0">
                <a:pos x="269" y="357"/>
              </a:cxn>
              <a:cxn ang="0">
                <a:pos x="204" y="109"/>
              </a:cxn>
              <a:cxn ang="0">
                <a:pos x="140" y="357"/>
              </a:cxn>
              <a:cxn ang="0">
                <a:pos x="17" y="357"/>
              </a:cxn>
              <a:cxn ang="0">
                <a:pos x="126" y="357"/>
              </a:cxn>
              <a:cxn ang="0">
                <a:pos x="71" y="276"/>
              </a:cxn>
              <a:cxn ang="0">
                <a:pos x="17" y="357"/>
              </a:cxn>
            </a:cxnLst>
            <a:rect l="0" t="0" r="r" b="b"/>
            <a:pathLst>
              <a:path w="540" h="367">
                <a:moveTo>
                  <a:pt x="396" y="367"/>
                </a:moveTo>
                <a:lnTo>
                  <a:pt x="396" y="367"/>
                </a:lnTo>
                <a:lnTo>
                  <a:pt x="0" y="367"/>
                </a:lnTo>
                <a:lnTo>
                  <a:pt x="71" y="259"/>
                </a:lnTo>
                <a:lnTo>
                  <a:pt x="132" y="350"/>
                </a:lnTo>
                <a:lnTo>
                  <a:pt x="204" y="71"/>
                </a:lnTo>
                <a:lnTo>
                  <a:pt x="274" y="338"/>
                </a:lnTo>
                <a:lnTo>
                  <a:pt x="333" y="214"/>
                </a:lnTo>
                <a:lnTo>
                  <a:pt x="392" y="337"/>
                </a:lnTo>
                <a:lnTo>
                  <a:pt x="464" y="0"/>
                </a:lnTo>
                <a:lnTo>
                  <a:pt x="540" y="367"/>
                </a:lnTo>
                <a:lnTo>
                  <a:pt x="396" y="367"/>
                </a:lnTo>
                <a:close/>
                <a:moveTo>
                  <a:pt x="398" y="357"/>
                </a:moveTo>
                <a:lnTo>
                  <a:pt x="529" y="357"/>
                </a:lnTo>
                <a:lnTo>
                  <a:pt x="464" y="46"/>
                </a:lnTo>
                <a:lnTo>
                  <a:pt x="398" y="357"/>
                </a:lnTo>
                <a:close/>
                <a:moveTo>
                  <a:pt x="275" y="357"/>
                </a:moveTo>
                <a:lnTo>
                  <a:pt x="391" y="357"/>
                </a:lnTo>
                <a:lnTo>
                  <a:pt x="333" y="237"/>
                </a:lnTo>
                <a:lnTo>
                  <a:pt x="275" y="357"/>
                </a:lnTo>
                <a:close/>
                <a:moveTo>
                  <a:pt x="140" y="357"/>
                </a:moveTo>
                <a:lnTo>
                  <a:pt x="269" y="357"/>
                </a:lnTo>
                <a:lnTo>
                  <a:pt x="204" y="109"/>
                </a:lnTo>
                <a:lnTo>
                  <a:pt x="140" y="357"/>
                </a:lnTo>
                <a:close/>
                <a:moveTo>
                  <a:pt x="17" y="357"/>
                </a:moveTo>
                <a:lnTo>
                  <a:pt x="126" y="357"/>
                </a:lnTo>
                <a:lnTo>
                  <a:pt x="71" y="276"/>
                </a:lnTo>
                <a:lnTo>
                  <a:pt x="17" y="357"/>
                </a:ln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3" name="Oval 49"/>
          <p:cNvSpPr>
            <a:spLocks noChangeArrowheads="1"/>
          </p:cNvSpPr>
          <p:nvPr/>
        </p:nvSpPr>
        <p:spPr bwMode="auto">
          <a:xfrm>
            <a:off x="5289550" y="3400425"/>
            <a:ext cx="57150" cy="58738"/>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4" name="Oval 50"/>
          <p:cNvSpPr>
            <a:spLocks noChangeArrowheads="1"/>
          </p:cNvSpPr>
          <p:nvPr/>
        </p:nvSpPr>
        <p:spPr bwMode="auto">
          <a:xfrm>
            <a:off x="5516562" y="3098800"/>
            <a:ext cx="58738" cy="57150"/>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5" name="Oval 51"/>
          <p:cNvSpPr>
            <a:spLocks noChangeArrowheads="1"/>
          </p:cNvSpPr>
          <p:nvPr/>
        </p:nvSpPr>
        <p:spPr bwMode="auto">
          <a:xfrm>
            <a:off x="5713412" y="3308350"/>
            <a:ext cx="57150" cy="58738"/>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16" name="Oval 52"/>
          <p:cNvSpPr>
            <a:spLocks noChangeArrowheads="1"/>
          </p:cNvSpPr>
          <p:nvPr/>
        </p:nvSpPr>
        <p:spPr bwMode="auto">
          <a:xfrm>
            <a:off x="5922962" y="3008313"/>
            <a:ext cx="58738" cy="55563"/>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49" name="Freeform 85"/>
          <p:cNvSpPr>
            <a:spLocks noEditPoints="1"/>
          </p:cNvSpPr>
          <p:nvPr/>
        </p:nvSpPr>
        <p:spPr bwMode="auto">
          <a:xfrm>
            <a:off x="2057400" y="3198813"/>
            <a:ext cx="892175" cy="338138"/>
          </a:xfrm>
          <a:custGeom>
            <a:avLst/>
            <a:gdLst/>
            <a:ahLst/>
            <a:cxnLst>
              <a:cxn ang="0">
                <a:pos x="156" y="180"/>
              </a:cxn>
              <a:cxn ang="0">
                <a:pos x="156" y="180"/>
              </a:cxn>
              <a:cxn ang="0">
                <a:pos x="7" y="126"/>
              </a:cxn>
              <a:cxn ang="0">
                <a:pos x="224" y="8"/>
              </a:cxn>
              <a:cxn ang="0">
                <a:pos x="319" y="0"/>
              </a:cxn>
              <a:cxn ang="0">
                <a:pos x="468" y="54"/>
              </a:cxn>
              <a:cxn ang="0">
                <a:pos x="250" y="172"/>
              </a:cxn>
              <a:cxn ang="0">
                <a:pos x="156" y="180"/>
              </a:cxn>
              <a:cxn ang="0">
                <a:pos x="319" y="3"/>
              </a:cxn>
              <a:cxn ang="0">
                <a:pos x="225" y="10"/>
              </a:cxn>
              <a:cxn ang="0">
                <a:pos x="9" y="126"/>
              </a:cxn>
              <a:cxn ang="0">
                <a:pos x="156" y="178"/>
              </a:cxn>
              <a:cxn ang="0">
                <a:pos x="156" y="178"/>
              </a:cxn>
              <a:cxn ang="0">
                <a:pos x="250" y="170"/>
              </a:cxn>
              <a:cxn ang="0">
                <a:pos x="465" y="54"/>
              </a:cxn>
              <a:cxn ang="0">
                <a:pos x="319" y="3"/>
              </a:cxn>
            </a:cxnLst>
            <a:rect l="0" t="0" r="r" b="b"/>
            <a:pathLst>
              <a:path w="475" h="180">
                <a:moveTo>
                  <a:pt x="156" y="180"/>
                </a:moveTo>
                <a:cubicBezTo>
                  <a:pt x="156" y="180"/>
                  <a:pt x="156" y="180"/>
                  <a:pt x="156" y="180"/>
                </a:cubicBezTo>
                <a:cubicBezTo>
                  <a:pt x="70" y="180"/>
                  <a:pt x="12" y="159"/>
                  <a:pt x="7" y="126"/>
                </a:cubicBezTo>
                <a:cubicBezTo>
                  <a:pt x="0" y="81"/>
                  <a:pt x="97" y="28"/>
                  <a:pt x="224" y="8"/>
                </a:cubicBezTo>
                <a:cubicBezTo>
                  <a:pt x="257" y="3"/>
                  <a:pt x="289" y="0"/>
                  <a:pt x="319" y="0"/>
                </a:cubicBezTo>
                <a:cubicBezTo>
                  <a:pt x="404" y="0"/>
                  <a:pt x="463" y="22"/>
                  <a:pt x="468" y="54"/>
                </a:cubicBezTo>
                <a:cubicBezTo>
                  <a:pt x="475" y="99"/>
                  <a:pt x="377" y="152"/>
                  <a:pt x="250" y="172"/>
                </a:cubicBezTo>
                <a:cubicBezTo>
                  <a:pt x="218" y="177"/>
                  <a:pt x="186" y="180"/>
                  <a:pt x="156" y="180"/>
                </a:cubicBezTo>
                <a:close/>
                <a:moveTo>
                  <a:pt x="319" y="3"/>
                </a:moveTo>
                <a:cubicBezTo>
                  <a:pt x="289" y="3"/>
                  <a:pt x="257" y="5"/>
                  <a:pt x="225" y="10"/>
                </a:cubicBezTo>
                <a:cubicBezTo>
                  <a:pt x="99" y="30"/>
                  <a:pt x="2" y="82"/>
                  <a:pt x="9" y="126"/>
                </a:cubicBezTo>
                <a:cubicBezTo>
                  <a:pt x="14" y="157"/>
                  <a:pt x="72" y="178"/>
                  <a:pt x="156" y="178"/>
                </a:cubicBezTo>
                <a:cubicBezTo>
                  <a:pt x="156" y="178"/>
                  <a:pt x="156" y="178"/>
                  <a:pt x="156" y="178"/>
                </a:cubicBezTo>
                <a:cubicBezTo>
                  <a:pt x="186" y="178"/>
                  <a:pt x="217" y="175"/>
                  <a:pt x="250" y="170"/>
                </a:cubicBezTo>
                <a:cubicBezTo>
                  <a:pt x="376" y="150"/>
                  <a:pt x="472" y="98"/>
                  <a:pt x="465" y="54"/>
                </a:cubicBezTo>
                <a:cubicBezTo>
                  <a:pt x="461" y="23"/>
                  <a:pt x="403" y="3"/>
                  <a:pt x="319" y="3"/>
                </a:cubicBez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0" name="Freeform 86"/>
          <p:cNvSpPr>
            <a:spLocks noEditPoints="1"/>
          </p:cNvSpPr>
          <p:nvPr/>
        </p:nvSpPr>
        <p:spPr bwMode="auto">
          <a:xfrm>
            <a:off x="2098675" y="3081338"/>
            <a:ext cx="784225" cy="574675"/>
          </a:xfrm>
          <a:custGeom>
            <a:avLst/>
            <a:gdLst/>
            <a:ahLst/>
            <a:cxnLst>
              <a:cxn ang="0">
                <a:pos x="363" y="306"/>
              </a:cxn>
              <a:cxn ang="0">
                <a:pos x="166" y="220"/>
              </a:cxn>
              <a:cxn ang="0">
                <a:pos x="27" y="16"/>
              </a:cxn>
              <a:cxn ang="0">
                <a:pos x="67" y="0"/>
              </a:cxn>
              <a:cxn ang="0">
                <a:pos x="264" y="86"/>
              </a:cxn>
              <a:cxn ang="0">
                <a:pos x="383" y="202"/>
              </a:cxn>
              <a:cxn ang="0">
                <a:pos x="404" y="290"/>
              </a:cxn>
              <a:cxn ang="0">
                <a:pos x="363" y="306"/>
              </a:cxn>
              <a:cxn ang="0">
                <a:pos x="67" y="2"/>
              </a:cxn>
              <a:cxn ang="0">
                <a:pos x="29" y="17"/>
              </a:cxn>
              <a:cxn ang="0">
                <a:pos x="168" y="218"/>
              </a:cxn>
              <a:cxn ang="0">
                <a:pos x="363" y="304"/>
              </a:cxn>
              <a:cxn ang="0">
                <a:pos x="402" y="289"/>
              </a:cxn>
              <a:cxn ang="0">
                <a:pos x="381" y="204"/>
              </a:cxn>
              <a:cxn ang="0">
                <a:pos x="263" y="88"/>
              </a:cxn>
              <a:cxn ang="0">
                <a:pos x="67" y="2"/>
              </a:cxn>
            </a:cxnLst>
            <a:rect l="0" t="0" r="r" b="b"/>
            <a:pathLst>
              <a:path w="417" h="306">
                <a:moveTo>
                  <a:pt x="363" y="306"/>
                </a:moveTo>
                <a:cubicBezTo>
                  <a:pt x="314" y="306"/>
                  <a:pt x="239" y="273"/>
                  <a:pt x="166" y="220"/>
                </a:cubicBezTo>
                <a:cubicBezTo>
                  <a:pt x="62" y="144"/>
                  <a:pt x="0" y="53"/>
                  <a:pt x="27" y="16"/>
                </a:cubicBezTo>
                <a:cubicBezTo>
                  <a:pt x="34" y="5"/>
                  <a:pt x="48" y="0"/>
                  <a:pt x="67" y="0"/>
                </a:cubicBezTo>
                <a:cubicBezTo>
                  <a:pt x="116" y="0"/>
                  <a:pt x="191" y="33"/>
                  <a:pt x="264" y="86"/>
                </a:cubicBezTo>
                <a:cubicBezTo>
                  <a:pt x="314" y="123"/>
                  <a:pt x="357" y="164"/>
                  <a:pt x="383" y="202"/>
                </a:cubicBezTo>
                <a:cubicBezTo>
                  <a:pt x="410" y="241"/>
                  <a:pt x="417" y="272"/>
                  <a:pt x="404" y="290"/>
                </a:cubicBezTo>
                <a:cubicBezTo>
                  <a:pt x="396" y="301"/>
                  <a:pt x="382" y="306"/>
                  <a:pt x="363" y="306"/>
                </a:cubicBezTo>
                <a:close/>
                <a:moveTo>
                  <a:pt x="67" y="2"/>
                </a:moveTo>
                <a:cubicBezTo>
                  <a:pt x="49" y="2"/>
                  <a:pt x="36" y="7"/>
                  <a:pt x="29" y="17"/>
                </a:cubicBezTo>
                <a:cubicBezTo>
                  <a:pt x="2" y="53"/>
                  <a:pt x="65" y="143"/>
                  <a:pt x="168" y="218"/>
                </a:cubicBezTo>
                <a:cubicBezTo>
                  <a:pt x="239" y="270"/>
                  <a:pt x="316" y="304"/>
                  <a:pt x="363" y="304"/>
                </a:cubicBezTo>
                <a:cubicBezTo>
                  <a:pt x="382" y="304"/>
                  <a:pt x="395" y="299"/>
                  <a:pt x="402" y="289"/>
                </a:cubicBezTo>
                <a:cubicBezTo>
                  <a:pt x="415" y="272"/>
                  <a:pt x="407" y="241"/>
                  <a:pt x="381" y="204"/>
                </a:cubicBezTo>
                <a:cubicBezTo>
                  <a:pt x="355" y="165"/>
                  <a:pt x="313" y="124"/>
                  <a:pt x="263" y="88"/>
                </a:cubicBezTo>
                <a:cubicBezTo>
                  <a:pt x="192" y="36"/>
                  <a:pt x="115" y="2"/>
                  <a:pt x="67" y="2"/>
                </a:cubicBez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1" name="Freeform 87"/>
          <p:cNvSpPr>
            <a:spLocks noEditPoints="1"/>
          </p:cNvSpPr>
          <p:nvPr/>
        </p:nvSpPr>
        <p:spPr bwMode="auto">
          <a:xfrm>
            <a:off x="2176462" y="3000375"/>
            <a:ext cx="623888" cy="731838"/>
          </a:xfrm>
          <a:custGeom>
            <a:avLst/>
            <a:gdLst/>
            <a:ahLst/>
            <a:cxnLst>
              <a:cxn ang="0">
                <a:pos x="58" y="390"/>
              </a:cxn>
              <a:cxn ang="0">
                <a:pos x="58" y="390"/>
              </a:cxn>
              <a:cxn ang="0">
                <a:pos x="37" y="384"/>
              </a:cxn>
              <a:cxn ang="0">
                <a:pos x="107" y="146"/>
              </a:cxn>
              <a:cxn ang="0">
                <a:pos x="290" y="0"/>
              </a:cxn>
              <a:cxn ang="0">
                <a:pos x="312" y="7"/>
              </a:cxn>
              <a:cxn ang="0">
                <a:pos x="319" y="97"/>
              </a:cxn>
              <a:cxn ang="0">
                <a:pos x="241" y="244"/>
              </a:cxn>
              <a:cxn ang="0">
                <a:pos x="58" y="390"/>
              </a:cxn>
              <a:cxn ang="0">
                <a:pos x="290" y="3"/>
              </a:cxn>
              <a:cxn ang="0">
                <a:pos x="109" y="148"/>
              </a:cxn>
              <a:cxn ang="0">
                <a:pos x="38" y="382"/>
              </a:cxn>
              <a:cxn ang="0">
                <a:pos x="58" y="388"/>
              </a:cxn>
              <a:cxn ang="0">
                <a:pos x="240" y="243"/>
              </a:cxn>
              <a:cxn ang="0">
                <a:pos x="317" y="96"/>
              </a:cxn>
              <a:cxn ang="0">
                <a:pos x="310" y="9"/>
              </a:cxn>
              <a:cxn ang="0">
                <a:pos x="290" y="3"/>
              </a:cxn>
            </a:cxnLst>
            <a:rect l="0" t="0" r="r" b="b"/>
            <a:pathLst>
              <a:path w="332" h="390">
                <a:moveTo>
                  <a:pt x="58" y="390"/>
                </a:moveTo>
                <a:cubicBezTo>
                  <a:pt x="58" y="390"/>
                  <a:pt x="58" y="390"/>
                  <a:pt x="58" y="390"/>
                </a:cubicBezTo>
                <a:cubicBezTo>
                  <a:pt x="50" y="390"/>
                  <a:pt x="43" y="388"/>
                  <a:pt x="37" y="384"/>
                </a:cubicBezTo>
                <a:cubicBezTo>
                  <a:pt x="0" y="357"/>
                  <a:pt x="31" y="250"/>
                  <a:pt x="107" y="146"/>
                </a:cubicBezTo>
                <a:cubicBezTo>
                  <a:pt x="170" y="60"/>
                  <a:pt x="245" y="0"/>
                  <a:pt x="290" y="0"/>
                </a:cubicBezTo>
                <a:cubicBezTo>
                  <a:pt x="299" y="0"/>
                  <a:pt x="306" y="3"/>
                  <a:pt x="312" y="7"/>
                </a:cubicBezTo>
                <a:cubicBezTo>
                  <a:pt x="330" y="20"/>
                  <a:pt x="332" y="52"/>
                  <a:pt x="319" y="97"/>
                </a:cubicBezTo>
                <a:cubicBezTo>
                  <a:pt x="305" y="142"/>
                  <a:pt x="278" y="194"/>
                  <a:pt x="241" y="244"/>
                </a:cubicBezTo>
                <a:cubicBezTo>
                  <a:pt x="179" y="330"/>
                  <a:pt x="104" y="390"/>
                  <a:pt x="58" y="390"/>
                </a:cubicBezTo>
                <a:close/>
                <a:moveTo>
                  <a:pt x="290" y="3"/>
                </a:moveTo>
                <a:cubicBezTo>
                  <a:pt x="246" y="3"/>
                  <a:pt x="171" y="62"/>
                  <a:pt x="109" y="148"/>
                </a:cubicBezTo>
                <a:cubicBezTo>
                  <a:pt x="34" y="251"/>
                  <a:pt x="2" y="356"/>
                  <a:pt x="38" y="382"/>
                </a:cubicBezTo>
                <a:cubicBezTo>
                  <a:pt x="44" y="386"/>
                  <a:pt x="50" y="388"/>
                  <a:pt x="58" y="388"/>
                </a:cubicBezTo>
                <a:cubicBezTo>
                  <a:pt x="103" y="388"/>
                  <a:pt x="177" y="328"/>
                  <a:pt x="240" y="243"/>
                </a:cubicBezTo>
                <a:cubicBezTo>
                  <a:pt x="276" y="193"/>
                  <a:pt x="303" y="141"/>
                  <a:pt x="317" y="96"/>
                </a:cubicBezTo>
                <a:cubicBezTo>
                  <a:pt x="330" y="52"/>
                  <a:pt x="328" y="21"/>
                  <a:pt x="310" y="9"/>
                </a:cubicBezTo>
                <a:cubicBezTo>
                  <a:pt x="305" y="5"/>
                  <a:pt x="298" y="3"/>
                  <a:pt x="290" y="3"/>
                </a:cubicBez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2" name="Oval 88"/>
          <p:cNvSpPr>
            <a:spLocks noChangeArrowheads="1"/>
          </p:cNvSpPr>
          <p:nvPr/>
        </p:nvSpPr>
        <p:spPr bwMode="auto">
          <a:xfrm>
            <a:off x="2247900" y="3330575"/>
            <a:ext cx="115888" cy="117475"/>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3" name="Oval 89"/>
          <p:cNvSpPr>
            <a:spLocks noChangeArrowheads="1"/>
          </p:cNvSpPr>
          <p:nvPr/>
        </p:nvSpPr>
        <p:spPr bwMode="auto">
          <a:xfrm>
            <a:off x="2752725" y="3409950"/>
            <a:ext cx="71438" cy="71438"/>
          </a:xfrm>
          <a:prstGeom prst="ellipse">
            <a:avLst/>
          </a:pr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6" name="Oval 92"/>
          <p:cNvSpPr>
            <a:spLocks noChangeArrowheads="1"/>
          </p:cNvSpPr>
          <p:nvPr/>
        </p:nvSpPr>
        <p:spPr bwMode="auto">
          <a:xfrm>
            <a:off x="1927225" y="5054600"/>
            <a:ext cx="227013" cy="225425"/>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7" name="Oval 93"/>
          <p:cNvSpPr>
            <a:spLocks noChangeArrowheads="1"/>
          </p:cNvSpPr>
          <p:nvPr/>
        </p:nvSpPr>
        <p:spPr bwMode="auto">
          <a:xfrm>
            <a:off x="2020887" y="3906838"/>
            <a:ext cx="227013" cy="227013"/>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8" name="Oval 94"/>
          <p:cNvSpPr>
            <a:spLocks noChangeArrowheads="1"/>
          </p:cNvSpPr>
          <p:nvPr/>
        </p:nvSpPr>
        <p:spPr bwMode="auto">
          <a:xfrm>
            <a:off x="3144837" y="2784475"/>
            <a:ext cx="227013" cy="225425"/>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59" name="Oval 95"/>
          <p:cNvSpPr>
            <a:spLocks noChangeArrowheads="1"/>
          </p:cNvSpPr>
          <p:nvPr/>
        </p:nvSpPr>
        <p:spPr bwMode="auto">
          <a:xfrm>
            <a:off x="4857750" y="2838450"/>
            <a:ext cx="227013" cy="227013"/>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61" name="Freeform 97"/>
          <p:cNvSpPr>
            <a:spLocks/>
          </p:cNvSpPr>
          <p:nvPr/>
        </p:nvSpPr>
        <p:spPr bwMode="auto">
          <a:xfrm>
            <a:off x="5661025" y="4251325"/>
            <a:ext cx="534988" cy="582613"/>
          </a:xfrm>
          <a:custGeom>
            <a:avLst/>
            <a:gdLst/>
            <a:ahLst/>
            <a:cxnLst>
              <a:cxn ang="0">
                <a:pos x="258" y="199"/>
              </a:cxn>
              <a:cxn ang="0">
                <a:pos x="192" y="173"/>
              </a:cxn>
              <a:cxn ang="0">
                <a:pos x="179" y="148"/>
              </a:cxn>
              <a:cxn ang="0">
                <a:pos x="191" y="115"/>
              </a:cxn>
              <a:cxn ang="0">
                <a:pos x="201" y="110"/>
              </a:cxn>
              <a:cxn ang="0">
                <a:pos x="206" y="76"/>
              </a:cxn>
              <a:cxn ang="0">
                <a:pos x="206" y="76"/>
              </a:cxn>
              <a:cxn ang="0">
                <a:pos x="207" y="68"/>
              </a:cxn>
              <a:cxn ang="0">
                <a:pos x="197" y="19"/>
              </a:cxn>
              <a:cxn ang="0">
                <a:pos x="179" y="11"/>
              </a:cxn>
              <a:cxn ang="0">
                <a:pos x="175" y="12"/>
              </a:cxn>
              <a:cxn ang="0">
                <a:pos x="144" y="0"/>
              </a:cxn>
              <a:cxn ang="0">
                <a:pos x="120" y="4"/>
              </a:cxn>
              <a:cxn ang="0">
                <a:pos x="90" y="17"/>
              </a:cxn>
              <a:cxn ang="0">
                <a:pos x="70" y="26"/>
              </a:cxn>
              <a:cxn ang="0">
                <a:pos x="69" y="26"/>
              </a:cxn>
              <a:cxn ang="0">
                <a:pos x="69" y="27"/>
              </a:cxn>
              <a:cxn ang="0">
                <a:pos x="73" y="42"/>
              </a:cxn>
              <a:cxn ang="0">
                <a:pos x="73" y="47"/>
              </a:cxn>
              <a:cxn ang="0">
                <a:pos x="75" y="76"/>
              </a:cxn>
              <a:cxn ang="0">
                <a:pos x="73" y="78"/>
              </a:cxn>
              <a:cxn ang="0">
                <a:pos x="79" y="112"/>
              </a:cxn>
              <a:cxn ang="0">
                <a:pos x="88" y="117"/>
              </a:cxn>
              <a:cxn ang="0">
                <a:pos x="102" y="149"/>
              </a:cxn>
              <a:cxn ang="0">
                <a:pos x="89" y="175"/>
              </a:cxn>
              <a:cxn ang="0">
                <a:pos x="25" y="203"/>
              </a:cxn>
              <a:cxn ang="0">
                <a:pos x="1" y="291"/>
              </a:cxn>
              <a:cxn ang="0">
                <a:pos x="6" y="298"/>
              </a:cxn>
              <a:cxn ang="0">
                <a:pos x="143" y="310"/>
              </a:cxn>
              <a:cxn ang="0">
                <a:pos x="279" y="294"/>
              </a:cxn>
              <a:cxn ang="0">
                <a:pos x="284" y="287"/>
              </a:cxn>
              <a:cxn ang="0">
                <a:pos x="258" y="199"/>
              </a:cxn>
            </a:cxnLst>
            <a:rect l="0" t="0" r="r" b="b"/>
            <a:pathLst>
              <a:path w="285" h="311">
                <a:moveTo>
                  <a:pt x="258" y="199"/>
                </a:moveTo>
                <a:cubicBezTo>
                  <a:pt x="250" y="193"/>
                  <a:pt x="221" y="184"/>
                  <a:pt x="192" y="173"/>
                </a:cubicBezTo>
                <a:cubicBezTo>
                  <a:pt x="179" y="148"/>
                  <a:pt x="179" y="148"/>
                  <a:pt x="179" y="148"/>
                </a:cubicBezTo>
                <a:cubicBezTo>
                  <a:pt x="179" y="148"/>
                  <a:pt x="185" y="135"/>
                  <a:pt x="191" y="115"/>
                </a:cubicBezTo>
                <a:cubicBezTo>
                  <a:pt x="195" y="117"/>
                  <a:pt x="199" y="113"/>
                  <a:pt x="201" y="110"/>
                </a:cubicBezTo>
                <a:cubicBezTo>
                  <a:pt x="206" y="103"/>
                  <a:pt x="213" y="83"/>
                  <a:pt x="206" y="76"/>
                </a:cubicBezTo>
                <a:cubicBezTo>
                  <a:pt x="206" y="76"/>
                  <a:pt x="206" y="76"/>
                  <a:pt x="206" y="76"/>
                </a:cubicBezTo>
                <a:cubicBezTo>
                  <a:pt x="206" y="73"/>
                  <a:pt x="207" y="70"/>
                  <a:pt x="207" y="68"/>
                </a:cubicBezTo>
                <a:cubicBezTo>
                  <a:pt x="210" y="47"/>
                  <a:pt x="206" y="29"/>
                  <a:pt x="197" y="19"/>
                </a:cubicBezTo>
                <a:cubicBezTo>
                  <a:pt x="192" y="14"/>
                  <a:pt x="186" y="11"/>
                  <a:pt x="179" y="11"/>
                </a:cubicBezTo>
                <a:cubicBezTo>
                  <a:pt x="178" y="11"/>
                  <a:pt x="176" y="11"/>
                  <a:pt x="175" y="12"/>
                </a:cubicBezTo>
                <a:cubicBezTo>
                  <a:pt x="170" y="4"/>
                  <a:pt x="159" y="0"/>
                  <a:pt x="144" y="0"/>
                </a:cubicBezTo>
                <a:cubicBezTo>
                  <a:pt x="136" y="0"/>
                  <a:pt x="128" y="1"/>
                  <a:pt x="120" y="4"/>
                </a:cubicBezTo>
                <a:cubicBezTo>
                  <a:pt x="108" y="7"/>
                  <a:pt x="99" y="12"/>
                  <a:pt x="90" y="17"/>
                </a:cubicBezTo>
                <a:cubicBezTo>
                  <a:pt x="83" y="21"/>
                  <a:pt x="76" y="24"/>
                  <a:pt x="70" y="26"/>
                </a:cubicBezTo>
                <a:cubicBezTo>
                  <a:pt x="69" y="26"/>
                  <a:pt x="69" y="26"/>
                  <a:pt x="69" y="26"/>
                </a:cubicBezTo>
                <a:cubicBezTo>
                  <a:pt x="69" y="27"/>
                  <a:pt x="69" y="27"/>
                  <a:pt x="69" y="27"/>
                </a:cubicBezTo>
                <a:cubicBezTo>
                  <a:pt x="70" y="31"/>
                  <a:pt x="72" y="41"/>
                  <a:pt x="73" y="42"/>
                </a:cubicBezTo>
                <a:cubicBezTo>
                  <a:pt x="73" y="44"/>
                  <a:pt x="73" y="45"/>
                  <a:pt x="73" y="47"/>
                </a:cubicBezTo>
                <a:cubicBezTo>
                  <a:pt x="73" y="57"/>
                  <a:pt x="74" y="67"/>
                  <a:pt x="75" y="76"/>
                </a:cubicBezTo>
                <a:cubicBezTo>
                  <a:pt x="74" y="77"/>
                  <a:pt x="74" y="78"/>
                  <a:pt x="73" y="78"/>
                </a:cubicBezTo>
                <a:cubicBezTo>
                  <a:pt x="66" y="85"/>
                  <a:pt x="73" y="106"/>
                  <a:pt x="79" y="112"/>
                </a:cubicBezTo>
                <a:cubicBezTo>
                  <a:pt x="81" y="115"/>
                  <a:pt x="85" y="119"/>
                  <a:pt x="88" y="117"/>
                </a:cubicBezTo>
                <a:cubicBezTo>
                  <a:pt x="95" y="136"/>
                  <a:pt x="102" y="149"/>
                  <a:pt x="102" y="149"/>
                </a:cubicBezTo>
                <a:cubicBezTo>
                  <a:pt x="89" y="175"/>
                  <a:pt x="89" y="175"/>
                  <a:pt x="89" y="175"/>
                </a:cubicBezTo>
                <a:cubicBezTo>
                  <a:pt x="61" y="187"/>
                  <a:pt x="32" y="197"/>
                  <a:pt x="25" y="203"/>
                </a:cubicBezTo>
                <a:cubicBezTo>
                  <a:pt x="14" y="211"/>
                  <a:pt x="2" y="273"/>
                  <a:pt x="1" y="291"/>
                </a:cubicBezTo>
                <a:cubicBezTo>
                  <a:pt x="0" y="294"/>
                  <a:pt x="2" y="297"/>
                  <a:pt x="6" y="298"/>
                </a:cubicBezTo>
                <a:cubicBezTo>
                  <a:pt x="20" y="302"/>
                  <a:pt x="67" y="311"/>
                  <a:pt x="143" y="310"/>
                </a:cubicBezTo>
                <a:cubicBezTo>
                  <a:pt x="219" y="309"/>
                  <a:pt x="265" y="298"/>
                  <a:pt x="279" y="294"/>
                </a:cubicBezTo>
                <a:cubicBezTo>
                  <a:pt x="283" y="292"/>
                  <a:pt x="285" y="290"/>
                  <a:pt x="284" y="287"/>
                </a:cubicBezTo>
                <a:cubicBezTo>
                  <a:pt x="283" y="269"/>
                  <a:pt x="268" y="207"/>
                  <a:pt x="258" y="199"/>
                </a:cubicBezTo>
                <a:close/>
              </a:path>
            </a:pathLst>
          </a:custGeom>
          <a:solidFill>
            <a:srgbClr val="41404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62" name="Oval 98"/>
          <p:cNvSpPr>
            <a:spLocks noChangeArrowheads="1"/>
          </p:cNvSpPr>
          <p:nvPr/>
        </p:nvSpPr>
        <p:spPr bwMode="auto">
          <a:xfrm>
            <a:off x="5743575" y="5167313"/>
            <a:ext cx="225425" cy="227013"/>
          </a:xfrm>
          <a:prstGeom prst="ellipse">
            <a:avLst/>
          </a:prstGeom>
          <a:solidFill>
            <a:srgbClr val="1AB49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3" name="Group 72"/>
          <p:cNvGrpSpPr/>
          <p:nvPr/>
        </p:nvGrpSpPr>
        <p:grpSpPr>
          <a:xfrm>
            <a:off x="1751012" y="4324912"/>
            <a:ext cx="457200" cy="503679"/>
            <a:chOff x="2003425" y="2982914"/>
            <a:chExt cx="765175" cy="842963"/>
          </a:xfrm>
        </p:grpSpPr>
        <p:sp>
          <p:nvSpPr>
            <p:cNvPr id="74" name="Rectangle 292"/>
            <p:cNvSpPr>
              <a:spLocks noChangeArrowheads="1"/>
            </p:cNvSpPr>
            <p:nvPr/>
          </p:nvSpPr>
          <p:spPr bwMode="auto">
            <a:xfrm>
              <a:off x="2003425" y="3117851"/>
              <a:ext cx="109538" cy="708025"/>
            </a:xfrm>
            <a:prstGeom prst="rect">
              <a:avLst/>
            </a:prstGeom>
            <a:solidFill>
              <a:srgbClr val="8F95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293"/>
            <p:cNvSpPr>
              <a:spLocks noChangeArrowheads="1"/>
            </p:cNvSpPr>
            <p:nvPr/>
          </p:nvSpPr>
          <p:spPr bwMode="auto">
            <a:xfrm>
              <a:off x="2165350" y="3324226"/>
              <a:ext cx="112713" cy="501650"/>
            </a:xfrm>
            <a:prstGeom prst="rect">
              <a:avLst/>
            </a:prstGeom>
            <a:solidFill>
              <a:srgbClr val="A5AAA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294"/>
            <p:cNvSpPr>
              <a:spLocks noChangeArrowheads="1"/>
            </p:cNvSpPr>
            <p:nvPr/>
          </p:nvSpPr>
          <p:spPr bwMode="auto">
            <a:xfrm>
              <a:off x="2165350" y="3324226"/>
              <a:ext cx="112713" cy="501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295"/>
            <p:cNvSpPr>
              <a:spLocks noChangeArrowheads="1"/>
            </p:cNvSpPr>
            <p:nvPr/>
          </p:nvSpPr>
          <p:spPr bwMode="auto">
            <a:xfrm>
              <a:off x="2495550" y="3536951"/>
              <a:ext cx="107950" cy="288925"/>
            </a:xfrm>
            <a:prstGeom prst="rect">
              <a:avLst/>
            </a:prstGeom>
            <a:solidFill>
              <a:srgbClr val="D2D5D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296"/>
            <p:cNvSpPr>
              <a:spLocks noChangeArrowheads="1"/>
            </p:cNvSpPr>
            <p:nvPr/>
          </p:nvSpPr>
          <p:spPr bwMode="auto">
            <a:xfrm>
              <a:off x="2495550" y="3536951"/>
              <a:ext cx="107950" cy="2889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297"/>
            <p:cNvSpPr>
              <a:spLocks noChangeArrowheads="1"/>
            </p:cNvSpPr>
            <p:nvPr/>
          </p:nvSpPr>
          <p:spPr bwMode="auto">
            <a:xfrm>
              <a:off x="2660650" y="2982914"/>
              <a:ext cx="107950" cy="842963"/>
            </a:xfrm>
            <a:prstGeom prst="rect">
              <a:avLst/>
            </a:prstGeom>
            <a:solidFill>
              <a:srgbClr val="E9EAEB"/>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 name="Rectangle 298"/>
            <p:cNvSpPr>
              <a:spLocks noChangeArrowheads="1"/>
            </p:cNvSpPr>
            <p:nvPr/>
          </p:nvSpPr>
          <p:spPr bwMode="auto">
            <a:xfrm>
              <a:off x="2660650" y="2982914"/>
              <a:ext cx="107950" cy="842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 name="Rectangle 299"/>
            <p:cNvSpPr>
              <a:spLocks noChangeArrowheads="1"/>
            </p:cNvSpPr>
            <p:nvPr/>
          </p:nvSpPr>
          <p:spPr bwMode="auto">
            <a:xfrm>
              <a:off x="2330450" y="3159126"/>
              <a:ext cx="107950" cy="666750"/>
            </a:xfrm>
            <a:prstGeom prst="rect">
              <a:avLst/>
            </a:prstGeom>
            <a:solidFill>
              <a:srgbClr val="BCBFC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 name="Rectangle 300"/>
            <p:cNvSpPr>
              <a:spLocks noChangeArrowheads="1"/>
            </p:cNvSpPr>
            <p:nvPr/>
          </p:nvSpPr>
          <p:spPr bwMode="auto">
            <a:xfrm>
              <a:off x="2330450" y="3159126"/>
              <a:ext cx="107950" cy="6667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1" name="Text Placeholder 3"/>
          <p:cNvSpPr txBox="1">
            <a:spLocks/>
          </p:cNvSpPr>
          <p:nvPr/>
        </p:nvSpPr>
        <p:spPr>
          <a:xfrm>
            <a:off x="6917372" y="3081338"/>
            <a:ext cx="5384049" cy="1409700"/>
          </a:xfrm>
          <a:prstGeom prst="rect">
            <a:avLst/>
          </a:prstGeom>
        </p:spPr>
        <p:txBody>
          <a:bodyPr vert="horz" lIns="117208" tIns="58604" rIns="117208" bIns="58604" rtlCol="0">
            <a:noAutofit/>
          </a:bodyPr>
          <a:lstStyle>
            <a:lvl1pPr marL="439529" indent="-439529" algn="l" defTabSz="1172078" rtl="0" eaLnBrk="1" latinLnBrk="0" hangingPunct="1">
              <a:spcBef>
                <a:spcPct val="20000"/>
              </a:spcBef>
              <a:buFont typeface="Arial" pitchFamily="34" charset="0"/>
              <a:buChar char="•"/>
              <a:defRPr sz="4100" kern="1200">
                <a:solidFill>
                  <a:schemeClr val="tx1"/>
                </a:solidFill>
                <a:latin typeface="+mn-lt"/>
                <a:ea typeface="+mn-ea"/>
                <a:cs typeface="+mn-cs"/>
              </a:defRPr>
            </a:lvl1pPr>
            <a:lvl2pPr marL="952313" indent="-366274" algn="l" defTabSz="1172078" rtl="0" eaLnBrk="1" latinLnBrk="0" hangingPunct="1">
              <a:spcBef>
                <a:spcPct val="20000"/>
              </a:spcBef>
              <a:buFont typeface="Arial" pitchFamily="34" charset="0"/>
              <a:buChar char="–"/>
              <a:defRPr sz="3600" kern="1200">
                <a:solidFill>
                  <a:schemeClr val="tx1"/>
                </a:solidFill>
                <a:latin typeface="+mn-lt"/>
                <a:ea typeface="+mn-ea"/>
                <a:cs typeface="+mn-cs"/>
              </a:defRPr>
            </a:lvl2pPr>
            <a:lvl3pPr marL="1465097" indent="-293019" algn="l" defTabSz="1172078" rtl="0" eaLnBrk="1" latinLnBrk="0" hangingPunct="1">
              <a:spcBef>
                <a:spcPct val="20000"/>
              </a:spcBef>
              <a:buFont typeface="Arial" pitchFamily="34" charset="0"/>
              <a:buChar char="•"/>
              <a:defRPr sz="3100" kern="1200">
                <a:solidFill>
                  <a:schemeClr val="tx1"/>
                </a:solidFill>
                <a:latin typeface="+mn-lt"/>
                <a:ea typeface="+mn-ea"/>
                <a:cs typeface="+mn-cs"/>
              </a:defRPr>
            </a:lvl3pPr>
            <a:lvl4pPr marL="2051136"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637175"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indent="0">
              <a:buFont typeface="Arial" pitchFamily="34" charset="0"/>
              <a:buNone/>
            </a:pPr>
            <a:r>
              <a:rPr lang="en-US" sz="1700">
                <a:latin typeface="Open Sans Light" pitchFamily="34" charset="0"/>
                <a:ea typeface="Open Sans Light" pitchFamily="34" charset="0"/>
                <a:cs typeface="Open Sans Light" pitchFamily="34" charset="0"/>
              </a:rPr>
              <a:t>Le départemrnt des achats sera un parteaire d’affaires strategique, offrant </a:t>
            </a:r>
            <a:r>
              <a:rPr lang="en-US" sz="1700" b="1" u="sng">
                <a:solidFill>
                  <a:schemeClr val="accent2">
                    <a:lumMod val="75000"/>
                  </a:schemeClr>
                </a:solidFill>
                <a:latin typeface="Open Sans Light" pitchFamily="34" charset="0"/>
                <a:ea typeface="Open Sans Light" pitchFamily="34" charset="0"/>
                <a:cs typeface="Open Sans Light" pitchFamily="34" charset="0"/>
              </a:rPr>
              <a:t>un avantage concurentiel</a:t>
            </a:r>
            <a:r>
              <a:rPr lang="en-US" sz="1700">
                <a:latin typeface="Open Sans Light" pitchFamily="34" charset="0"/>
                <a:ea typeface="Open Sans Light" pitchFamily="34" charset="0"/>
                <a:cs typeface="Open Sans Light" pitchFamily="34" charset="0"/>
              </a:rPr>
              <a:t> et </a:t>
            </a:r>
            <a:r>
              <a:rPr lang="en-US" sz="1700" b="1" u="sng">
                <a:solidFill>
                  <a:schemeClr val="accent2">
                    <a:lumMod val="75000"/>
                  </a:schemeClr>
                </a:solidFill>
                <a:latin typeface="Open Sans Light" pitchFamily="34" charset="0"/>
                <a:ea typeface="Open Sans Light" pitchFamily="34" charset="0"/>
                <a:cs typeface="Open Sans Light" pitchFamily="34" charset="0"/>
              </a:rPr>
              <a:t>une valeur durable </a:t>
            </a:r>
            <a:r>
              <a:rPr lang="en-US" sz="1700">
                <a:latin typeface="Open Sans Light" pitchFamily="34" charset="0"/>
                <a:ea typeface="Open Sans Light" pitchFamily="34" charset="0"/>
                <a:cs typeface="Open Sans Light" pitchFamily="34" charset="0"/>
              </a:rPr>
              <a:t>à toutes les dépenses de Nestlé et collaborant avec le Business pour le Business. </a:t>
            </a:r>
            <a:endParaRPr lang="en-US" sz="1700" dirty="0">
              <a:latin typeface="Open Sans Light" pitchFamily="34" charset="0"/>
              <a:ea typeface="Open Sans Light" pitchFamily="34" charset="0"/>
              <a:cs typeface="Open Sans Light" pitchFamily="34" charset="0"/>
            </a:endParaRPr>
          </a:p>
        </p:txBody>
      </p:sp>
      <p:sp>
        <p:nvSpPr>
          <p:cNvPr id="52" name="Text Placeholder 5"/>
          <p:cNvSpPr txBox="1">
            <a:spLocks/>
          </p:cNvSpPr>
          <p:nvPr/>
        </p:nvSpPr>
        <p:spPr>
          <a:xfrm>
            <a:off x="6917372" y="5136279"/>
            <a:ext cx="4677065" cy="1252693"/>
          </a:xfrm>
          <a:prstGeom prst="rect">
            <a:avLst/>
          </a:prstGeom>
        </p:spPr>
        <p:txBody>
          <a:bodyPr vert="horz" lIns="117208" tIns="58604" rIns="117208" bIns="58604" rtlCol="0">
            <a:noAutofit/>
          </a:bodyPr>
          <a:lstStyle>
            <a:lvl1pPr marL="439529" indent="-439529" algn="l" defTabSz="1172078" rtl="0" eaLnBrk="1" latinLnBrk="0" hangingPunct="1">
              <a:spcBef>
                <a:spcPct val="20000"/>
              </a:spcBef>
              <a:buFont typeface="Arial" pitchFamily="34" charset="0"/>
              <a:buChar char="•"/>
              <a:defRPr sz="4100" kern="1200">
                <a:solidFill>
                  <a:schemeClr val="tx1"/>
                </a:solidFill>
                <a:latin typeface="+mn-lt"/>
                <a:ea typeface="+mn-ea"/>
                <a:cs typeface="+mn-cs"/>
              </a:defRPr>
            </a:lvl1pPr>
            <a:lvl2pPr marL="952313" indent="-366274" algn="l" defTabSz="1172078" rtl="0" eaLnBrk="1" latinLnBrk="0" hangingPunct="1">
              <a:spcBef>
                <a:spcPct val="20000"/>
              </a:spcBef>
              <a:buFont typeface="Arial" pitchFamily="34" charset="0"/>
              <a:buChar char="–"/>
              <a:defRPr sz="3600" kern="1200">
                <a:solidFill>
                  <a:schemeClr val="tx1"/>
                </a:solidFill>
                <a:latin typeface="+mn-lt"/>
                <a:ea typeface="+mn-ea"/>
                <a:cs typeface="+mn-cs"/>
              </a:defRPr>
            </a:lvl2pPr>
            <a:lvl3pPr marL="1465097" indent="-293019" algn="l" defTabSz="1172078" rtl="0" eaLnBrk="1" latinLnBrk="0" hangingPunct="1">
              <a:spcBef>
                <a:spcPct val="20000"/>
              </a:spcBef>
              <a:buFont typeface="Arial" pitchFamily="34" charset="0"/>
              <a:buChar char="•"/>
              <a:defRPr sz="3100" kern="1200">
                <a:solidFill>
                  <a:schemeClr val="tx1"/>
                </a:solidFill>
                <a:latin typeface="+mn-lt"/>
                <a:ea typeface="+mn-ea"/>
                <a:cs typeface="+mn-cs"/>
              </a:defRPr>
            </a:lvl3pPr>
            <a:lvl4pPr marL="2051136"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637175"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indent="0">
              <a:buFont typeface="Arial" pitchFamily="34" charset="0"/>
              <a:buNone/>
            </a:pPr>
            <a:r>
              <a:rPr lang="en-US" sz="1600">
                <a:latin typeface="Open Sans Light" pitchFamily="34" charset="0"/>
                <a:ea typeface="Open Sans Light" pitchFamily="34" charset="0"/>
                <a:cs typeface="Open Sans Light" pitchFamily="34" charset="0"/>
              </a:rPr>
              <a:t>Le département des achats proposera une valeur durable au Business en se focalisant sur </a:t>
            </a:r>
            <a:r>
              <a:rPr lang="en-US" sz="1600" b="1">
                <a:solidFill>
                  <a:schemeClr val="accent1">
                    <a:lumMod val="75000"/>
                  </a:schemeClr>
                </a:solidFill>
                <a:latin typeface="Open Sans Light" pitchFamily="34" charset="0"/>
                <a:ea typeface="Open Sans Light" pitchFamily="34" charset="0"/>
                <a:cs typeface="Open Sans Light" pitchFamily="34" charset="0"/>
              </a:rPr>
              <a:t>le service , l’avantage du cout total et l’innovation. </a:t>
            </a:r>
            <a:endParaRPr lang="en-US" sz="1600" b="1" dirty="0">
              <a:solidFill>
                <a:schemeClr val="accent1">
                  <a:lumMod val="75000"/>
                </a:schemeClr>
              </a:solidFill>
              <a:latin typeface="Open Sans Light" pitchFamily="34" charset="0"/>
              <a:ea typeface="Open Sans Light" pitchFamily="34" charset="0"/>
              <a:cs typeface="Open Sans Light" pitchFamily="34" charset="0"/>
            </a:endParaRPr>
          </a:p>
        </p:txBody>
      </p:sp>
      <p:graphicFrame>
        <p:nvGraphicFramePr>
          <p:cNvPr id="48" name="Diagramme 54"/>
          <p:cNvGraphicFramePr/>
          <p:nvPr>
            <p:extLst>
              <p:ext uri="{D42A27DB-BD31-4B8C-83A1-F6EECF244321}">
                <p14:modId xmlns:p14="http://schemas.microsoft.com/office/powerpoint/2010/main" val="3119580009"/>
              </p:ext>
            </p:extLst>
          </p:nvPr>
        </p:nvGraphicFramePr>
        <p:xfrm>
          <a:off x="0" y="95534"/>
          <a:ext cx="12137544" cy="525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Arrondir un rectangle avec un coin diagonal 48"/>
          <p:cNvSpPr/>
          <p:nvPr/>
        </p:nvSpPr>
        <p:spPr>
          <a:xfrm>
            <a:off x="75039" y="1716833"/>
            <a:ext cx="1675973" cy="4521988"/>
          </a:xfrm>
          <a:prstGeom prst="round2DiagRect">
            <a:avLst/>
          </a:prstGeom>
          <a:solidFill>
            <a:schemeClr val="bg1">
              <a:lumMod val="75000"/>
              <a:alpha val="41000"/>
            </a:schemeClr>
          </a:solidFill>
          <a:ln>
            <a:solidFill>
              <a:schemeClr val="bg1">
                <a:lumMod val="85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p:cNvSpPr/>
          <p:nvPr/>
        </p:nvSpPr>
        <p:spPr>
          <a:xfrm>
            <a:off x="224500" y="186862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tructure d’accueil</a:t>
            </a:r>
          </a:p>
        </p:txBody>
      </p:sp>
      <p:sp>
        <p:nvSpPr>
          <p:cNvPr id="53" name="Rectangle 52"/>
          <p:cNvSpPr/>
          <p:nvPr/>
        </p:nvSpPr>
        <p:spPr>
          <a:xfrm>
            <a:off x="224500" y="3017265"/>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Produit</a:t>
            </a:r>
            <a:r>
              <a:rPr lang="fr-FR" dirty="0"/>
              <a:t> </a:t>
            </a:r>
          </a:p>
        </p:txBody>
      </p:sp>
      <p:sp>
        <p:nvSpPr>
          <p:cNvPr id="54" name="Rectangle 53"/>
          <p:cNvSpPr/>
          <p:nvPr/>
        </p:nvSpPr>
        <p:spPr>
          <a:xfrm>
            <a:off x="224500" y="4091117"/>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Service Achat </a:t>
            </a:r>
          </a:p>
        </p:txBody>
      </p:sp>
      <p:sp>
        <p:nvSpPr>
          <p:cNvPr id="55" name="Rectangle 54"/>
          <p:cNvSpPr/>
          <p:nvPr/>
        </p:nvSpPr>
        <p:spPr>
          <a:xfrm>
            <a:off x="224500" y="5164969"/>
            <a:ext cx="1422585" cy="791570"/>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tx1"/>
                </a:solidFill>
              </a:rPr>
              <a:t>Problématique</a:t>
            </a:r>
          </a:p>
        </p:txBody>
      </p:sp>
      <p:sp>
        <p:nvSpPr>
          <p:cNvPr id="56" name="Rectangle 55"/>
          <p:cNvSpPr/>
          <p:nvPr/>
        </p:nvSpPr>
        <p:spPr>
          <a:xfrm>
            <a:off x="75039" y="765435"/>
            <a:ext cx="12000085" cy="594331"/>
          </a:xfrm>
          <a:prstGeom prst="rect">
            <a:avLst/>
          </a:prstGeom>
          <a:solidFill>
            <a:schemeClr val="accent1">
              <a:lumMod val="60000"/>
              <a:lumOff val="40000"/>
            </a:schemeClr>
          </a:solidFill>
          <a:effectLst>
            <a:glow rad="63500">
              <a:schemeClr val="accent1">
                <a:satMod val="175000"/>
                <a:alpha val="40000"/>
              </a:schemeClr>
            </a:glow>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tx1"/>
                </a:solidFill>
              </a:rPr>
              <a:t>Service achat </a:t>
            </a:r>
          </a:p>
        </p:txBody>
      </p:sp>
      <p:sp>
        <p:nvSpPr>
          <p:cNvPr id="57" name="Rectangle 56"/>
          <p:cNvSpPr/>
          <p:nvPr/>
        </p:nvSpPr>
        <p:spPr>
          <a:xfrm>
            <a:off x="3258343" y="46653"/>
            <a:ext cx="2345736" cy="718782"/>
          </a:xfrm>
          <a:prstGeom prst="rect">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48213645"/>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mph" presetSubtype="0" fill="hold" grpId="0" nodeType="withEffect">
                                  <p:stCondLst>
                                    <p:cond delay="0"/>
                                  </p:stCondLst>
                                  <p:childTnLst>
                                    <p:animClr clrSpc="hsl" dir="cw">
                                      <p:cBhvr override="childStyle">
                                        <p:cTn id="6" dur="500" fill="hold"/>
                                        <p:tgtEl>
                                          <p:spTgt spid="57"/>
                                        </p:tgtEl>
                                        <p:attrNameLst>
                                          <p:attrName>style.color</p:attrName>
                                        </p:attrNameLst>
                                      </p:cBhvr>
                                      <p:by>
                                        <p:hsl h="0" s="-12549" l="-25098"/>
                                      </p:by>
                                    </p:animClr>
                                    <p:animClr clrSpc="hsl" dir="cw">
                                      <p:cBhvr>
                                        <p:cTn id="7" dur="500" fill="hold"/>
                                        <p:tgtEl>
                                          <p:spTgt spid="57"/>
                                        </p:tgtEl>
                                        <p:attrNameLst>
                                          <p:attrName>fillcolor</p:attrName>
                                        </p:attrNameLst>
                                      </p:cBhvr>
                                      <p:by>
                                        <p:hsl h="0" s="-12549" l="-25098"/>
                                      </p:by>
                                    </p:animClr>
                                    <p:animClr clrSpc="hsl" dir="cw">
                                      <p:cBhvr>
                                        <p:cTn id="8" dur="500" fill="hold"/>
                                        <p:tgtEl>
                                          <p:spTgt spid="57"/>
                                        </p:tgtEl>
                                        <p:attrNameLst>
                                          <p:attrName>stroke.color</p:attrName>
                                        </p:attrNameLst>
                                      </p:cBhvr>
                                      <p:by>
                                        <p:hsl h="0" s="-12549" l="-25098"/>
                                      </p:by>
                                    </p:animClr>
                                    <p:set>
                                      <p:cBhvr>
                                        <p:cTn id="9" dur="500" fill="hold"/>
                                        <p:tgtEl>
                                          <p:spTgt spid="5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vpBm88h0itF.unXLz7og"/>
</p:tagLst>
</file>

<file path=ppt/theme/theme1.xml><?xml version="1.0" encoding="utf-8"?>
<a:theme xmlns:a="http://schemas.openxmlformats.org/drawingml/2006/main" name="Office Theme">
  <a:themeElements>
    <a:clrScheme name="Mailles">
      <a:dk1>
        <a:sysClr val="windowText" lastClr="000000"/>
      </a:dk1>
      <a:lt1>
        <a:sysClr val="window" lastClr="FFFFFF"/>
      </a:lt1>
      <a:dk2>
        <a:srgbClr val="1D3641"/>
      </a:dk2>
      <a:lt2>
        <a:srgbClr val="DFE6D0"/>
      </a:lt2>
      <a:accent1>
        <a:srgbClr val="759AA5"/>
      </a:accent1>
      <a:accent2>
        <a:srgbClr val="CFC60D"/>
      </a:accent2>
      <a:accent3>
        <a:srgbClr val="99987F"/>
      </a:accent3>
      <a:accent4>
        <a:srgbClr val="90AC97"/>
      </a:accent4>
      <a:accent5>
        <a:srgbClr val="FFAD1C"/>
      </a:accent5>
      <a:accent6>
        <a:srgbClr val="B9AB6F"/>
      </a:accent6>
      <a:hlink>
        <a:srgbClr val="66AACD"/>
      </a:hlink>
      <a:folHlink>
        <a:srgbClr val="809DB3"/>
      </a:folHlink>
    </a:clrScheme>
    <a:fontScheme name="Custom 2">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109</TotalTime>
  <Words>4017</Words>
  <Application>Microsoft Office PowerPoint</Application>
  <PresentationFormat>Personnalisé</PresentationFormat>
  <Paragraphs>922</Paragraphs>
  <Slides>59</Slides>
  <Notes>36</Notes>
  <HiddenSlides>0</HiddenSlides>
  <MMClips>0</MMClips>
  <ScaleCrop>false</ScaleCrop>
  <HeadingPairs>
    <vt:vector size="6" baseType="variant">
      <vt:variant>
        <vt:lpstr>Polices utilisées</vt:lpstr>
      </vt:variant>
      <vt:variant>
        <vt:i4>24</vt:i4>
      </vt:variant>
      <vt:variant>
        <vt:lpstr>Thème</vt:lpstr>
      </vt:variant>
      <vt:variant>
        <vt:i4>1</vt:i4>
      </vt:variant>
      <vt:variant>
        <vt:lpstr>Titres des diapositives</vt:lpstr>
      </vt:variant>
      <vt:variant>
        <vt:i4>59</vt:i4>
      </vt:variant>
    </vt:vector>
  </HeadingPairs>
  <TitlesOfParts>
    <vt:vector size="84" baseType="lpstr">
      <vt:lpstr>Adobe Garamond Pro</vt:lpstr>
      <vt:lpstr>Agency FB</vt:lpstr>
      <vt:lpstr>Aldhabi</vt:lpstr>
      <vt:lpstr>Aleo Light</vt:lpstr>
      <vt:lpstr>Algerian</vt:lpstr>
      <vt:lpstr>Aparajita</vt:lpstr>
      <vt:lpstr>Arial</vt:lpstr>
      <vt:lpstr>Arial Narrow</vt:lpstr>
      <vt:lpstr>Calibri</vt:lpstr>
      <vt:lpstr>Calibri Light</vt:lpstr>
      <vt:lpstr>Century Gothic</vt:lpstr>
      <vt:lpstr>Gill Sans</vt:lpstr>
      <vt:lpstr>Helvetica</vt:lpstr>
      <vt:lpstr>Helvetica Light</vt:lpstr>
      <vt:lpstr>Lato Heavy</vt:lpstr>
      <vt:lpstr>Open Sans</vt:lpstr>
      <vt:lpstr>Open Sans Extrabold</vt:lpstr>
      <vt:lpstr>Open Sans Light</vt:lpstr>
      <vt:lpstr>Roboto</vt:lpstr>
      <vt:lpstr>Sinkin Sans 400 Regular</vt:lpstr>
      <vt:lpstr>Source Sans Pro</vt:lpstr>
      <vt:lpstr>Source Sans Pro Light</vt:lpstr>
      <vt:lpstr>Trebuchet MS</vt:lpstr>
      <vt:lpstr>Wingdings</vt:lpstr>
      <vt:lpstr>Office Them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rganigramme supply chain:</vt:lpstr>
      <vt:lpstr>Le processus achats</vt:lpstr>
      <vt:lpstr>Présentation PowerPoint</vt:lpstr>
      <vt:lpstr>Présentation PowerPoint</vt:lpstr>
      <vt:lpstr>SIPOC</vt:lpstr>
      <vt:lpstr>Présentation PowerPoint</vt:lpstr>
      <vt:lpstr>Etat actuel </vt:lpstr>
      <vt:lpstr>Output : </vt:lpstr>
      <vt:lpstr>Pareto : 20/80</vt:lpstr>
      <vt:lpstr>Présentation PowerPoint</vt:lpstr>
      <vt:lpstr>Exemple : Litho typo Marocaine s.a.r.l  </vt:lpstr>
      <vt:lpstr>Output :</vt:lpstr>
      <vt:lpstr>Quantité</vt:lpstr>
      <vt:lpstr>Présentation PowerPoint</vt:lpstr>
      <vt:lpstr>Qualité </vt:lpstr>
      <vt:lpstr>Présentation PowerPoint</vt:lpstr>
      <vt:lpstr>AMDEC</vt:lpstr>
      <vt:lpstr>Présentation PowerPoint</vt:lpstr>
      <vt:lpstr>Cout de la rupture</vt:lpstr>
      <vt:lpstr>Présentation PowerPoint</vt:lpstr>
      <vt:lpstr>Présentation PowerPoint</vt:lpstr>
      <vt:lpstr>Présentation PowerPoint</vt:lpstr>
      <vt:lpstr>Présentation PowerPoint</vt:lpstr>
      <vt:lpstr> Améliorer le suivi :    Partager la fiche d’évaluation avec les fournisseurs.  Confirmer la  réception de la fiche d’évaluation notée Et demander le plan d’action pour les points au-dessous du Target.     Réaliser un suivi sur  l’avancement du plan d’action.  Magasin : Mentionner dans le BL le Vendor site par fournisseurs et pour chaque livraison,    Proposer BL où il est mentionner  le site fournisseurs ‘Vendor site’.    Sanctions : CMCP  Non  attribution de marché ou diminution de parts de marché  Menace de changement  fournisseurs     Motivation et référence :  Préparer des trophées annuels pour les 5 premiers fournisseurs qui ont eu un niveau de service fournisseurs élevé         </vt:lpstr>
      <vt:lpstr>Présentation PowerPoint</vt:lpstr>
      <vt:lpstr>(avant / après) </vt:lpstr>
      <vt:lpstr>Before / after </vt:lpstr>
      <vt:lpstr>Conclusion </vt:lpstr>
      <vt:lpstr>Présentation PowerPoint</vt:lpstr>
      <vt:lpstr>Présentation PowerPoint</vt:lpstr>
      <vt:lpstr>Présentation PowerPoint</vt:lpstr>
      <vt:lpstr>Plan d’action /Solution proposé </vt:lpstr>
      <vt:lpstr>Présentation PowerPoint</vt:lpstr>
      <vt:lpstr>Présentation PowerPoint</vt:lpstr>
      <vt:lpstr>Présentation PowerPoint</vt:lpstr>
      <vt:lpstr>Qualité </vt:lpstr>
      <vt:lpstr>Présentation PowerPoint</vt:lpstr>
      <vt:lpstr>7- résultats : à modifier </vt:lpstr>
      <vt:lpstr>Cout de rupture </vt:lpstr>
      <vt:lpstr>Présentation PowerPoint</vt:lpstr>
      <vt:lpstr>Présentation PowerPoint</vt:lpstr>
      <vt:lpstr>Présentation PowerPoint</vt:lpstr>
      <vt:lpstr>Prioriser els solutions étudier leur faisabilité </vt:lpstr>
      <vt:lpstr>Présentation PowerPoint</vt:lpstr>
      <vt:lpstr>Présentation PowerPoint</vt:lpstr>
      <vt:lpstr>Summary of Project and future recommendations</vt:lpstr>
      <vt:lpstr>KPI :  Critères &gt;&gt; indicateurs &gt;&gt; coefficient </vt:lpstr>
      <vt:lpstr>Implémenter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erma</dc:creator>
  <cp:lastModifiedBy>Zineb AARAB</cp:lastModifiedBy>
  <cp:revision>2425</cp:revision>
  <dcterms:created xsi:type="dcterms:W3CDTF">2015-09-19T05:52:39Z</dcterms:created>
  <dcterms:modified xsi:type="dcterms:W3CDTF">2018-06-07T16:01:16Z</dcterms:modified>
</cp:coreProperties>
</file>